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3"/>
  </p:sldMasterIdLst>
  <p:notesMasterIdLst>
    <p:notesMasterId r:id="rId31"/>
  </p:notesMasterIdLst>
  <p:sldIdLst>
    <p:sldId id="2505" r:id="rId4"/>
    <p:sldId id="2769" r:id="rId5"/>
    <p:sldId id="2510" r:id="rId6"/>
    <p:sldId id="606" r:id="rId7"/>
    <p:sldId id="2530" r:id="rId8"/>
    <p:sldId id="2513" r:id="rId9"/>
    <p:sldId id="2519" r:id="rId10"/>
    <p:sldId id="2540" r:id="rId11"/>
    <p:sldId id="2543" r:id="rId12"/>
    <p:sldId id="2541" r:id="rId13"/>
    <p:sldId id="2544" r:id="rId14"/>
    <p:sldId id="2542" r:id="rId15"/>
    <p:sldId id="2545" r:id="rId16"/>
    <p:sldId id="2534" r:id="rId17"/>
    <p:sldId id="2506" r:id="rId18"/>
    <p:sldId id="2535" r:id="rId19"/>
    <p:sldId id="2546" r:id="rId20"/>
    <p:sldId id="2547" r:id="rId21"/>
    <p:sldId id="2548" r:id="rId22"/>
    <p:sldId id="274" r:id="rId23"/>
    <p:sldId id="2525" r:id="rId24"/>
    <p:sldId id="2508" r:id="rId25"/>
    <p:sldId id="2528" r:id="rId26"/>
    <p:sldId id="2529" r:id="rId27"/>
    <p:sldId id="2536" r:id="rId28"/>
    <p:sldId id="2537" r:id="rId29"/>
    <p:sldId id="2770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DA6FB42-A685-F4E6-B789-2AF587DF02CA}" name="Khurshida Artikkhodjaeva" initials="KA" userId="S::kartikkhodjaeva@kpmg.co.uz::6dd0a56c-75e4-4ebc-be1a-fc02a0a0ac2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ryanova, Viktoria" initials="KV" lastIdx="205" clrIdx="0">
    <p:extLst>
      <p:ext uri="{19B8F6BF-5375-455C-9EA6-DF929625EA0E}">
        <p15:presenceInfo xmlns:p15="http://schemas.microsoft.com/office/powerpoint/2012/main" userId="S-1-5-21-2800664165-146498085-484308319-261690" providerId="AD"/>
      </p:ext>
    </p:extLst>
  </p:cmAuthor>
  <p:cmAuthor id="2" name="Dubanevych, Olga" initials="DO [2]" lastIdx="242" clrIdx="1">
    <p:extLst>
      <p:ext uri="{19B8F6BF-5375-455C-9EA6-DF929625EA0E}">
        <p15:presenceInfo xmlns:p15="http://schemas.microsoft.com/office/powerpoint/2012/main" userId="S-1-5-21-2800664165-146498085-484308319-261009" providerId="AD"/>
      </p:ext>
    </p:extLst>
  </p:cmAuthor>
  <p:cmAuthor id="3" name="Burdikova, Irina" initials="BI" lastIdx="7" clrIdx="2">
    <p:extLst>
      <p:ext uri="{19B8F6BF-5375-455C-9EA6-DF929625EA0E}">
        <p15:presenceInfo xmlns:p15="http://schemas.microsoft.com/office/powerpoint/2012/main" userId="S-1-5-21-2800664165-146498085-484308319-2622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D7D3"/>
    <a:srgbClr val="B1C7F7"/>
    <a:srgbClr val="3A07DF"/>
    <a:srgbClr val="2112AE"/>
    <a:srgbClr val="130A65"/>
    <a:srgbClr val="A39CFF"/>
    <a:srgbClr val="AAF1F1"/>
    <a:srgbClr val="CAC5F9"/>
    <a:srgbClr val="F1E8F8"/>
    <a:srgbClr val="CFA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232549-312C-4D2B-A394-9FD729021141}" v="1" dt="2023-05-25T11:37:01.4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883" autoAdjust="0"/>
  </p:normalViewPr>
  <p:slideViewPr>
    <p:cSldViewPr snapToGrid="0">
      <p:cViewPr varScale="1">
        <p:scale>
          <a:sx n="78" d="100"/>
          <a:sy n="78" d="100"/>
        </p:scale>
        <p:origin x="672" y="77"/>
      </p:cViewPr>
      <p:guideLst>
        <p:guide orient="horz" pos="86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microsoft.com/office/2018/10/relationships/authors" Target="authors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heme" Target="theme/theme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birov, Salayjon" userId="5acc22ea-36fd-4e21-aa19-017a3f2d902a" providerId="ADAL" clId="{0C232549-312C-4D2B-A394-9FD729021141}"/>
    <pc:docChg chg="custSel modMainMaster">
      <pc:chgData name="Sabirov, Salayjon" userId="5acc22ea-36fd-4e21-aa19-017a3f2d902a" providerId="ADAL" clId="{0C232549-312C-4D2B-A394-9FD729021141}" dt="2023-05-25T11:37:03.630" v="1" actId="478"/>
      <pc:docMkLst>
        <pc:docMk/>
      </pc:docMkLst>
      <pc:sldMasterChg chg="modSldLayout">
        <pc:chgData name="Sabirov, Salayjon" userId="5acc22ea-36fd-4e21-aa19-017a3f2d902a" providerId="ADAL" clId="{0C232549-312C-4D2B-A394-9FD729021141}" dt="2023-05-25T11:37:03.630" v="1" actId="478"/>
        <pc:sldMasterMkLst>
          <pc:docMk/>
          <pc:sldMasterMk cId="3381892120" sldId="2147483664"/>
        </pc:sldMasterMkLst>
        <pc:sldLayoutChg chg="addSp delSp modSp mod">
          <pc:chgData name="Sabirov, Salayjon" userId="5acc22ea-36fd-4e21-aa19-017a3f2d902a" providerId="ADAL" clId="{0C232549-312C-4D2B-A394-9FD729021141}" dt="2023-05-25T11:37:03.630" v="1" actId="478"/>
          <pc:sldLayoutMkLst>
            <pc:docMk/>
            <pc:sldMasterMk cId="3381892120" sldId="2147483664"/>
            <pc:sldLayoutMk cId="2124260560" sldId="2147483666"/>
          </pc:sldLayoutMkLst>
          <pc:picChg chg="add mod">
            <ac:chgData name="Sabirov, Salayjon" userId="5acc22ea-36fd-4e21-aa19-017a3f2d902a" providerId="ADAL" clId="{0C232549-312C-4D2B-A394-9FD729021141}" dt="2023-05-25T11:37:01.419" v="0"/>
            <ac:picMkLst>
              <pc:docMk/>
              <pc:sldMasterMk cId="3381892120" sldId="2147483664"/>
              <pc:sldLayoutMk cId="2124260560" sldId="2147483666"/>
              <ac:picMk id="3" creationId="{EF27ED1A-F96C-9364-BC3A-C9656EEE33D3}"/>
            </ac:picMkLst>
          </pc:picChg>
          <pc:picChg chg="del">
            <ac:chgData name="Sabirov, Salayjon" userId="5acc22ea-36fd-4e21-aa19-017a3f2d902a" providerId="ADAL" clId="{0C232549-312C-4D2B-A394-9FD729021141}" dt="2023-05-25T11:37:03.630" v="1" actId="478"/>
            <ac:picMkLst>
              <pc:docMk/>
              <pc:sldMasterMk cId="3381892120" sldId="2147483664"/>
              <pc:sldLayoutMk cId="2124260560" sldId="2147483666"/>
              <ac:picMk id="38" creationId="{CF8302F3-70BE-42DC-BC91-FED54799D575}"/>
            </ac:picMkLst>
          </pc:pic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9763FD-7D6E-4F23-AF32-E6A82B2C4A61}" type="datetimeFigureOut">
              <a:rPr lang="en-US" smtClean="0"/>
              <a:t>6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A9F04-E808-4984-8439-FD0A87A3E3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21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4990376-C681-43B1-A327-6F286227C438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7253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438150"/>
            <a:ext cx="4685587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12700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F33D205-0B56-4E97-BBC6-C1C0E62E6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82"/>
          <a:stretch/>
        </p:blipFill>
        <p:spPr>
          <a:xfrm rot="16200000" flipH="1">
            <a:off x="6055953" y="735705"/>
            <a:ext cx="5990690" cy="53955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E66878C-013B-20FA-C951-F5D3FF40F28B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18041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6073EB8-25BD-491E-9FB1-945C7A30F8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0"/>
            <a:ext cx="9906000" cy="6858000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D87C801-43C4-4C83-AE00-3EE4ADE56577}"/>
              </a:ext>
            </a:extLst>
          </p:cNvPr>
          <p:cNvSpPr/>
          <p:nvPr userDrawn="1"/>
        </p:nvSpPr>
        <p:spPr>
          <a:xfrm flipH="1">
            <a:off x="-1" y="0"/>
            <a:ext cx="12192000" cy="6858000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bg1">
                  <a:alpha val="24000"/>
                </a:schemeClr>
              </a:gs>
              <a:gs pos="33120">
                <a:schemeClr val="bg1">
                  <a:alpha val="80000"/>
                </a:schemeClr>
              </a:gs>
              <a:gs pos="80000">
                <a:schemeClr val="bg1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3A24D8-E6F3-5712-D0F4-8A2591E87AD4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403C8DB2-BF90-F052-687B-058FD51F205B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1445DF8-1757-2C6F-BACC-255B7D1717B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2A7C346-ECED-5439-478D-CA24A130A3E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7A7C7F8-9557-5B2F-6915-B2B1221B2A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3632C92-5A63-BFA2-8267-21C0AE31E2C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6164390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691808E-75B7-4CC1-907A-215D579FB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9473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258A91-9D0C-F8F5-AA38-8ECE77D9D5FB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9305B777-8B8F-2035-A850-176B4A4E4CCD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D88AAA4-2E9D-C755-A8F6-F83853B9AD5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0818CD8-5C33-0BDF-E05B-ACF1E30BFE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54E3398-ABF0-247C-3EA7-7256046435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58B33D9-0741-003C-B190-DB4015B81AD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6854155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45DFE0-9E29-41CD-8814-BFEA920809FA}"/>
              </a:ext>
            </a:extLst>
          </p:cNvPr>
          <p:cNvSpPr/>
          <p:nvPr userDrawn="1"/>
        </p:nvSpPr>
        <p:spPr>
          <a:xfrm>
            <a:off x="-1" y="0"/>
            <a:ext cx="348904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98" y="438150"/>
            <a:ext cx="7964290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4630" y="221942"/>
            <a:ext cx="7964290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grpSp>
        <p:nvGrpSpPr>
          <p:cNvPr id="6" name="Graphic 169">
            <a:extLst>
              <a:ext uri="{FF2B5EF4-FFF2-40B4-BE49-F238E27FC236}">
                <a16:creationId xmlns:a16="http://schemas.microsoft.com/office/drawing/2014/main" id="{9EEE69B6-C43D-4F84-B584-10B5CEB264F4}"/>
              </a:ext>
            </a:extLst>
          </p:cNvPr>
          <p:cNvGrpSpPr/>
          <p:nvPr userDrawn="1"/>
        </p:nvGrpSpPr>
        <p:grpSpPr>
          <a:xfrm>
            <a:off x="8351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D1BB6AA-036A-430F-B8FB-844D38B02EC8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5427424-5AA3-447E-9316-45247C447F6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3A88C2-D9B2-402D-A11D-EB5CB5C2C524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3378AE4-79FB-475B-8AA3-28C53CD53F03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6C77E00-EB39-499B-84D3-D4BE88DF5889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DBEBA0B-5417-4605-8DD6-EC22A04DADB7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8C355CC-12BC-4970-963B-273A37F4AE72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81BB2F1-BE4F-4A2F-A117-0D32AE9C492E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8BC4B50-EA3B-4E45-8E42-2FEEDB3C653E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7255F05-822B-4A77-96FB-3870FE37DA92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9920A06-35DB-4773-B624-CBEDE3509235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C4E244-1407-4AC4-8F9C-FE9AB50CF9AD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B1721F-BD43-409A-87E6-058764FDA512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6B8C18B-A504-4780-9F2D-C5C44E326E05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C8639B-1AF4-4D6A-BB40-2323952FF091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C8E7C64-A4A0-4C93-B2AC-2854C0C8D4EF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75CC45-BA7F-49B5-B199-7655E3E9FFD6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89BFB3-D90F-4CF8-B1B1-54AFB6722CE3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273901B-C0E0-4685-A57D-F1289D60A4C6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3A9F9C2-5E3C-4242-93F1-82556A06223C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ADB496-BCD4-48BD-8638-BF8054870BE0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8A7203-EB10-46D3-8595-0B665BEC0B42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2D94A98-3A7B-4A6B-BF56-6CAC55BB7ABA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AE6838E-E0B9-47AA-B765-C1FBEFE4C2E8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D4BC92F6-6903-9231-7A9F-4D8B55A16782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2" name="LOGO_4F">
            <a:extLst>
              <a:ext uri="{FF2B5EF4-FFF2-40B4-BE49-F238E27FC236}">
                <a16:creationId xmlns:a16="http://schemas.microsoft.com/office/drawing/2014/main" id="{4934A6B1-9179-223E-0C30-1AE3B4CD054A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7E9811FE-9F48-A9FE-E0A6-6BE77234368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CA5EF721-9633-66DC-F6FD-6BD5F027923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9F0CAC9F-62E7-2353-5D4C-4E289FDC9E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DF85C18B-E781-BD00-59A7-1224F26094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0125544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45DFE0-9E29-41CD-8814-BFEA920809FA}"/>
              </a:ext>
            </a:extLst>
          </p:cNvPr>
          <p:cNvSpPr/>
          <p:nvPr userDrawn="1"/>
        </p:nvSpPr>
        <p:spPr>
          <a:xfrm>
            <a:off x="-1" y="0"/>
            <a:ext cx="42037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3298" y="438150"/>
            <a:ext cx="7272000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130" y="221942"/>
            <a:ext cx="7272000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grpSp>
        <p:nvGrpSpPr>
          <p:cNvPr id="6" name="Graphic 169">
            <a:extLst>
              <a:ext uri="{FF2B5EF4-FFF2-40B4-BE49-F238E27FC236}">
                <a16:creationId xmlns:a16="http://schemas.microsoft.com/office/drawing/2014/main" id="{9EEE69B6-C43D-4F84-B584-10B5CEB264F4}"/>
              </a:ext>
            </a:extLst>
          </p:cNvPr>
          <p:cNvGrpSpPr/>
          <p:nvPr userDrawn="1"/>
        </p:nvGrpSpPr>
        <p:grpSpPr>
          <a:xfrm>
            <a:off x="8351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D1BB6AA-036A-430F-B8FB-844D38B02EC8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5427424-5AA3-447E-9316-45247C447F6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3A88C2-D9B2-402D-A11D-EB5CB5C2C524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3378AE4-79FB-475B-8AA3-28C53CD53F03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6C77E00-EB39-499B-84D3-D4BE88DF5889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DBEBA0B-5417-4605-8DD6-EC22A04DADB7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8C355CC-12BC-4970-963B-273A37F4AE72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81BB2F1-BE4F-4A2F-A117-0D32AE9C492E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8BC4B50-EA3B-4E45-8E42-2FEEDB3C653E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7255F05-822B-4A77-96FB-3870FE37DA92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9920A06-35DB-4773-B624-CBEDE3509235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C4E244-1407-4AC4-8F9C-FE9AB50CF9AD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B1721F-BD43-409A-87E6-058764FDA512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6B8C18B-A504-4780-9F2D-C5C44E326E05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C8639B-1AF4-4D6A-BB40-2323952FF091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C8E7C64-A4A0-4C93-B2AC-2854C0C8D4EF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75CC45-BA7F-49B5-B199-7655E3E9FFD6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89BFB3-D90F-4CF8-B1B1-54AFB6722CE3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273901B-C0E0-4685-A57D-F1289D60A4C6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3A9F9C2-5E3C-4242-93F1-82556A06223C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ADB496-BCD4-48BD-8638-BF8054870BE0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8A7203-EB10-46D3-8595-0B665BEC0B42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2D94A98-3A7B-4A6B-BF56-6CAC55BB7ABA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AE6838E-E0B9-47AA-B765-C1FBEFE4C2E8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20616CC2-03DA-E8A3-5FE0-2C03A8DD3469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2" name="LOGO_4F">
            <a:extLst>
              <a:ext uri="{FF2B5EF4-FFF2-40B4-BE49-F238E27FC236}">
                <a16:creationId xmlns:a16="http://schemas.microsoft.com/office/drawing/2014/main" id="{24324359-F861-6617-775F-9F0A36C6B6C4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BF8B1E9D-E31C-A922-B8E4-876B3236FD8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2040574B-D72F-49A3-1BF1-033EB4952B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8F92CE4D-579F-9333-4CEE-16D90FB8D2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6BBCCE48-C95B-0214-206E-4B59B4B0BD5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961850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150ECA-BDC9-ACAD-94AE-87C111B6F9A1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LOGO_4F">
            <a:extLst>
              <a:ext uri="{FF2B5EF4-FFF2-40B4-BE49-F238E27FC236}">
                <a16:creationId xmlns:a16="http://schemas.microsoft.com/office/drawing/2014/main" id="{E53DA725-7F84-1E88-4DC6-823153423278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1EBA546-845F-AA71-D967-7AB26B69545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B1A5281-A2C3-9A8E-0472-95D072B5845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02C574F-416B-9941-0FD6-7C94640FFF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ECD8611-C267-F184-1A44-DBFCD329A58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079002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23258C-5CDD-48F3-A917-08811068E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DB8E60E-D74E-4562-9AF2-351F704A18A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bg1">
              <a:alpha val="64000"/>
            </a:schemeClr>
          </a:soli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EC5C10F6-3471-4F40-BD00-4DEFCD511E52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07B150-F968-0FA7-7AFA-C146A32783A5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D99157FF-200D-8443-0683-631938C28B34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4DA8E21-99B7-37E3-905B-E48773FBC40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F0C575F-20B0-0BCE-3797-8975CFC9DA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26BED84-4FB7-34E4-31A6-9FB7CC6AD2E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B7CB7D5-D776-3BB3-D84A-4F252AAB965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225687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F95904-35EF-8753-0725-477CA876A80D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LOGO_4F">
            <a:extLst>
              <a:ext uri="{FF2B5EF4-FFF2-40B4-BE49-F238E27FC236}">
                <a16:creationId xmlns:a16="http://schemas.microsoft.com/office/drawing/2014/main" id="{84C0798F-4E2E-297F-CE2A-66CB397262D9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CC1B0E4-3A66-F8B2-86CE-30A983BAB6E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0181EB2-6858-89A3-8B10-8BDCBA68AEA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BAD0E3F-4760-F9D9-469A-E9801202B8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3072911-D91E-8360-562A-0143A754066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0689835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23258C-5CDD-48F3-A917-08811068E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DB8E60E-D74E-4562-9AF2-351F704A18A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bg1">
              <a:alpha val="64000"/>
            </a:schemeClr>
          </a:soli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EC5C10F6-3471-4F40-BD00-4DEFCD511E52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F08D7E51-929B-5A72-A999-9B384F4D9231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400050A-BC29-251E-C617-1D91F15540A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7EDDF29-385D-CC81-8FD7-CF683B5AA28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23D0E95-6809-9D5C-C0D3-353D8BFB6B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D3C85DF-49BD-5D79-2CC4-11E9829FED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6844673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0069EF1C-53E7-4912-8E3D-718C396F6D78}"/>
              </a:ext>
            </a:extLst>
          </p:cNvPr>
          <p:cNvSpPr/>
          <p:nvPr userDrawn="1"/>
        </p:nvSpPr>
        <p:spPr>
          <a:xfrm>
            <a:off x="371026" y="5177962"/>
            <a:ext cx="7083467" cy="13597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r>
              <a:rPr lang="ru-RU" sz="8800" b="1" dirty="0">
                <a:ln>
                  <a:solidFill>
                    <a:srgbClr val="2112AE"/>
                  </a:solidFill>
                </a:ln>
                <a:solidFill>
                  <a:schemeClr val="bg1">
                    <a:lumMod val="95000"/>
                  </a:schemeClr>
                </a:solidFill>
                <a:ea typeface="Golos Text" panose="020B0503020202020204" pitchFamily="34" charset="0"/>
              </a:rPr>
              <a:t>Блок 3.</a:t>
            </a:r>
            <a:endParaRPr lang="en-US" sz="7200" b="1" dirty="0">
              <a:ln>
                <a:solidFill>
                  <a:srgbClr val="2112AE"/>
                </a:solidFill>
              </a:ln>
              <a:solidFill>
                <a:schemeClr val="bg1">
                  <a:lumMod val="95000"/>
                </a:schemeClr>
              </a:solidFill>
              <a:ea typeface="Golos Text" panose="020B0503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16A424E-82E7-4276-ADE5-EC86C46B0361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75B07A-49CD-4BA6-9786-E74206398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3" r="24946"/>
          <a:stretch/>
        </p:blipFill>
        <p:spPr>
          <a:xfrm>
            <a:off x="463546" y="438149"/>
            <a:ext cx="4895851" cy="46986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C96E379-767A-4CA5-DC46-0ED15DB8C0BC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" name="LOGO Title 4f">
            <a:extLst>
              <a:ext uri="{FF2B5EF4-FFF2-40B4-BE49-F238E27FC236}">
                <a16:creationId xmlns:a16="http://schemas.microsoft.com/office/drawing/2014/main" id="{027C21E9-EA4F-5B1D-4298-BD80F210B2D1}"/>
              </a:ext>
            </a:extLst>
          </p:cNvPr>
          <p:cNvGrpSpPr/>
          <p:nvPr userDrawn="1"/>
        </p:nvGrpSpPr>
        <p:grpSpPr>
          <a:xfrm>
            <a:off x="6378273" y="512276"/>
            <a:ext cx="5435496" cy="1779245"/>
            <a:chOff x="611952" y="504678"/>
            <a:chExt cx="5435496" cy="1779245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D0323346-2BBB-886C-86AA-3F9B5D492745}"/>
                </a:ext>
              </a:extLst>
            </p:cNvPr>
            <p:cNvGrpSpPr/>
            <p:nvPr userDrawn="1"/>
          </p:nvGrpSpPr>
          <p:grpSpPr>
            <a:xfrm>
              <a:off x="3375570" y="504678"/>
              <a:ext cx="1537418" cy="1779245"/>
              <a:chOff x="443521" y="49468"/>
              <a:chExt cx="1537418" cy="1779245"/>
            </a:xfrm>
          </p:grpSpPr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39BC6756-18BE-06DF-8BBD-F4D63B290D1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04" b="804"/>
              <a:stretch/>
            </p:blipFill>
            <p:spPr>
              <a:xfrm>
                <a:off x="601980" y="49468"/>
                <a:ext cx="1223074" cy="1221871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58" name="TextBox 2">
                <a:extLst>
                  <a:ext uri="{FF2B5EF4-FFF2-40B4-BE49-F238E27FC236}">
                    <a16:creationId xmlns:a16="http://schemas.microsoft.com/office/drawing/2014/main" id="{E2C6767D-F8D2-231D-D9C2-194B6EB5556E}"/>
                  </a:ext>
                </a:extLst>
              </p:cNvPr>
              <p:cNvSpPr txBox="1"/>
              <p:nvPr userDrawn="1"/>
            </p:nvSpPr>
            <p:spPr>
              <a:xfrm>
                <a:off x="443521" y="1300730"/>
                <a:ext cx="1537418" cy="5279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ru-RU" dirty="0" err="1">
                    <a:solidFill>
                      <a:schemeClr val="bg1"/>
                    </a:solidFill>
                  </a:rPr>
                  <a:t>Ўзбекистон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Республикаси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коррупцияга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қарши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курашиш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агентлиги</a:t>
                </a:r>
                <a:endParaRPr lang="en-US" dirty="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D1CBCE4B-E523-3E53-7908-AA245CFEFF4A}"/>
                </a:ext>
              </a:extLst>
            </p:cNvPr>
            <p:cNvGrpSpPr/>
            <p:nvPr userDrawn="1"/>
          </p:nvGrpSpPr>
          <p:grpSpPr>
            <a:xfrm>
              <a:off x="611952" y="504678"/>
              <a:ext cx="1169846" cy="1687167"/>
              <a:chOff x="2231230" y="50939"/>
              <a:chExt cx="1169846" cy="1687167"/>
            </a:xfrm>
          </p:grpSpPr>
          <p:sp>
            <p:nvSpPr>
              <p:cNvPr id="55" name="TextBox 4">
                <a:extLst>
                  <a:ext uri="{FF2B5EF4-FFF2-40B4-BE49-F238E27FC236}">
                    <a16:creationId xmlns:a16="http://schemas.microsoft.com/office/drawing/2014/main" id="{BDF6DED2-A55D-1CDA-0145-6F00A104EDF6}"/>
                  </a:ext>
                </a:extLst>
              </p:cNvPr>
              <p:cNvSpPr txBox="1"/>
              <p:nvPr userDrawn="1"/>
            </p:nvSpPr>
            <p:spPr>
              <a:xfrm>
                <a:off x="2231230" y="1366475"/>
                <a:ext cx="1169846" cy="371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lvl="0"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ru-RU" dirty="0" err="1">
                    <a:solidFill>
                      <a:schemeClr val="bg1"/>
                    </a:solidFill>
                  </a:rPr>
                  <a:t>Ўзбекистон</a:t>
                </a:r>
                <a:r>
                  <a:rPr lang="ru-RU" dirty="0">
                    <a:solidFill>
                      <a:schemeClr val="bg1"/>
                    </a:solidFill>
                  </a:rPr>
                  <a:t> Республикаси Адлия вазирлиги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0AB20B4A-CC33-4458-E3B6-5E02C41AEE0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376" t="4959" r="8599" b="3778"/>
              <a:stretch/>
            </p:blipFill>
            <p:spPr>
              <a:xfrm>
                <a:off x="2245180" y="50939"/>
                <a:ext cx="1126874" cy="1253784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1BBB0FC0-E9C9-D929-D630-4F752FAFF406}"/>
                </a:ext>
              </a:extLst>
            </p:cNvPr>
            <p:cNvGrpSpPr/>
            <p:nvPr userDrawn="1"/>
          </p:nvGrpSpPr>
          <p:grpSpPr>
            <a:xfrm>
              <a:off x="2096502" y="504678"/>
              <a:ext cx="1074049" cy="1685830"/>
              <a:chOff x="3768308" y="41911"/>
              <a:chExt cx="1074049" cy="1685830"/>
            </a:xfrm>
          </p:grpSpPr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5B3CBC95-66A1-8C4A-3179-2D4FAEF1E1F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23927" y="41911"/>
                <a:ext cx="952353" cy="1242586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54" name="TextBox 9">
                <a:extLst>
                  <a:ext uri="{FF2B5EF4-FFF2-40B4-BE49-F238E27FC236}">
                    <a16:creationId xmlns:a16="http://schemas.microsoft.com/office/drawing/2014/main" id="{FB6F6FAF-4527-B098-8B89-E15C1E2617BE}"/>
                  </a:ext>
                </a:extLst>
              </p:cNvPr>
              <p:cNvSpPr txBox="1"/>
              <p:nvPr userDrawn="1"/>
            </p:nvSpPr>
            <p:spPr>
              <a:xfrm>
                <a:off x="3768308" y="1356110"/>
                <a:ext cx="1074049" cy="371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lvl="0"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uz-Cyrl-UZ" dirty="0">
                    <a:solidFill>
                      <a:schemeClr val="bg1"/>
                    </a:solidFill>
                  </a:rPr>
                  <a:t>Ўзбекистон Республикаси бош прокуратураси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428F2440-F8C0-C049-F85A-BB47A42540B9}"/>
                </a:ext>
              </a:extLst>
            </p:cNvPr>
            <p:cNvGrpSpPr/>
            <p:nvPr userDrawn="1"/>
          </p:nvGrpSpPr>
          <p:grpSpPr>
            <a:xfrm>
              <a:off x="4979347" y="504678"/>
              <a:ext cx="1068101" cy="1776874"/>
              <a:chOff x="4948867" y="41911"/>
              <a:chExt cx="1068101" cy="1776874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5082CFB3-BF49-6F8E-03EF-1671205BAF3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486" t="16259" r="24461" b="15945"/>
              <a:stretch/>
            </p:blipFill>
            <p:spPr>
              <a:xfrm>
                <a:off x="5175551" y="41911"/>
                <a:ext cx="614734" cy="1242586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52" name="TextBox 4">
                <a:extLst>
                  <a:ext uri="{FF2B5EF4-FFF2-40B4-BE49-F238E27FC236}">
                    <a16:creationId xmlns:a16="http://schemas.microsoft.com/office/drawing/2014/main" id="{13F8D96F-F798-0533-81CB-3459BCFDA75E}"/>
                  </a:ext>
                </a:extLst>
              </p:cNvPr>
              <p:cNvSpPr txBox="1"/>
              <p:nvPr userDrawn="1"/>
            </p:nvSpPr>
            <p:spPr>
              <a:xfrm>
                <a:off x="4948867" y="1293173"/>
                <a:ext cx="1068101" cy="5256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600"/>
                  </a:spcAft>
                </a:pPr>
                <a:r>
                  <a:rPr lang="ru-RU" sz="800" b="1" dirty="0">
                    <a:solidFill>
                      <a:schemeClr val="bg1"/>
                    </a:solidFill>
                  </a:rPr>
                  <a:t>Бирлашган Миллатлар Ташкилотининг Тараққиёт Дастури</a:t>
                </a:r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2624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DE0C0F-00A5-4354-B05C-993B79C46E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8" y="438150"/>
            <a:ext cx="4895850" cy="58356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34626C4-CAC1-A326-DD5F-4EAC4360A673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736F9705-CC7B-8934-D20D-F7C6D49F8E33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3287B80-64CD-DBB0-C827-0027B28EBE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EDB2EF4-E058-0239-110F-6358483EC7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45764E5-7BEB-9DD8-D81A-D2449A3CB2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149EDC1-ADC9-BA1F-8924-F9AC0A7528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6796286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F51C054-C77A-4C98-BE6B-50280BEB5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8" y="438150"/>
            <a:ext cx="4895850" cy="58356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B0C81A0-FD71-5A02-3AD4-CB363EB41ED7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CE69051D-128A-F1E5-DBFD-7E4BE9B812FC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BBF5B3F-444C-D5D1-7F60-96D18783DD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3FAA27D-EEB2-DA08-0B4F-A9B708960B2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E5DFCC4-D8BD-6D92-87C4-B8C34A8BCB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908F0C1-3AD1-FF17-70DB-A41895D07D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492431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8ADA3D-F5D3-669C-228C-66AB4134E9DB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21AE8EFB-994B-2AD4-A279-121F2E428F99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EE36696-7E1C-413A-C027-56D8A9DF11C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E5E0F0F-7033-3AE9-0759-13924E24F5F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1A1206B-E93A-CF4C-016D-4EA48D52AE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892C76F-E955-33BF-D1A6-608B4B918A1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6016550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0F73875-400C-4A71-AA81-EE62F3D37F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000" y="0"/>
            <a:ext cx="10287000" cy="6858000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A58943-98F9-43FE-B648-98F91F94466C}"/>
              </a:ext>
            </a:extLst>
          </p:cNvPr>
          <p:cNvSpPr/>
          <p:nvPr userDrawn="1"/>
        </p:nvSpPr>
        <p:spPr>
          <a:xfrm flipH="1">
            <a:off x="-3" y="0"/>
            <a:ext cx="12192002" cy="6858000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bg1">
                  <a:alpha val="24000"/>
                </a:schemeClr>
              </a:gs>
              <a:gs pos="71000">
                <a:schemeClr val="bg1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CDB3AA-8863-5919-F294-1608FCFF9B51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50188A0C-BEF1-3CC3-6854-334FCBE08032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A38CA4C-048F-3275-8F3A-1C9287AC4DA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578BDA5-FA2E-9C08-D86F-ABE87680FB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6B91CC6-E818-648E-12FB-2147A0742B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AE95BE6-72E2-ABD3-FC9A-5CEECDADB65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41990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7F83DB4-1B0F-4C2A-BB76-AB68C13D5F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57" t="35957"/>
          <a:stretch/>
        </p:blipFill>
        <p:spPr>
          <a:xfrm>
            <a:off x="3050029" y="0"/>
            <a:ext cx="9141970" cy="6858000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A58943-98F9-43FE-B648-98F91F94466C}"/>
              </a:ext>
            </a:extLst>
          </p:cNvPr>
          <p:cNvSpPr/>
          <p:nvPr userDrawn="1"/>
        </p:nvSpPr>
        <p:spPr>
          <a:xfrm flipH="1">
            <a:off x="-4" y="0"/>
            <a:ext cx="12192004" cy="6858000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bg1">
                  <a:alpha val="24000"/>
                </a:schemeClr>
              </a:gs>
              <a:gs pos="71000">
                <a:schemeClr val="bg1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303FA0-4577-4897-3DB4-CA80239D95AE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_4F">
            <a:extLst>
              <a:ext uri="{FF2B5EF4-FFF2-40B4-BE49-F238E27FC236}">
                <a16:creationId xmlns:a16="http://schemas.microsoft.com/office/drawing/2014/main" id="{F2488AC8-60DF-F456-9482-D7B55268F0FA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E28F685-B6D2-8603-8D23-90907D98FD5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3E92858-7B30-3F81-9DB4-98F6FC774CD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B9D48F2-EFAE-8595-EE0F-0DC5E0FF6C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2BD5C99-AF51-5DF5-B35B-A1403F0A8AA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21030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F4FD212-CC19-479D-BA97-6C38A0F20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995" y="0"/>
            <a:ext cx="10288005" cy="6858000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A58943-98F9-43FE-B648-98F91F94466C}"/>
              </a:ext>
            </a:extLst>
          </p:cNvPr>
          <p:cNvSpPr/>
          <p:nvPr userDrawn="1"/>
        </p:nvSpPr>
        <p:spPr>
          <a:xfrm flipH="1">
            <a:off x="-5" y="0"/>
            <a:ext cx="12192004" cy="6858000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bg1">
                  <a:alpha val="24000"/>
                </a:schemeClr>
              </a:gs>
              <a:gs pos="71000">
                <a:schemeClr val="bg1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5AAF71-59F5-8635-F375-2FCA036BDD9E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_4F">
            <a:extLst>
              <a:ext uri="{FF2B5EF4-FFF2-40B4-BE49-F238E27FC236}">
                <a16:creationId xmlns:a16="http://schemas.microsoft.com/office/drawing/2014/main" id="{DB48DA9E-D057-D0DC-3DB2-3197659855CE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AAF79CE-C7F6-6D6E-AE30-3891A2537D9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FAD0D8F-7ABE-CAB3-A52F-B9D39301187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EED0A71-1786-5C3C-1561-15F3C900F6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FE227D2-5E44-BF06-04C2-A8E4B22AC0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7124139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ECBF8B5-A14C-481D-B950-DC0A530FF3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176" r="11927" b="4751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A58943-98F9-43FE-B648-98F91F94466C}"/>
              </a:ext>
            </a:extLst>
          </p:cNvPr>
          <p:cNvSpPr/>
          <p:nvPr userDrawn="1"/>
        </p:nvSpPr>
        <p:spPr>
          <a:xfrm flipH="1">
            <a:off x="-1" y="0"/>
            <a:ext cx="12192000" cy="6858000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bg1">
                  <a:alpha val="24000"/>
                </a:schemeClr>
              </a:gs>
              <a:gs pos="71000">
                <a:schemeClr val="bg1"/>
              </a:gs>
            </a:gsLst>
            <a:lin ang="0" scaled="1"/>
          </a:gra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58C5DB-8574-8446-2CF8-BE161BC779FB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9" name="LOGO_4F">
            <a:extLst>
              <a:ext uri="{FF2B5EF4-FFF2-40B4-BE49-F238E27FC236}">
                <a16:creationId xmlns:a16="http://schemas.microsoft.com/office/drawing/2014/main" id="{4F89E3D6-C83A-B4AB-154A-812B15A98776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B680503-26F3-5D34-E80F-A633EB79F5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6DFF742-2BB6-A382-75CC-C5437A7F36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BCDF9FB-6A5C-DE72-55FC-29DB9210FC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49D99C4-929A-64EF-D1F6-4189A209C7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495150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4D263D-C605-4939-85EC-2A61D03C2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0136" cy="434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Shape 8">
            <a:extLst>
              <a:ext uri="{FF2B5EF4-FFF2-40B4-BE49-F238E27FC236}">
                <a16:creationId xmlns:a16="http://schemas.microsoft.com/office/drawing/2014/main" id="{ECE98A82-66C1-4E45-965C-840A48B2EF6E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06C1BA0-20CE-43B3-BC4E-53F0456BB7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049" y="1296001"/>
            <a:ext cx="11318487" cy="497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ru-RU" dirty="0"/>
          </a:p>
          <a:p>
            <a:pPr lvl="4"/>
            <a:endParaRPr lang="ru-RU" dirty="0"/>
          </a:p>
          <a:p>
            <a:pPr lvl="4"/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15EEECF-8944-4DD0-8A68-B269F42781F4}"/>
              </a:ext>
            </a:extLst>
          </p:cNvPr>
          <p:cNvGrpSpPr/>
          <p:nvPr/>
        </p:nvGrpSpPr>
        <p:grpSpPr>
          <a:xfrm>
            <a:off x="12428854" y="438150"/>
            <a:ext cx="1578422" cy="632808"/>
            <a:chOff x="3634369" y="318226"/>
            <a:chExt cx="1578422" cy="632808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B89E3CB2-0140-4585-B311-61EDF662845F}"/>
                </a:ext>
              </a:extLst>
            </p:cNvPr>
            <p:cNvSpPr/>
            <p:nvPr/>
          </p:nvSpPr>
          <p:spPr>
            <a:xfrm>
              <a:off x="3634371" y="318226"/>
              <a:ext cx="1305312" cy="21288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>
                <a:spcBef>
                  <a:spcPts val="1000"/>
                </a:spcBef>
                <a:spcAft>
                  <a:spcPts val="300"/>
                </a:spcAft>
              </a:pPr>
              <a:r>
                <a:rPr lang="ru-RU" sz="800" b="1" dirty="0">
                  <a:solidFill>
                    <a:srgbClr val="6B6F77"/>
                  </a:solidFill>
                  <a:latin typeface="Arial" panose="020B0604020202020204" pitchFamily="34" charset="0"/>
                </a:rPr>
                <a:t>Основная палитра</a:t>
              </a:r>
              <a:endParaRPr lang="en-US" sz="800" b="1" dirty="0" err="1">
                <a:solidFill>
                  <a:srgbClr val="6B6F77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A55EF4C1-D134-4023-AA33-B72016BAB269}"/>
                </a:ext>
              </a:extLst>
            </p:cNvPr>
            <p:cNvGrpSpPr/>
            <p:nvPr/>
          </p:nvGrpSpPr>
          <p:grpSpPr>
            <a:xfrm>
              <a:off x="3634369" y="468810"/>
              <a:ext cx="1578422" cy="482224"/>
              <a:chOff x="3634369" y="496518"/>
              <a:chExt cx="1868455" cy="570832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681F78EF-5A66-48AB-A8BB-8E1BD6561A0C}"/>
                  </a:ext>
                </a:extLst>
              </p:cNvPr>
              <p:cNvSpPr/>
              <p:nvPr/>
            </p:nvSpPr>
            <p:spPr>
              <a:xfrm>
                <a:off x="3957661" y="496518"/>
                <a:ext cx="252000" cy="252000"/>
              </a:xfrm>
              <a:prstGeom prst="ellipse">
                <a:avLst/>
              </a:prstGeom>
              <a:solidFill>
                <a:srgbClr val="2112A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8F2B72B9-973B-417B-8E1B-713276A02136}"/>
                  </a:ext>
                </a:extLst>
              </p:cNvPr>
              <p:cNvSpPr/>
              <p:nvPr/>
            </p:nvSpPr>
            <p:spPr>
              <a:xfrm>
                <a:off x="4280951" y="496518"/>
                <a:ext cx="252000" cy="252000"/>
              </a:xfrm>
              <a:prstGeom prst="ellipse">
                <a:avLst/>
              </a:prstGeom>
              <a:solidFill>
                <a:srgbClr val="3A07D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137CFFBA-E827-4843-8B7F-26250F2E2C6E}"/>
                  </a:ext>
                </a:extLst>
              </p:cNvPr>
              <p:cNvSpPr/>
              <p:nvPr/>
            </p:nvSpPr>
            <p:spPr>
              <a:xfrm>
                <a:off x="4604243" y="496518"/>
                <a:ext cx="252000" cy="252000"/>
              </a:xfrm>
              <a:prstGeom prst="ellipse">
                <a:avLst/>
              </a:prstGeom>
              <a:solidFill>
                <a:srgbClr val="1BD7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8176509A-4369-442D-96CE-8D35979E5074}"/>
                  </a:ext>
                </a:extLst>
              </p:cNvPr>
              <p:cNvSpPr/>
              <p:nvPr/>
            </p:nvSpPr>
            <p:spPr>
              <a:xfrm>
                <a:off x="4927533" y="496518"/>
                <a:ext cx="252000" cy="252000"/>
              </a:xfrm>
              <a:prstGeom prst="ellipse">
                <a:avLst/>
              </a:prstGeom>
              <a:solidFill>
                <a:srgbClr val="B1C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1D48014E-EC49-4416-B9EA-70C751C40E4F}"/>
                  </a:ext>
                </a:extLst>
              </p:cNvPr>
              <p:cNvSpPr/>
              <p:nvPr/>
            </p:nvSpPr>
            <p:spPr>
              <a:xfrm>
                <a:off x="5250824" y="496518"/>
                <a:ext cx="252000" cy="252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0B828926-A81B-4A69-ABCD-9944546C2FE3}"/>
                  </a:ext>
                </a:extLst>
              </p:cNvPr>
              <p:cNvSpPr/>
              <p:nvPr userDrawn="1"/>
            </p:nvSpPr>
            <p:spPr>
              <a:xfrm>
                <a:off x="3634369" y="496518"/>
                <a:ext cx="252000" cy="252000"/>
              </a:xfrm>
              <a:prstGeom prst="ellipse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98A4553-662B-4155-85CC-1C5D2375215A}"/>
                  </a:ext>
                </a:extLst>
              </p:cNvPr>
              <p:cNvSpPr/>
              <p:nvPr userDrawn="1"/>
            </p:nvSpPr>
            <p:spPr>
              <a:xfrm>
                <a:off x="4604243" y="815350"/>
                <a:ext cx="252000" cy="25200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1773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bg2">
              <a:lumMod val="2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None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719138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6">
          <p15:clr>
            <a:srgbClr val="F26B43"/>
          </p15:clr>
        </p15:guide>
        <p15:guide id="2" orient="horz" pos="4052">
          <p15:clr>
            <a:srgbClr val="F26B43"/>
          </p15:clr>
        </p15:guide>
        <p15:guide id="3" pos="276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808">
          <p15:clr>
            <a:srgbClr val="F26B43"/>
          </p15:clr>
        </p15:guide>
        <p15:guide id="6" orient="horz" pos="550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pos="3795">
          <p15:clr>
            <a:srgbClr val="F26B43"/>
          </p15:clr>
        </p15:guide>
        <p15:guide id="9" pos="38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1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A1F237-3BBF-4AFA-9766-6273E27592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24110" y="2761071"/>
            <a:ext cx="6176708" cy="1521626"/>
          </a:xfrm>
        </p:spPr>
        <p:txBody>
          <a:bodyPr>
            <a:noAutofit/>
          </a:bodyPr>
          <a:lstStyle/>
          <a:p>
            <a:r>
              <a:rPr lang="ru-RU" sz="3200" dirty="0"/>
              <a:t>Комплаенс </a:t>
            </a:r>
            <a:r>
              <a:rPr lang="ru-RU" sz="3200" dirty="0" err="1"/>
              <a:t>бўлинманинг</a:t>
            </a:r>
            <a:r>
              <a:rPr lang="ru-RU" sz="3200" dirty="0"/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ўрни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, роли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вазифалари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унинг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муассасанинг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бўлинмалари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ўзаро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ҳамкорлиги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халқаро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тажриба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, Ўзбекистон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ида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жорий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/>
              <a:t>э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тиш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dirty="0" err="1">
                <a:latin typeface="Arial" panose="020B0604020202020204" pitchFamily="34" charset="0"/>
                <a:cs typeface="Arial" panose="020B0604020202020204" pitchFamily="34" charset="0"/>
              </a:rPr>
              <a:t>амалиёти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51122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197C7E1-5DB4-4736-9250-BDF27DD02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</a:t>
            </a:r>
            <a:br>
              <a:rPr lang="en-US" dirty="0"/>
            </a:br>
            <a:r>
              <a:rPr lang="ru-RU" dirty="0"/>
              <a:t>ISO 37001:2016 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лари</a:t>
            </a:r>
            <a:r>
              <a:rPr lang="ru-RU" dirty="0"/>
              <a:t>» (</a:t>
            </a:r>
            <a:r>
              <a:rPr lang="en-US" dirty="0"/>
              <a:t>7</a:t>
            </a:r>
            <a:r>
              <a:rPr lang="ru-RU" dirty="0"/>
              <a:t>/10)</a:t>
            </a:r>
            <a:endParaRPr lang="en-US" dirty="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297870FC-C468-4156-ACDD-B112F71457B9}"/>
              </a:ext>
            </a:extLst>
          </p:cNvPr>
          <p:cNvSpPr txBox="1">
            <a:spLocks/>
          </p:cNvSpPr>
          <p:nvPr/>
        </p:nvSpPr>
        <p:spPr>
          <a:xfrm>
            <a:off x="816680" y="1973835"/>
            <a:ext cx="5207883" cy="13086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 err="1">
                <a:solidFill>
                  <a:srgbClr val="3A07DF"/>
                </a:solidFill>
              </a:rPr>
              <a:t>Муҳокама</a:t>
            </a:r>
            <a:r>
              <a:rPr lang="ru-RU" sz="2400" dirty="0">
                <a:solidFill>
                  <a:srgbClr val="3A07DF"/>
                </a:solidFill>
              </a:rPr>
              <a:t> </a:t>
            </a:r>
            <a:r>
              <a:rPr lang="ru-RU" sz="2400" dirty="0" err="1">
                <a:solidFill>
                  <a:srgbClr val="3A07DF"/>
                </a:solidFill>
              </a:rPr>
              <a:t>учун</a:t>
            </a:r>
            <a:r>
              <a:rPr lang="ru-RU" sz="2400" dirty="0">
                <a:solidFill>
                  <a:srgbClr val="3A07DF"/>
                </a:solidFill>
              </a:rPr>
              <a:t> </a:t>
            </a:r>
            <a:r>
              <a:rPr lang="ru-RU" sz="2400" dirty="0" err="1">
                <a:solidFill>
                  <a:srgbClr val="3A07DF"/>
                </a:solidFill>
              </a:rPr>
              <a:t>савол</a:t>
            </a:r>
            <a:r>
              <a:rPr lang="ru-RU" sz="2400" dirty="0">
                <a:solidFill>
                  <a:srgbClr val="3A07DF"/>
                </a:solidFill>
              </a:rPr>
              <a:t>: </a:t>
            </a:r>
            <a:br>
              <a:rPr lang="en-US" sz="2400" dirty="0">
                <a:solidFill>
                  <a:srgbClr val="3A07DF"/>
                </a:solidFill>
              </a:rPr>
            </a:br>
            <a:r>
              <a:rPr lang="uz-Cyrl-UZ" sz="2400" dirty="0">
                <a:solidFill>
                  <a:srgbClr val="3A07DF"/>
                </a:solidFill>
              </a:rPr>
              <a:t>Ваколатлар</a:t>
            </a:r>
            <a:endParaRPr lang="ru-RU" sz="2400" b="0" dirty="0">
              <a:solidFill>
                <a:srgbClr val="3A07DF"/>
              </a:solidFill>
            </a:endParaRPr>
          </a:p>
        </p:txBody>
      </p:sp>
      <p:sp>
        <p:nvSpPr>
          <p:cNvPr id="12" name="Freeform 83">
            <a:extLst>
              <a:ext uri="{FF2B5EF4-FFF2-40B4-BE49-F238E27FC236}">
                <a16:creationId xmlns:a16="http://schemas.microsoft.com/office/drawing/2014/main" id="{6EF83A2E-BBA6-4ACC-B5DF-835A2EB1AD86}"/>
              </a:ext>
            </a:extLst>
          </p:cNvPr>
          <p:cNvSpPr/>
          <p:nvPr/>
        </p:nvSpPr>
        <p:spPr>
          <a:xfrm>
            <a:off x="441831" y="1819034"/>
            <a:ext cx="1211122" cy="1614182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 err="1">
              <a:solidFill>
                <a:srgbClr val="1BD7D3"/>
              </a:solidFill>
              <a:latin typeface="Gotham Light" pitchFamily="50" charset="0"/>
            </a:endParaRP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EB803D71-1B94-4D12-814D-85F1A2A91878}"/>
              </a:ext>
            </a:extLst>
          </p:cNvPr>
          <p:cNvSpPr txBox="1">
            <a:spLocks/>
          </p:cNvSpPr>
          <p:nvPr/>
        </p:nvSpPr>
        <p:spPr>
          <a:xfrm>
            <a:off x="441832" y="3671933"/>
            <a:ext cx="5582732" cy="13086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Сизнингч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ўз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вазифаларингизн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самарал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ажариш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учун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етарл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ваколатларингиз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орм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?</a:t>
            </a:r>
            <a:br>
              <a:rPr lang="ru-RU" sz="2000" dirty="0">
                <a:solidFill>
                  <a:schemeClr val="bg2">
                    <a:lumMod val="25000"/>
                  </a:schemeClr>
                </a:solidFill>
              </a:rPr>
            </a:br>
            <a:br>
              <a:rPr lang="ru-RU" sz="20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Сизг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қандай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ваколатлар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етишмайд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963617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F2987B0-E390-4DA7-B54A-C7050F464497}"/>
              </a:ext>
            </a:extLst>
          </p:cNvPr>
          <p:cNvSpPr txBox="1"/>
          <p:nvPr/>
        </p:nvSpPr>
        <p:spPr>
          <a:xfrm>
            <a:off x="1245056" y="1856213"/>
            <a:ext cx="2044243" cy="20313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аенс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нма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зифалар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рал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ари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шкилот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ҳбарият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арл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олат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минлан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у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768F354-F7CD-4E8A-95CE-91C6C94EF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</a:t>
            </a:r>
            <a:br>
              <a:rPr lang="ru-RU" dirty="0"/>
            </a:br>
            <a:r>
              <a:rPr lang="ru-RU" dirty="0"/>
              <a:t>ISO 37001:2016 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лари</a:t>
            </a:r>
            <a:r>
              <a:rPr lang="ru-RU" dirty="0"/>
              <a:t>» (8/10)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C7EC20B-4C02-45C0-9945-47F5091A76E7}"/>
              </a:ext>
            </a:extLst>
          </p:cNvPr>
          <p:cNvGrpSpPr/>
          <p:nvPr/>
        </p:nvGrpSpPr>
        <p:grpSpPr>
          <a:xfrm>
            <a:off x="431998" y="1282699"/>
            <a:ext cx="2899635" cy="514305"/>
            <a:chOff x="431998" y="1497505"/>
            <a:chExt cx="7093540" cy="589416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BCA60C1-36B6-4A4B-8FF5-C4FAF1CEBF67}"/>
                </a:ext>
              </a:extLst>
            </p:cNvPr>
            <p:cNvSpPr/>
            <p:nvPr/>
          </p:nvSpPr>
          <p:spPr>
            <a:xfrm>
              <a:off x="603459" y="1565361"/>
              <a:ext cx="6922079" cy="5215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3B21EA2-5896-41AC-BF42-23EB82358555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колатлар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0338172-2568-4FEA-9AFB-4F930D947DB1}"/>
              </a:ext>
            </a:extLst>
          </p:cNvPr>
          <p:cNvCxnSpPr>
            <a:cxnSpLocks/>
          </p:cNvCxnSpPr>
          <p:nvPr/>
        </p:nvCxnSpPr>
        <p:spPr>
          <a:xfrm>
            <a:off x="3784798" y="2029071"/>
            <a:ext cx="7964290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59D202D-68CE-4AE7-AFD2-32219A17A62A}"/>
              </a:ext>
            </a:extLst>
          </p:cNvPr>
          <p:cNvSpPr/>
          <p:nvPr/>
        </p:nvSpPr>
        <p:spPr>
          <a:xfrm>
            <a:off x="3784798" y="1605410"/>
            <a:ext cx="7272000" cy="338554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ISO 370016:2016ни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жорий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эт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ўйич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ўлланм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E83248-D1BB-474B-B06D-323153417B72}"/>
              </a:ext>
            </a:extLst>
          </p:cNvPr>
          <p:cNvSpPr/>
          <p:nvPr/>
        </p:nvSpPr>
        <p:spPr>
          <a:xfrm>
            <a:off x="3794630" y="2099264"/>
            <a:ext cx="7954458" cy="1969770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Ташкилот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рч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аража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аро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носабат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ддалашти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қсадида</a:t>
            </a:r>
            <a:r>
              <a:rPr lang="ru-RU" sz="1400" dirty="0">
                <a:solidFill>
                  <a:schemeClr val="tx2"/>
                </a:solidFill>
              </a:rPr>
              <a:t> комплаенс </a:t>
            </a:r>
            <a:r>
              <a:rPr lang="ru-RU" sz="1400" dirty="0" err="1">
                <a:solidFill>
                  <a:schemeClr val="tx2"/>
                </a:solidFill>
              </a:rPr>
              <a:t>бўлинмас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шлиғи</a:t>
            </a:r>
            <a:r>
              <a:rPr lang="ru-RU" sz="1400" dirty="0">
                <a:solidFill>
                  <a:schemeClr val="tx2"/>
                </a:solidFill>
              </a:rPr>
              <a:t> / коррупцияга қарши комплаенс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етар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брў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қо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урмат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ерак</a:t>
            </a:r>
            <a:r>
              <a:rPr lang="ru-RU" sz="1400" dirty="0">
                <a:solidFill>
                  <a:schemeClr val="tx2"/>
                </a:solidFill>
              </a:rPr>
              <a:t> (агар </a:t>
            </a: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одим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мпетенция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брўс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лишс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кўп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ала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орасм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уҳбатлар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н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мкин</a:t>
            </a:r>
            <a:r>
              <a:rPr lang="ru-RU" sz="1400" dirty="0">
                <a:solidFill>
                  <a:schemeClr val="tx2"/>
                </a:solidFill>
              </a:rPr>
              <a:t>). 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Комплаенс </a:t>
            </a:r>
            <a:r>
              <a:rPr lang="ru-RU" sz="1400" dirty="0" err="1">
                <a:solidFill>
                  <a:schemeClr val="tx2"/>
                </a:solidFill>
              </a:rPr>
              <a:t>бўлинманинг</a:t>
            </a:r>
            <a:r>
              <a:rPr lang="ru-RU" sz="1400" dirty="0">
                <a:solidFill>
                  <a:schemeClr val="tx2"/>
                </a:solidFill>
              </a:rPr>
              <a:t> / коррупцияга қарши комплаенс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брўс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онти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сим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сат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дипломатик </a:t>
            </a:r>
            <a:r>
              <a:rPr lang="ru-RU" sz="1400" dirty="0" err="1">
                <a:solidFill>
                  <a:schemeClr val="tx2"/>
                </a:solidFill>
              </a:rPr>
              <a:t>маҳорат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лдирил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лозим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79FA77F4-604D-4CAA-96E1-46575AB00AF4}"/>
              </a:ext>
            </a:extLst>
          </p:cNvPr>
          <p:cNvSpPr/>
          <p:nvPr/>
        </p:nvSpPr>
        <p:spPr>
          <a:xfrm>
            <a:off x="442912" y="18562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Freeform 69">
            <a:extLst>
              <a:ext uri="{FF2B5EF4-FFF2-40B4-BE49-F238E27FC236}">
                <a16:creationId xmlns:a16="http://schemas.microsoft.com/office/drawing/2014/main" id="{F0E49839-AC57-46AC-976B-4C04711DD34A}"/>
              </a:ext>
            </a:extLst>
          </p:cNvPr>
          <p:cNvSpPr>
            <a:spLocks noEditPoints="1"/>
          </p:cNvSpPr>
          <p:nvPr/>
        </p:nvSpPr>
        <p:spPr bwMode="auto">
          <a:xfrm>
            <a:off x="533598" y="1951716"/>
            <a:ext cx="516734" cy="455096"/>
          </a:xfrm>
          <a:custGeom>
            <a:avLst/>
            <a:gdLst>
              <a:gd name="T0" fmla="*/ 3164 w 4650"/>
              <a:gd name="T1" fmla="*/ 687 h 4086"/>
              <a:gd name="T2" fmla="*/ 2964 w 4650"/>
              <a:gd name="T3" fmla="*/ 0 h 4086"/>
              <a:gd name="T4" fmla="*/ 1485 w 4650"/>
              <a:gd name="T5" fmla="*/ 200 h 4086"/>
              <a:gd name="T6" fmla="*/ 650 w 4650"/>
              <a:gd name="T7" fmla="*/ 687 h 4086"/>
              <a:gd name="T8" fmla="*/ 0 w 4650"/>
              <a:gd name="T9" fmla="*/ 3460 h 4086"/>
              <a:gd name="T10" fmla="*/ 4000 w 4650"/>
              <a:gd name="T11" fmla="*/ 4086 h 4086"/>
              <a:gd name="T12" fmla="*/ 4650 w 4650"/>
              <a:gd name="T13" fmla="*/ 1314 h 4086"/>
              <a:gd name="T14" fmla="*/ 1686 w 4650"/>
              <a:gd name="T15" fmla="*/ 201 h 4086"/>
              <a:gd name="T16" fmla="*/ 2964 w 4650"/>
              <a:gd name="T17" fmla="*/ 687 h 4086"/>
              <a:gd name="T18" fmla="*/ 1686 w 4650"/>
              <a:gd name="T19" fmla="*/ 201 h 4086"/>
              <a:gd name="T20" fmla="*/ 650 w 4650"/>
              <a:gd name="T21" fmla="*/ 3886 h 4086"/>
              <a:gd name="T22" fmla="*/ 200 w 4650"/>
              <a:gd name="T23" fmla="*/ 2754 h 4086"/>
              <a:gd name="T24" fmla="*/ 1700 w 4650"/>
              <a:gd name="T25" fmla="*/ 2776 h 4086"/>
              <a:gd name="T26" fmla="*/ 1922 w 4650"/>
              <a:gd name="T27" fmla="*/ 3307 h 4086"/>
              <a:gd name="T28" fmla="*/ 2225 w 4650"/>
              <a:gd name="T29" fmla="*/ 3307 h 4086"/>
              <a:gd name="T30" fmla="*/ 2325 w 4650"/>
              <a:gd name="T31" fmla="*/ 3607 h 4086"/>
              <a:gd name="T32" fmla="*/ 2425 w 4650"/>
              <a:gd name="T33" fmla="*/ 3307 h 4086"/>
              <a:gd name="T34" fmla="*/ 2947 w 4650"/>
              <a:gd name="T35" fmla="*/ 3085 h 4086"/>
              <a:gd name="T36" fmla="*/ 2947 w 4650"/>
              <a:gd name="T37" fmla="*/ 2776 h 4086"/>
              <a:gd name="T38" fmla="*/ 4447 w 4650"/>
              <a:gd name="T39" fmla="*/ 2754 h 4086"/>
              <a:gd name="T40" fmla="*/ 4000 w 4650"/>
              <a:gd name="T41" fmla="*/ 3886 h 4086"/>
              <a:gd name="T42" fmla="*/ 2225 w 4650"/>
              <a:gd name="T43" fmla="*/ 2931 h 4086"/>
              <a:gd name="T44" fmla="*/ 1925 w 4650"/>
              <a:gd name="T45" fmla="*/ 3107 h 4086"/>
              <a:gd name="T46" fmla="*/ 1903 w 4650"/>
              <a:gd name="T47" fmla="*/ 2776 h 4086"/>
              <a:gd name="T48" fmla="*/ 2725 w 4650"/>
              <a:gd name="T49" fmla="*/ 2754 h 4086"/>
              <a:gd name="T50" fmla="*/ 2747 w 4650"/>
              <a:gd name="T51" fmla="*/ 2776 h 4086"/>
              <a:gd name="T52" fmla="*/ 2725 w 4650"/>
              <a:gd name="T53" fmla="*/ 3107 h 4086"/>
              <a:gd name="T54" fmla="*/ 2425 w 4650"/>
              <a:gd name="T55" fmla="*/ 3107 h 4086"/>
              <a:gd name="T56" fmla="*/ 2325 w 4650"/>
              <a:gd name="T57" fmla="*/ 2831 h 4086"/>
              <a:gd name="T58" fmla="*/ 200 w 4650"/>
              <a:gd name="T59" fmla="*/ 2554 h 4086"/>
              <a:gd name="T60" fmla="*/ 650 w 4650"/>
              <a:gd name="T61" fmla="*/ 888 h 4086"/>
              <a:gd name="T62" fmla="*/ 4450 w 4650"/>
              <a:gd name="T63" fmla="*/ 1314 h 40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650" h="4086">
                <a:moveTo>
                  <a:pt x="4000" y="687"/>
                </a:moveTo>
                <a:lnTo>
                  <a:pt x="3164" y="687"/>
                </a:lnTo>
                <a:lnTo>
                  <a:pt x="3164" y="200"/>
                </a:lnTo>
                <a:cubicBezTo>
                  <a:pt x="3164" y="89"/>
                  <a:pt x="3074" y="0"/>
                  <a:pt x="2964" y="0"/>
                </a:cubicBezTo>
                <a:lnTo>
                  <a:pt x="1685" y="0"/>
                </a:lnTo>
                <a:cubicBezTo>
                  <a:pt x="1575" y="0"/>
                  <a:pt x="1485" y="89"/>
                  <a:pt x="1485" y="200"/>
                </a:cubicBezTo>
                <a:lnTo>
                  <a:pt x="1485" y="687"/>
                </a:lnTo>
                <a:lnTo>
                  <a:pt x="650" y="687"/>
                </a:lnTo>
                <a:cubicBezTo>
                  <a:pt x="350" y="687"/>
                  <a:pt x="0" y="851"/>
                  <a:pt x="0" y="1313"/>
                </a:cubicBezTo>
                <a:lnTo>
                  <a:pt x="0" y="3460"/>
                </a:lnTo>
                <a:cubicBezTo>
                  <a:pt x="0" y="3922"/>
                  <a:pt x="350" y="4086"/>
                  <a:pt x="650" y="4086"/>
                </a:cubicBezTo>
                <a:lnTo>
                  <a:pt x="4000" y="4086"/>
                </a:lnTo>
                <a:cubicBezTo>
                  <a:pt x="4480" y="4086"/>
                  <a:pt x="4650" y="3750"/>
                  <a:pt x="4650" y="3460"/>
                </a:cubicBezTo>
                <a:lnTo>
                  <a:pt x="4650" y="1314"/>
                </a:lnTo>
                <a:cubicBezTo>
                  <a:pt x="4650" y="851"/>
                  <a:pt x="4300" y="687"/>
                  <a:pt x="4000" y="687"/>
                </a:cubicBezTo>
                <a:close/>
                <a:moveTo>
                  <a:pt x="1686" y="201"/>
                </a:moveTo>
                <a:lnTo>
                  <a:pt x="2964" y="200"/>
                </a:lnTo>
                <a:lnTo>
                  <a:pt x="2964" y="687"/>
                </a:lnTo>
                <a:lnTo>
                  <a:pt x="1686" y="687"/>
                </a:lnTo>
                <a:lnTo>
                  <a:pt x="1686" y="201"/>
                </a:lnTo>
                <a:close/>
                <a:moveTo>
                  <a:pt x="4000" y="3886"/>
                </a:moveTo>
                <a:lnTo>
                  <a:pt x="650" y="3886"/>
                </a:lnTo>
                <a:cubicBezTo>
                  <a:pt x="515" y="3886"/>
                  <a:pt x="200" y="3844"/>
                  <a:pt x="200" y="3460"/>
                </a:cubicBezTo>
                <a:lnTo>
                  <a:pt x="200" y="2754"/>
                </a:lnTo>
                <a:lnTo>
                  <a:pt x="1700" y="2754"/>
                </a:lnTo>
                <a:cubicBezTo>
                  <a:pt x="1700" y="2761"/>
                  <a:pt x="1700" y="2768"/>
                  <a:pt x="1700" y="2776"/>
                </a:cubicBezTo>
                <a:lnTo>
                  <a:pt x="1700" y="3085"/>
                </a:lnTo>
                <a:cubicBezTo>
                  <a:pt x="1700" y="3207"/>
                  <a:pt x="1799" y="3307"/>
                  <a:pt x="1922" y="3307"/>
                </a:cubicBezTo>
                <a:cubicBezTo>
                  <a:pt x="1923" y="3307"/>
                  <a:pt x="1924" y="3307"/>
                  <a:pt x="1925" y="3307"/>
                </a:cubicBezTo>
                <a:lnTo>
                  <a:pt x="2225" y="3307"/>
                </a:lnTo>
                <a:lnTo>
                  <a:pt x="2225" y="3507"/>
                </a:lnTo>
                <a:cubicBezTo>
                  <a:pt x="2225" y="3562"/>
                  <a:pt x="2270" y="3607"/>
                  <a:pt x="2325" y="3607"/>
                </a:cubicBezTo>
                <a:cubicBezTo>
                  <a:pt x="2380" y="3607"/>
                  <a:pt x="2425" y="3562"/>
                  <a:pt x="2425" y="3507"/>
                </a:cubicBezTo>
                <a:lnTo>
                  <a:pt x="2425" y="3307"/>
                </a:lnTo>
                <a:lnTo>
                  <a:pt x="2725" y="3307"/>
                </a:lnTo>
                <a:cubicBezTo>
                  <a:pt x="2848" y="3307"/>
                  <a:pt x="2947" y="3207"/>
                  <a:pt x="2947" y="3085"/>
                </a:cubicBezTo>
                <a:lnTo>
                  <a:pt x="2947" y="3085"/>
                </a:lnTo>
                <a:lnTo>
                  <a:pt x="2947" y="2776"/>
                </a:lnTo>
                <a:cubicBezTo>
                  <a:pt x="2947" y="2768"/>
                  <a:pt x="2947" y="2761"/>
                  <a:pt x="2947" y="2754"/>
                </a:cubicBezTo>
                <a:lnTo>
                  <a:pt x="4447" y="2754"/>
                </a:lnTo>
                <a:lnTo>
                  <a:pt x="4450" y="3460"/>
                </a:lnTo>
                <a:cubicBezTo>
                  <a:pt x="4450" y="3588"/>
                  <a:pt x="4406" y="3886"/>
                  <a:pt x="4000" y="3886"/>
                </a:cubicBezTo>
                <a:close/>
                <a:moveTo>
                  <a:pt x="2325" y="2831"/>
                </a:moveTo>
                <a:cubicBezTo>
                  <a:pt x="2270" y="2831"/>
                  <a:pt x="2225" y="2875"/>
                  <a:pt x="2225" y="2931"/>
                </a:cubicBezTo>
                <a:lnTo>
                  <a:pt x="2225" y="3107"/>
                </a:lnTo>
                <a:lnTo>
                  <a:pt x="1925" y="3107"/>
                </a:lnTo>
                <a:cubicBezTo>
                  <a:pt x="1913" y="3107"/>
                  <a:pt x="1903" y="3097"/>
                  <a:pt x="1903" y="3085"/>
                </a:cubicBezTo>
                <a:lnTo>
                  <a:pt x="1903" y="2776"/>
                </a:lnTo>
                <a:cubicBezTo>
                  <a:pt x="1903" y="2763"/>
                  <a:pt x="1913" y="2754"/>
                  <a:pt x="1925" y="2754"/>
                </a:cubicBezTo>
                <a:lnTo>
                  <a:pt x="2725" y="2754"/>
                </a:lnTo>
                <a:cubicBezTo>
                  <a:pt x="2737" y="2754"/>
                  <a:pt x="2747" y="2763"/>
                  <a:pt x="2747" y="2776"/>
                </a:cubicBezTo>
                <a:lnTo>
                  <a:pt x="2747" y="2776"/>
                </a:lnTo>
                <a:lnTo>
                  <a:pt x="2747" y="3085"/>
                </a:lnTo>
                <a:cubicBezTo>
                  <a:pt x="2747" y="3097"/>
                  <a:pt x="2737" y="3107"/>
                  <a:pt x="2725" y="3107"/>
                </a:cubicBezTo>
                <a:lnTo>
                  <a:pt x="2725" y="3107"/>
                </a:lnTo>
                <a:lnTo>
                  <a:pt x="2425" y="3107"/>
                </a:lnTo>
                <a:lnTo>
                  <a:pt x="2425" y="2931"/>
                </a:lnTo>
                <a:cubicBezTo>
                  <a:pt x="2425" y="2875"/>
                  <a:pt x="2380" y="2831"/>
                  <a:pt x="2325" y="2831"/>
                </a:cubicBezTo>
                <a:close/>
                <a:moveTo>
                  <a:pt x="4450" y="2554"/>
                </a:moveTo>
                <a:lnTo>
                  <a:pt x="200" y="2554"/>
                </a:lnTo>
                <a:lnTo>
                  <a:pt x="200" y="1314"/>
                </a:lnTo>
                <a:cubicBezTo>
                  <a:pt x="200" y="929"/>
                  <a:pt x="515" y="888"/>
                  <a:pt x="650" y="888"/>
                </a:cubicBezTo>
                <a:lnTo>
                  <a:pt x="4000" y="888"/>
                </a:lnTo>
                <a:cubicBezTo>
                  <a:pt x="4135" y="888"/>
                  <a:pt x="4450" y="929"/>
                  <a:pt x="4450" y="1314"/>
                </a:cubicBezTo>
                <a:lnTo>
                  <a:pt x="4450" y="2554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E6EE06-9D5A-41A5-94A2-B1405254DFA2}"/>
              </a:ext>
            </a:extLst>
          </p:cNvPr>
          <p:cNvCxnSpPr>
            <a:cxnSpLocks/>
          </p:cNvCxnSpPr>
          <p:nvPr/>
        </p:nvCxnSpPr>
        <p:spPr>
          <a:xfrm>
            <a:off x="3784798" y="4809108"/>
            <a:ext cx="7964290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6E11E2FA-EC1F-4B4E-879F-0BAB6CE2D23C}"/>
              </a:ext>
            </a:extLst>
          </p:cNvPr>
          <p:cNvSpPr/>
          <p:nvPr/>
        </p:nvSpPr>
        <p:spPr>
          <a:xfrm>
            <a:off x="3784798" y="4139226"/>
            <a:ext cx="7272000" cy="584775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Етакч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халқаро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амалиётлар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ўр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, комплаенс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ўлинмаси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колатлари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уйидагилард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ўсиқсиз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фойдалан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ирад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4075906-43C8-4DA3-B1DB-57F1501C88CD}"/>
              </a:ext>
            </a:extLst>
          </p:cNvPr>
          <p:cNvSpPr/>
          <p:nvPr/>
        </p:nvSpPr>
        <p:spPr>
          <a:xfrm>
            <a:off x="3794630" y="4879301"/>
            <a:ext cx="7954458" cy="1631216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махф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ълумот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ужжатлардан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бухгалтерия </a:t>
            </a:r>
            <a:r>
              <a:rPr lang="ru-RU" sz="1400" dirty="0" err="1">
                <a:solidFill>
                  <a:schemeClr val="tx2"/>
                </a:solidFill>
              </a:rPr>
              <a:t>ҳисоб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шқ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ълумотлардан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одим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аро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носаб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r>
              <a:rPr lang="ru-RU" sz="1400" dirty="0">
                <a:solidFill>
                  <a:schemeClr val="tx2"/>
                </a:solidFill>
              </a:rPr>
              <a:t>,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коррупцияга қарши </a:t>
            </a:r>
            <a:r>
              <a:rPr lang="ru-RU" sz="1400" dirty="0" err="1">
                <a:solidFill>
                  <a:schemeClr val="tx2"/>
                </a:solidFill>
              </a:rPr>
              <a:t>чора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марадорлигини</a:t>
            </a:r>
            <a:r>
              <a:rPr lang="ru-RU" sz="1400" dirty="0">
                <a:solidFill>
                  <a:schemeClr val="tx2"/>
                </a:solidFill>
              </a:rPr>
              <a:t> мониторинг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изм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екширув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тказ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қсадлар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ли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риш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842575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197C7E1-5DB4-4736-9250-BDF27DD02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</a:t>
            </a:r>
            <a:br>
              <a:rPr lang="en-US" dirty="0"/>
            </a:br>
            <a:r>
              <a:rPr lang="ru-RU" dirty="0"/>
              <a:t>ISO 37001:2016 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лари</a:t>
            </a:r>
            <a:r>
              <a:rPr lang="ru-RU" dirty="0"/>
              <a:t>» (9/10)</a:t>
            </a:r>
            <a:endParaRPr lang="en-US" dirty="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297870FC-C468-4156-ACDD-B112F71457B9}"/>
              </a:ext>
            </a:extLst>
          </p:cNvPr>
          <p:cNvSpPr txBox="1">
            <a:spLocks/>
          </p:cNvSpPr>
          <p:nvPr/>
        </p:nvSpPr>
        <p:spPr>
          <a:xfrm>
            <a:off x="816680" y="1973835"/>
            <a:ext cx="5207883" cy="13086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 err="1">
                <a:solidFill>
                  <a:srgbClr val="3A07DF"/>
                </a:solidFill>
              </a:rPr>
              <a:t>Муҳокама</a:t>
            </a:r>
            <a:r>
              <a:rPr lang="ru-RU" sz="2400" dirty="0">
                <a:solidFill>
                  <a:srgbClr val="3A07DF"/>
                </a:solidFill>
              </a:rPr>
              <a:t> </a:t>
            </a:r>
            <a:r>
              <a:rPr lang="ru-RU" sz="2400" dirty="0" err="1">
                <a:solidFill>
                  <a:srgbClr val="3A07DF"/>
                </a:solidFill>
              </a:rPr>
              <a:t>учун</a:t>
            </a:r>
            <a:r>
              <a:rPr lang="ru-RU" sz="2400" dirty="0">
                <a:solidFill>
                  <a:srgbClr val="3A07DF"/>
                </a:solidFill>
              </a:rPr>
              <a:t> </a:t>
            </a:r>
            <a:r>
              <a:rPr lang="ru-RU" sz="2400" dirty="0" err="1">
                <a:solidFill>
                  <a:srgbClr val="3A07DF"/>
                </a:solidFill>
              </a:rPr>
              <a:t>савол</a:t>
            </a:r>
            <a:r>
              <a:rPr lang="ru-RU" sz="2400" dirty="0">
                <a:solidFill>
                  <a:srgbClr val="3A07DF"/>
                </a:solidFill>
              </a:rPr>
              <a:t>: </a:t>
            </a:r>
            <a:br>
              <a:rPr lang="en-US" sz="2400" dirty="0">
                <a:solidFill>
                  <a:srgbClr val="3A07DF"/>
                </a:solidFill>
              </a:rPr>
            </a:br>
            <a:r>
              <a:rPr lang="ru-RU" sz="2400" dirty="0">
                <a:solidFill>
                  <a:srgbClr val="3A07DF"/>
                </a:solidFill>
              </a:rPr>
              <a:t>Мустақиллик</a:t>
            </a:r>
            <a:endParaRPr lang="ru-RU" sz="2400" b="0" dirty="0">
              <a:solidFill>
                <a:srgbClr val="3A07DF"/>
              </a:solidFill>
            </a:endParaRPr>
          </a:p>
        </p:txBody>
      </p:sp>
      <p:sp>
        <p:nvSpPr>
          <p:cNvPr id="12" name="Freeform 83">
            <a:extLst>
              <a:ext uri="{FF2B5EF4-FFF2-40B4-BE49-F238E27FC236}">
                <a16:creationId xmlns:a16="http://schemas.microsoft.com/office/drawing/2014/main" id="{6EF83A2E-BBA6-4ACC-B5DF-835A2EB1AD86}"/>
              </a:ext>
            </a:extLst>
          </p:cNvPr>
          <p:cNvSpPr/>
          <p:nvPr/>
        </p:nvSpPr>
        <p:spPr>
          <a:xfrm>
            <a:off x="441831" y="1819034"/>
            <a:ext cx="1211122" cy="1614182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 err="1">
              <a:solidFill>
                <a:srgbClr val="1BD7D3"/>
              </a:solidFill>
              <a:latin typeface="Gotham Light" pitchFamily="50" charset="0"/>
            </a:endParaRP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EB803D71-1B94-4D12-814D-85F1A2A91878}"/>
              </a:ext>
            </a:extLst>
          </p:cNvPr>
          <p:cNvSpPr txBox="1">
            <a:spLocks/>
          </p:cNvSpPr>
          <p:nvPr/>
        </p:nvSpPr>
        <p:spPr>
          <a:xfrm>
            <a:off x="441831" y="3671933"/>
            <a:ext cx="6505621" cy="13086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Коррупцияга қарши комплаенс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функцияларингизн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давлат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ташкилотининг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ошқ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функциялар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илан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иргаликд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амалг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оширасизм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?</a:t>
            </a:r>
          </a:p>
          <a:p>
            <a:br>
              <a:rPr lang="ru-RU" sz="20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Агар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шундай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ўлс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қайс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функциялар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илан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813650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F2987B0-E390-4DA7-B54A-C7050F464497}"/>
              </a:ext>
            </a:extLst>
          </p:cNvPr>
          <p:cNvSpPr txBox="1"/>
          <p:nvPr/>
        </p:nvSpPr>
        <p:spPr>
          <a:xfrm>
            <a:off x="1245056" y="1856213"/>
            <a:ext cx="2086577" cy="440120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стақиллик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у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глатадик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мплаенс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нма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ож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ич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шкилот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вф-хат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лар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б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лмайд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Агар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шкилот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лаенс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нм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рн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шбу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л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лиқсиз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н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лайди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рупцияга қарши курашиш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ъу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гон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йинлан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с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у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и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лар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ариш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хўр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вф-хатар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ч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масли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зим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768F354-F7CD-4E8A-95CE-91C6C94EF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4630" y="271521"/>
            <a:ext cx="7964290" cy="434975"/>
          </a:xfrm>
        </p:spPr>
        <p:txBody>
          <a:bodyPr/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</a:t>
            </a:r>
            <a:br>
              <a:rPr lang="ru-RU" dirty="0"/>
            </a:br>
            <a:r>
              <a:rPr lang="ru-RU" dirty="0"/>
              <a:t>ISO 37001:2016 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лари</a:t>
            </a:r>
            <a:r>
              <a:rPr lang="ru-RU" dirty="0"/>
              <a:t>» (10/10)</a:t>
            </a:r>
            <a:br>
              <a:rPr lang="ru-RU" dirty="0"/>
            </a:br>
            <a:br>
              <a:rPr lang="ru-RU" dirty="0"/>
            </a:br>
            <a:br>
              <a:rPr lang="ru-RU" dirty="0"/>
            </a:br>
            <a:br>
              <a:rPr lang="ru-RU" dirty="0"/>
            </a:b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C7EC20B-4C02-45C0-9945-47F5091A76E7}"/>
              </a:ext>
            </a:extLst>
          </p:cNvPr>
          <p:cNvGrpSpPr/>
          <p:nvPr/>
        </p:nvGrpSpPr>
        <p:grpSpPr>
          <a:xfrm>
            <a:off x="431998" y="1282699"/>
            <a:ext cx="2899635" cy="514305"/>
            <a:chOff x="431998" y="1497505"/>
            <a:chExt cx="7093540" cy="589416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BCA60C1-36B6-4A4B-8FF5-C4FAF1CEBF67}"/>
                </a:ext>
              </a:extLst>
            </p:cNvPr>
            <p:cNvSpPr/>
            <p:nvPr/>
          </p:nvSpPr>
          <p:spPr>
            <a:xfrm>
              <a:off x="603459" y="1565361"/>
              <a:ext cx="6922079" cy="5215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3B21EA2-5896-41AC-BF42-23EB82358555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устақиллик</a:t>
              </a:r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0338172-2568-4FEA-9AFB-4F930D947DB1}"/>
              </a:ext>
            </a:extLst>
          </p:cNvPr>
          <p:cNvCxnSpPr>
            <a:cxnSpLocks/>
          </p:cNvCxnSpPr>
          <p:nvPr/>
        </p:nvCxnSpPr>
        <p:spPr>
          <a:xfrm>
            <a:off x="3784798" y="2029071"/>
            <a:ext cx="7964290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59D202D-68CE-4AE7-AFD2-32219A17A62A}"/>
              </a:ext>
            </a:extLst>
          </p:cNvPr>
          <p:cNvSpPr/>
          <p:nvPr/>
        </p:nvSpPr>
        <p:spPr>
          <a:xfrm>
            <a:off x="3784798" y="959079"/>
            <a:ext cx="7272000" cy="984885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endParaRPr lang="ru-RU" sz="1600" b="1" dirty="0">
              <a:solidFill>
                <a:schemeClr val="bg2">
                  <a:lumMod val="2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ISO 370016:2016ни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жорий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эт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ўйич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ўлланма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уйидагила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йд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этилг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E83248-D1BB-474B-B06D-323153417B72}"/>
              </a:ext>
            </a:extLst>
          </p:cNvPr>
          <p:cNvSpPr/>
          <p:nvPr/>
        </p:nvSpPr>
        <p:spPr>
          <a:xfrm>
            <a:off x="3794630" y="2099264"/>
            <a:ext cx="7954458" cy="2708434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Комплаенс </a:t>
            </a:r>
            <a:r>
              <a:rPr lang="ru-RU" sz="1400" dirty="0" err="1">
                <a:solidFill>
                  <a:schemeClr val="tx2"/>
                </a:solidFill>
              </a:rPr>
              <a:t>бўлинма</a:t>
            </a:r>
            <a:r>
              <a:rPr lang="ru-RU" sz="1400" dirty="0">
                <a:solidFill>
                  <a:schemeClr val="tx2"/>
                </a:solidFill>
              </a:rPr>
              <a:t>/коррупцияга қарши комплаенс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аҳбарият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ғридан-тўғ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сиқсиз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и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уқуқ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лозим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Комплаенс </a:t>
            </a:r>
            <a:r>
              <a:rPr lang="ru-RU" sz="1400" dirty="0" err="1">
                <a:solidFill>
                  <a:schemeClr val="tx2"/>
                </a:solidFill>
              </a:rPr>
              <a:t>бўлинм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шлиғи</a:t>
            </a:r>
            <a:r>
              <a:rPr lang="ru-RU" sz="1400" dirty="0">
                <a:solidFill>
                  <a:schemeClr val="tx2"/>
                </a:solidFill>
              </a:rPr>
              <a:t>/коррупцияга қарши курашиш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аҳбарият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нтазам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рашув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н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зарур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Комплаенс </a:t>
            </a:r>
            <a:r>
              <a:rPr lang="ru-RU" sz="1400" dirty="0" err="1">
                <a:solidFill>
                  <a:schemeClr val="tx2"/>
                </a:solidFill>
              </a:rPr>
              <a:t>функцияс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ли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ри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қдир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</a:t>
            </a:r>
            <a:r>
              <a:rPr lang="ru-RU" sz="1400" dirty="0">
                <a:solidFill>
                  <a:schemeClr val="tx2"/>
                </a:solidFill>
              </a:rPr>
              <a:t> функция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носи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омзод</a:t>
            </a:r>
            <a:r>
              <a:rPr lang="ru-RU" sz="1400" dirty="0">
                <a:solidFill>
                  <a:schemeClr val="tx2"/>
                </a:solidFill>
              </a:rPr>
              <a:t> юрист, ички аудитор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ъмурий</a:t>
            </a:r>
            <a:r>
              <a:rPr lang="ru-RU" sz="1400" dirty="0">
                <a:solidFill>
                  <a:schemeClr val="tx2"/>
                </a:solidFill>
              </a:rPr>
              <a:t> (</a:t>
            </a:r>
            <a:r>
              <a:rPr lang="ru-RU" sz="1400" dirty="0" err="1">
                <a:solidFill>
                  <a:schemeClr val="tx2"/>
                </a:solidFill>
              </a:rPr>
              <a:t>молия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адр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ми</a:t>
            </a:r>
            <a:r>
              <a:rPr lang="ru-RU" sz="1400" dirty="0">
                <a:solidFill>
                  <a:schemeClr val="tx2"/>
                </a:solidFill>
              </a:rPr>
              <a:t>) </a:t>
            </a:r>
            <a:r>
              <a:rPr lang="ru-RU" sz="1400" dirty="0" err="1">
                <a:solidFill>
                  <a:schemeClr val="tx2"/>
                </a:solidFill>
              </a:rPr>
              <a:t>ходимлардир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Порахўрликка</a:t>
            </a:r>
            <a:r>
              <a:rPr lang="ru-RU" sz="1400" dirty="0">
                <a:solidFill>
                  <a:schemeClr val="tx2"/>
                </a:solidFill>
              </a:rPr>
              <a:t> қарши комплаенс </a:t>
            </a:r>
            <a:r>
              <a:rPr lang="ru-RU" sz="1400" dirty="0" err="1">
                <a:solidFill>
                  <a:schemeClr val="tx2"/>
                </a:solidFill>
              </a:rPr>
              <a:t>функцияс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ъз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зифа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қар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жариш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мкин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  <a:r>
              <a:rPr lang="ru-RU" sz="1400" dirty="0" err="1">
                <a:solidFill>
                  <a:schemeClr val="tx2"/>
                </a:solidFill>
              </a:rPr>
              <a:t>Бу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олд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бу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 комплаенс </a:t>
            </a:r>
            <a:r>
              <a:rPr lang="ru-RU" sz="1400" dirty="0" err="1">
                <a:solidFill>
                  <a:schemeClr val="tx2"/>
                </a:solidFill>
              </a:rPr>
              <a:t>функцияс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исбат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ли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авобга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колат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қлай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одимлар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йўриқномал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вофи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ак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лозим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79FA77F4-604D-4CAA-96E1-46575AB00AF4}"/>
              </a:ext>
            </a:extLst>
          </p:cNvPr>
          <p:cNvSpPr/>
          <p:nvPr/>
        </p:nvSpPr>
        <p:spPr>
          <a:xfrm>
            <a:off x="443225" y="18562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4" name="Group 229">
            <a:extLst>
              <a:ext uri="{FF2B5EF4-FFF2-40B4-BE49-F238E27FC236}">
                <a16:creationId xmlns:a16="http://schemas.microsoft.com/office/drawing/2014/main" id="{C10382EE-EDBF-402D-9FAF-F13E1C1168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0390" y="1916319"/>
            <a:ext cx="453688" cy="598076"/>
            <a:chOff x="4188" y="2884"/>
            <a:chExt cx="641" cy="845"/>
          </a:xfrm>
          <a:solidFill>
            <a:schemeClr val="bg2">
              <a:lumMod val="25000"/>
            </a:schemeClr>
          </a:solidFill>
        </p:grpSpPr>
        <p:sp>
          <p:nvSpPr>
            <p:cNvPr id="25" name="Freeform 230">
              <a:extLst>
                <a:ext uri="{FF2B5EF4-FFF2-40B4-BE49-F238E27FC236}">
                  <a16:creationId xmlns:a16="http://schemas.microsoft.com/office/drawing/2014/main" id="{854F314A-BCDC-4D19-B8F5-07E7BEEAF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" y="3498"/>
              <a:ext cx="43" cy="72"/>
            </a:xfrm>
            <a:custGeom>
              <a:avLst/>
              <a:gdLst>
                <a:gd name="T0" fmla="*/ 235 w 329"/>
                <a:gd name="T1" fmla="*/ 0 h 547"/>
                <a:gd name="T2" fmla="*/ 141 w 329"/>
                <a:gd name="T3" fmla="*/ 94 h 547"/>
                <a:gd name="T4" fmla="*/ 141 w 329"/>
                <a:gd name="T5" fmla="*/ 266 h 547"/>
                <a:gd name="T6" fmla="*/ 73 w 329"/>
                <a:gd name="T7" fmla="*/ 366 h 547"/>
                <a:gd name="T8" fmla="*/ 18 w 329"/>
                <a:gd name="T9" fmla="*/ 487 h 547"/>
                <a:gd name="T10" fmla="*/ 106 w 329"/>
                <a:gd name="T11" fmla="*/ 547 h 547"/>
                <a:gd name="T12" fmla="*/ 139 w 329"/>
                <a:gd name="T13" fmla="*/ 541 h 547"/>
                <a:gd name="T14" fmla="*/ 329 w 329"/>
                <a:gd name="T15" fmla="*/ 266 h 547"/>
                <a:gd name="T16" fmla="*/ 329 w 329"/>
                <a:gd name="T17" fmla="*/ 94 h 547"/>
                <a:gd name="T18" fmla="*/ 235 w 329"/>
                <a:gd name="T19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9" h="547">
                  <a:moveTo>
                    <a:pt x="235" y="0"/>
                  </a:moveTo>
                  <a:cubicBezTo>
                    <a:pt x="183" y="0"/>
                    <a:pt x="141" y="42"/>
                    <a:pt x="141" y="94"/>
                  </a:cubicBezTo>
                  <a:lnTo>
                    <a:pt x="141" y="266"/>
                  </a:lnTo>
                  <a:cubicBezTo>
                    <a:pt x="141" y="310"/>
                    <a:pt x="114" y="350"/>
                    <a:pt x="73" y="366"/>
                  </a:cubicBezTo>
                  <a:cubicBezTo>
                    <a:pt x="24" y="384"/>
                    <a:pt x="0" y="438"/>
                    <a:pt x="18" y="487"/>
                  </a:cubicBezTo>
                  <a:cubicBezTo>
                    <a:pt x="33" y="524"/>
                    <a:pt x="68" y="547"/>
                    <a:pt x="106" y="547"/>
                  </a:cubicBezTo>
                  <a:cubicBezTo>
                    <a:pt x="117" y="547"/>
                    <a:pt x="128" y="545"/>
                    <a:pt x="139" y="541"/>
                  </a:cubicBezTo>
                  <a:cubicBezTo>
                    <a:pt x="253" y="498"/>
                    <a:pt x="329" y="387"/>
                    <a:pt x="329" y="266"/>
                  </a:cubicBezTo>
                  <a:lnTo>
                    <a:pt x="329" y="94"/>
                  </a:lnTo>
                  <a:cubicBezTo>
                    <a:pt x="329" y="42"/>
                    <a:pt x="287" y="0"/>
                    <a:pt x="23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1">
              <a:extLst>
                <a:ext uri="{FF2B5EF4-FFF2-40B4-BE49-F238E27FC236}">
                  <a16:creationId xmlns:a16="http://schemas.microsoft.com/office/drawing/2014/main" id="{5ED9CA1B-6536-48BE-AA21-5B46F6318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8" y="3067"/>
              <a:ext cx="230" cy="504"/>
            </a:xfrm>
            <a:custGeom>
              <a:avLst/>
              <a:gdLst>
                <a:gd name="T0" fmla="*/ 1649 w 1742"/>
                <a:gd name="T1" fmla="*/ 3631 h 3818"/>
                <a:gd name="T2" fmla="*/ 294 w 1742"/>
                <a:gd name="T3" fmla="*/ 3631 h 3818"/>
                <a:gd name="T4" fmla="*/ 187 w 1742"/>
                <a:gd name="T5" fmla="*/ 3524 h 3818"/>
                <a:gd name="T6" fmla="*/ 187 w 1742"/>
                <a:gd name="T7" fmla="*/ 93 h 3818"/>
                <a:gd name="T8" fmla="*/ 94 w 1742"/>
                <a:gd name="T9" fmla="*/ 0 h 3818"/>
                <a:gd name="T10" fmla="*/ 0 w 1742"/>
                <a:gd name="T11" fmla="*/ 93 h 3818"/>
                <a:gd name="T12" fmla="*/ 0 w 1742"/>
                <a:gd name="T13" fmla="*/ 3524 h 3818"/>
                <a:gd name="T14" fmla="*/ 294 w 1742"/>
                <a:gd name="T15" fmla="*/ 3818 h 3818"/>
                <a:gd name="T16" fmla="*/ 1649 w 1742"/>
                <a:gd name="T17" fmla="*/ 3818 h 3818"/>
                <a:gd name="T18" fmla="*/ 1742 w 1742"/>
                <a:gd name="T19" fmla="*/ 3724 h 3818"/>
                <a:gd name="T20" fmla="*/ 1649 w 1742"/>
                <a:gd name="T21" fmla="*/ 3631 h 3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42" h="3818">
                  <a:moveTo>
                    <a:pt x="1649" y="3631"/>
                  </a:moveTo>
                  <a:lnTo>
                    <a:pt x="294" y="3631"/>
                  </a:lnTo>
                  <a:cubicBezTo>
                    <a:pt x="235" y="3631"/>
                    <a:pt x="187" y="3583"/>
                    <a:pt x="187" y="3524"/>
                  </a:cubicBezTo>
                  <a:lnTo>
                    <a:pt x="187" y="93"/>
                  </a:lnTo>
                  <a:cubicBezTo>
                    <a:pt x="187" y="42"/>
                    <a:pt x="145" y="0"/>
                    <a:pt x="94" y="0"/>
                  </a:cubicBezTo>
                  <a:cubicBezTo>
                    <a:pt x="42" y="0"/>
                    <a:pt x="0" y="42"/>
                    <a:pt x="0" y="93"/>
                  </a:cubicBezTo>
                  <a:lnTo>
                    <a:pt x="0" y="3524"/>
                  </a:lnTo>
                  <a:cubicBezTo>
                    <a:pt x="0" y="3686"/>
                    <a:pt x="132" y="3818"/>
                    <a:pt x="294" y="3818"/>
                  </a:cubicBezTo>
                  <a:lnTo>
                    <a:pt x="1649" y="3818"/>
                  </a:lnTo>
                  <a:cubicBezTo>
                    <a:pt x="1700" y="3818"/>
                    <a:pt x="1742" y="3776"/>
                    <a:pt x="1742" y="3724"/>
                  </a:cubicBezTo>
                  <a:cubicBezTo>
                    <a:pt x="1742" y="3673"/>
                    <a:pt x="1700" y="3631"/>
                    <a:pt x="1649" y="36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2">
              <a:extLst>
                <a:ext uri="{FF2B5EF4-FFF2-40B4-BE49-F238E27FC236}">
                  <a16:creationId xmlns:a16="http://schemas.microsoft.com/office/drawing/2014/main" id="{FE9CB24C-C869-40BD-AEF7-1B09A936A9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8" y="2884"/>
              <a:ext cx="460" cy="190"/>
            </a:xfrm>
            <a:custGeom>
              <a:avLst/>
              <a:gdLst>
                <a:gd name="T0" fmla="*/ 94 w 3489"/>
                <a:gd name="T1" fmla="*/ 1181 h 1437"/>
                <a:gd name="T2" fmla="*/ 187 w 3489"/>
                <a:gd name="T3" fmla="*/ 1087 h 1437"/>
                <a:gd name="T4" fmla="*/ 187 w 3489"/>
                <a:gd name="T5" fmla="*/ 829 h 1437"/>
                <a:gd name="T6" fmla="*/ 294 w 3489"/>
                <a:gd name="T7" fmla="*/ 722 h 1437"/>
                <a:gd name="T8" fmla="*/ 968 w 3489"/>
                <a:gd name="T9" fmla="*/ 722 h 1437"/>
                <a:gd name="T10" fmla="*/ 968 w 3489"/>
                <a:gd name="T11" fmla="*/ 854 h 1437"/>
                <a:gd name="T12" fmla="*/ 1153 w 3489"/>
                <a:gd name="T13" fmla="*/ 1039 h 1437"/>
                <a:gd name="T14" fmla="*/ 2336 w 3489"/>
                <a:gd name="T15" fmla="*/ 1039 h 1437"/>
                <a:gd name="T16" fmla="*/ 2520 w 3489"/>
                <a:gd name="T17" fmla="*/ 854 h 1437"/>
                <a:gd name="T18" fmla="*/ 2520 w 3489"/>
                <a:gd name="T19" fmla="*/ 722 h 1437"/>
                <a:gd name="T20" fmla="*/ 3195 w 3489"/>
                <a:gd name="T21" fmla="*/ 722 h 1437"/>
                <a:gd name="T22" fmla="*/ 3301 w 3489"/>
                <a:gd name="T23" fmla="*/ 829 h 1437"/>
                <a:gd name="T24" fmla="*/ 3301 w 3489"/>
                <a:gd name="T25" fmla="*/ 1344 h 1437"/>
                <a:gd name="T26" fmla="*/ 3395 w 3489"/>
                <a:gd name="T27" fmla="*/ 1437 h 1437"/>
                <a:gd name="T28" fmla="*/ 3489 w 3489"/>
                <a:gd name="T29" fmla="*/ 1344 h 1437"/>
                <a:gd name="T30" fmla="*/ 3489 w 3489"/>
                <a:gd name="T31" fmla="*/ 829 h 1437"/>
                <a:gd name="T32" fmla="*/ 3195 w 3489"/>
                <a:gd name="T33" fmla="*/ 535 h 1437"/>
                <a:gd name="T34" fmla="*/ 2518 w 3489"/>
                <a:gd name="T35" fmla="*/ 535 h 1437"/>
                <a:gd name="T36" fmla="*/ 2336 w 3489"/>
                <a:gd name="T37" fmla="*/ 376 h 1437"/>
                <a:gd name="T38" fmla="*/ 2205 w 3489"/>
                <a:gd name="T39" fmla="*/ 376 h 1437"/>
                <a:gd name="T40" fmla="*/ 1744 w 3489"/>
                <a:gd name="T41" fmla="*/ 0 h 1437"/>
                <a:gd name="T42" fmla="*/ 1284 w 3489"/>
                <a:gd name="T43" fmla="*/ 376 h 1437"/>
                <a:gd name="T44" fmla="*/ 1153 w 3489"/>
                <a:gd name="T45" fmla="*/ 376 h 1437"/>
                <a:gd name="T46" fmla="*/ 970 w 3489"/>
                <a:gd name="T47" fmla="*/ 535 h 1437"/>
                <a:gd name="T48" fmla="*/ 294 w 3489"/>
                <a:gd name="T49" fmla="*/ 535 h 1437"/>
                <a:gd name="T50" fmla="*/ 0 w 3489"/>
                <a:gd name="T51" fmla="*/ 829 h 1437"/>
                <a:gd name="T52" fmla="*/ 0 w 3489"/>
                <a:gd name="T53" fmla="*/ 1087 h 1437"/>
                <a:gd name="T54" fmla="*/ 94 w 3489"/>
                <a:gd name="T55" fmla="*/ 1181 h 1437"/>
                <a:gd name="T56" fmla="*/ 1744 w 3489"/>
                <a:gd name="T57" fmla="*/ 188 h 1437"/>
                <a:gd name="T58" fmla="*/ 2011 w 3489"/>
                <a:gd name="T59" fmla="*/ 376 h 1437"/>
                <a:gd name="T60" fmla="*/ 1478 w 3489"/>
                <a:gd name="T61" fmla="*/ 376 h 1437"/>
                <a:gd name="T62" fmla="*/ 1744 w 3489"/>
                <a:gd name="T63" fmla="*/ 188 h 1437"/>
                <a:gd name="T64" fmla="*/ 1156 w 3489"/>
                <a:gd name="T65" fmla="*/ 564 h 1437"/>
                <a:gd name="T66" fmla="*/ 1368 w 3489"/>
                <a:gd name="T67" fmla="*/ 564 h 1437"/>
                <a:gd name="T68" fmla="*/ 2120 w 3489"/>
                <a:gd name="T69" fmla="*/ 564 h 1437"/>
                <a:gd name="T70" fmla="*/ 2333 w 3489"/>
                <a:gd name="T71" fmla="*/ 564 h 1437"/>
                <a:gd name="T72" fmla="*/ 2333 w 3489"/>
                <a:gd name="T73" fmla="*/ 627 h 1437"/>
                <a:gd name="T74" fmla="*/ 2333 w 3489"/>
                <a:gd name="T75" fmla="*/ 628 h 1437"/>
                <a:gd name="T76" fmla="*/ 2333 w 3489"/>
                <a:gd name="T77" fmla="*/ 630 h 1437"/>
                <a:gd name="T78" fmla="*/ 2333 w 3489"/>
                <a:gd name="T79" fmla="*/ 851 h 1437"/>
                <a:gd name="T80" fmla="*/ 1156 w 3489"/>
                <a:gd name="T81" fmla="*/ 851 h 1437"/>
                <a:gd name="T82" fmla="*/ 1156 w 3489"/>
                <a:gd name="T83" fmla="*/ 564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89" h="1437">
                  <a:moveTo>
                    <a:pt x="94" y="1181"/>
                  </a:moveTo>
                  <a:cubicBezTo>
                    <a:pt x="145" y="1181"/>
                    <a:pt x="187" y="1139"/>
                    <a:pt x="187" y="1087"/>
                  </a:cubicBezTo>
                  <a:lnTo>
                    <a:pt x="187" y="829"/>
                  </a:lnTo>
                  <a:cubicBezTo>
                    <a:pt x="187" y="770"/>
                    <a:pt x="235" y="722"/>
                    <a:pt x="294" y="722"/>
                  </a:cubicBezTo>
                  <a:lnTo>
                    <a:pt x="968" y="722"/>
                  </a:lnTo>
                  <a:lnTo>
                    <a:pt x="968" y="854"/>
                  </a:lnTo>
                  <a:cubicBezTo>
                    <a:pt x="968" y="956"/>
                    <a:pt x="1051" y="1039"/>
                    <a:pt x="1153" y="1039"/>
                  </a:cubicBezTo>
                  <a:lnTo>
                    <a:pt x="2336" y="1039"/>
                  </a:lnTo>
                  <a:cubicBezTo>
                    <a:pt x="2437" y="1039"/>
                    <a:pt x="2520" y="956"/>
                    <a:pt x="2520" y="854"/>
                  </a:cubicBezTo>
                  <a:lnTo>
                    <a:pt x="2520" y="722"/>
                  </a:lnTo>
                  <a:lnTo>
                    <a:pt x="3195" y="722"/>
                  </a:lnTo>
                  <a:cubicBezTo>
                    <a:pt x="3253" y="722"/>
                    <a:pt x="3301" y="770"/>
                    <a:pt x="3301" y="829"/>
                  </a:cubicBezTo>
                  <a:lnTo>
                    <a:pt x="3301" y="1344"/>
                  </a:lnTo>
                  <a:cubicBezTo>
                    <a:pt x="3301" y="1395"/>
                    <a:pt x="3343" y="1437"/>
                    <a:pt x="3395" y="1437"/>
                  </a:cubicBezTo>
                  <a:cubicBezTo>
                    <a:pt x="3447" y="1437"/>
                    <a:pt x="3489" y="1395"/>
                    <a:pt x="3489" y="1344"/>
                  </a:cubicBezTo>
                  <a:lnTo>
                    <a:pt x="3489" y="829"/>
                  </a:lnTo>
                  <a:cubicBezTo>
                    <a:pt x="3489" y="667"/>
                    <a:pt x="3357" y="535"/>
                    <a:pt x="3195" y="535"/>
                  </a:cubicBezTo>
                  <a:lnTo>
                    <a:pt x="2518" y="535"/>
                  </a:lnTo>
                  <a:cubicBezTo>
                    <a:pt x="2506" y="445"/>
                    <a:pt x="2429" y="376"/>
                    <a:pt x="2336" y="376"/>
                  </a:cubicBezTo>
                  <a:lnTo>
                    <a:pt x="2205" y="376"/>
                  </a:lnTo>
                  <a:cubicBezTo>
                    <a:pt x="2161" y="162"/>
                    <a:pt x="1971" y="0"/>
                    <a:pt x="1744" y="0"/>
                  </a:cubicBezTo>
                  <a:cubicBezTo>
                    <a:pt x="1517" y="0"/>
                    <a:pt x="1328" y="162"/>
                    <a:pt x="1284" y="376"/>
                  </a:cubicBezTo>
                  <a:lnTo>
                    <a:pt x="1153" y="376"/>
                  </a:lnTo>
                  <a:cubicBezTo>
                    <a:pt x="1060" y="376"/>
                    <a:pt x="983" y="445"/>
                    <a:pt x="970" y="535"/>
                  </a:cubicBezTo>
                  <a:lnTo>
                    <a:pt x="294" y="535"/>
                  </a:lnTo>
                  <a:cubicBezTo>
                    <a:pt x="132" y="535"/>
                    <a:pt x="0" y="667"/>
                    <a:pt x="0" y="829"/>
                  </a:cubicBezTo>
                  <a:lnTo>
                    <a:pt x="0" y="1087"/>
                  </a:lnTo>
                  <a:cubicBezTo>
                    <a:pt x="0" y="1139"/>
                    <a:pt x="42" y="1181"/>
                    <a:pt x="94" y="1181"/>
                  </a:cubicBezTo>
                  <a:close/>
                  <a:moveTo>
                    <a:pt x="1744" y="188"/>
                  </a:moveTo>
                  <a:cubicBezTo>
                    <a:pt x="1867" y="188"/>
                    <a:pt x="1972" y="266"/>
                    <a:pt x="2011" y="376"/>
                  </a:cubicBezTo>
                  <a:lnTo>
                    <a:pt x="1478" y="376"/>
                  </a:lnTo>
                  <a:cubicBezTo>
                    <a:pt x="1517" y="266"/>
                    <a:pt x="1622" y="188"/>
                    <a:pt x="1744" y="188"/>
                  </a:cubicBezTo>
                  <a:close/>
                  <a:moveTo>
                    <a:pt x="1156" y="564"/>
                  </a:moveTo>
                  <a:lnTo>
                    <a:pt x="1368" y="564"/>
                  </a:lnTo>
                  <a:lnTo>
                    <a:pt x="2120" y="564"/>
                  </a:lnTo>
                  <a:lnTo>
                    <a:pt x="2333" y="564"/>
                  </a:lnTo>
                  <a:lnTo>
                    <a:pt x="2333" y="627"/>
                  </a:lnTo>
                  <a:cubicBezTo>
                    <a:pt x="2333" y="628"/>
                    <a:pt x="2333" y="628"/>
                    <a:pt x="2333" y="628"/>
                  </a:cubicBezTo>
                  <a:cubicBezTo>
                    <a:pt x="2333" y="629"/>
                    <a:pt x="2333" y="629"/>
                    <a:pt x="2333" y="630"/>
                  </a:cubicBezTo>
                  <a:lnTo>
                    <a:pt x="2333" y="851"/>
                  </a:lnTo>
                  <a:lnTo>
                    <a:pt x="1156" y="851"/>
                  </a:lnTo>
                  <a:lnTo>
                    <a:pt x="1156" y="5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3">
              <a:extLst>
                <a:ext uri="{FF2B5EF4-FFF2-40B4-BE49-F238E27FC236}">
                  <a16:creationId xmlns:a16="http://schemas.microsoft.com/office/drawing/2014/main" id="{0C63CDFD-67BA-478D-85E7-AC63FF24A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3" y="3154"/>
              <a:ext cx="25" cy="65"/>
            </a:xfrm>
            <a:custGeom>
              <a:avLst/>
              <a:gdLst>
                <a:gd name="T0" fmla="*/ 188 w 188"/>
                <a:gd name="T1" fmla="*/ 401 h 494"/>
                <a:gd name="T2" fmla="*/ 188 w 188"/>
                <a:gd name="T3" fmla="*/ 93 h 494"/>
                <a:gd name="T4" fmla="*/ 94 w 188"/>
                <a:gd name="T5" fmla="*/ 0 h 494"/>
                <a:gd name="T6" fmla="*/ 0 w 188"/>
                <a:gd name="T7" fmla="*/ 93 h 494"/>
                <a:gd name="T8" fmla="*/ 0 w 188"/>
                <a:gd name="T9" fmla="*/ 401 h 494"/>
                <a:gd name="T10" fmla="*/ 94 w 188"/>
                <a:gd name="T11" fmla="*/ 494 h 494"/>
                <a:gd name="T12" fmla="*/ 188 w 188"/>
                <a:gd name="T13" fmla="*/ 401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494">
                  <a:moveTo>
                    <a:pt x="188" y="401"/>
                  </a:moveTo>
                  <a:lnTo>
                    <a:pt x="188" y="93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3"/>
                  </a:cubicBezTo>
                  <a:lnTo>
                    <a:pt x="0" y="401"/>
                  </a:lnTo>
                  <a:cubicBezTo>
                    <a:pt x="0" y="452"/>
                    <a:pt x="42" y="494"/>
                    <a:pt x="94" y="494"/>
                  </a:cubicBezTo>
                  <a:cubicBezTo>
                    <a:pt x="146" y="494"/>
                    <a:pt x="188" y="452"/>
                    <a:pt x="188" y="4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4">
              <a:extLst>
                <a:ext uri="{FF2B5EF4-FFF2-40B4-BE49-F238E27FC236}">
                  <a16:creationId xmlns:a16="http://schemas.microsoft.com/office/drawing/2014/main" id="{396885A7-2C74-4E4A-9A4D-A7D39FDE8E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6" y="3446"/>
              <a:ext cx="179" cy="179"/>
            </a:xfrm>
            <a:custGeom>
              <a:avLst/>
              <a:gdLst>
                <a:gd name="T0" fmla="*/ 679 w 1358"/>
                <a:gd name="T1" fmla="*/ 0 h 1358"/>
                <a:gd name="T2" fmla="*/ 0 w 1358"/>
                <a:gd name="T3" fmla="*/ 679 h 1358"/>
                <a:gd name="T4" fmla="*/ 679 w 1358"/>
                <a:gd name="T5" fmla="*/ 1358 h 1358"/>
                <a:gd name="T6" fmla="*/ 1358 w 1358"/>
                <a:gd name="T7" fmla="*/ 679 h 1358"/>
                <a:gd name="T8" fmla="*/ 679 w 1358"/>
                <a:gd name="T9" fmla="*/ 0 h 1358"/>
                <a:gd name="T10" fmla="*/ 679 w 1358"/>
                <a:gd name="T11" fmla="*/ 1171 h 1358"/>
                <a:gd name="T12" fmla="*/ 187 w 1358"/>
                <a:gd name="T13" fmla="*/ 679 h 1358"/>
                <a:gd name="T14" fmla="*/ 679 w 1358"/>
                <a:gd name="T15" fmla="*/ 187 h 1358"/>
                <a:gd name="T16" fmla="*/ 1171 w 1358"/>
                <a:gd name="T17" fmla="*/ 679 h 1358"/>
                <a:gd name="T18" fmla="*/ 679 w 1358"/>
                <a:gd name="T19" fmla="*/ 1171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8" h="1358">
                  <a:moveTo>
                    <a:pt x="679" y="0"/>
                  </a:moveTo>
                  <a:cubicBezTo>
                    <a:pt x="305" y="0"/>
                    <a:pt x="0" y="304"/>
                    <a:pt x="0" y="679"/>
                  </a:cubicBezTo>
                  <a:cubicBezTo>
                    <a:pt x="0" y="1053"/>
                    <a:pt x="305" y="1358"/>
                    <a:pt x="679" y="1358"/>
                  </a:cubicBezTo>
                  <a:cubicBezTo>
                    <a:pt x="1054" y="1358"/>
                    <a:pt x="1358" y="1053"/>
                    <a:pt x="1358" y="679"/>
                  </a:cubicBezTo>
                  <a:cubicBezTo>
                    <a:pt x="1358" y="304"/>
                    <a:pt x="1054" y="0"/>
                    <a:pt x="679" y="0"/>
                  </a:cubicBezTo>
                  <a:close/>
                  <a:moveTo>
                    <a:pt x="679" y="1171"/>
                  </a:moveTo>
                  <a:cubicBezTo>
                    <a:pt x="408" y="1171"/>
                    <a:pt x="187" y="950"/>
                    <a:pt x="187" y="679"/>
                  </a:cubicBezTo>
                  <a:cubicBezTo>
                    <a:pt x="187" y="408"/>
                    <a:pt x="408" y="187"/>
                    <a:pt x="679" y="187"/>
                  </a:cubicBezTo>
                  <a:cubicBezTo>
                    <a:pt x="950" y="187"/>
                    <a:pt x="1171" y="408"/>
                    <a:pt x="1171" y="679"/>
                  </a:cubicBezTo>
                  <a:cubicBezTo>
                    <a:pt x="1171" y="950"/>
                    <a:pt x="950" y="1171"/>
                    <a:pt x="679" y="117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5">
              <a:extLst>
                <a:ext uri="{FF2B5EF4-FFF2-40B4-BE49-F238E27FC236}">
                  <a16:creationId xmlns:a16="http://schemas.microsoft.com/office/drawing/2014/main" id="{D134A421-A001-428D-BC0C-7EA36E43A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" y="3299"/>
              <a:ext cx="386" cy="430"/>
            </a:xfrm>
            <a:custGeom>
              <a:avLst/>
              <a:gdLst>
                <a:gd name="T0" fmla="*/ 2585 w 2926"/>
                <a:gd name="T1" fmla="*/ 1412 h 3259"/>
                <a:gd name="T2" fmla="*/ 2685 w 2926"/>
                <a:gd name="T3" fmla="*/ 1061 h 3259"/>
                <a:gd name="T4" fmla="*/ 2642 w 2926"/>
                <a:gd name="T5" fmla="*/ 906 h 3259"/>
                <a:gd name="T6" fmla="*/ 2490 w 2926"/>
                <a:gd name="T7" fmla="*/ 1010 h 3259"/>
                <a:gd name="T8" fmla="*/ 2336 w 2926"/>
                <a:gd name="T9" fmla="*/ 1311 h 3259"/>
                <a:gd name="T10" fmla="*/ 2499 w 2926"/>
                <a:gd name="T11" fmla="*/ 1589 h 3259"/>
                <a:gd name="T12" fmla="*/ 2739 w 2926"/>
                <a:gd name="T13" fmla="*/ 1967 h 3259"/>
                <a:gd name="T14" fmla="*/ 2423 w 2926"/>
                <a:gd name="T15" fmla="*/ 2070 h 3259"/>
                <a:gd name="T16" fmla="*/ 2342 w 2926"/>
                <a:gd name="T17" fmla="*/ 2382 h 3259"/>
                <a:gd name="T18" fmla="*/ 2244 w 2926"/>
                <a:gd name="T19" fmla="*/ 2819 h 3259"/>
                <a:gd name="T20" fmla="*/ 1948 w 2926"/>
                <a:gd name="T21" fmla="*/ 2669 h 3259"/>
                <a:gd name="T22" fmla="*/ 1671 w 2926"/>
                <a:gd name="T23" fmla="*/ 2832 h 3259"/>
                <a:gd name="T24" fmla="*/ 1292 w 2926"/>
                <a:gd name="T25" fmla="*/ 3072 h 3259"/>
                <a:gd name="T26" fmla="*/ 1189 w 2926"/>
                <a:gd name="T27" fmla="*/ 2756 h 3259"/>
                <a:gd name="T28" fmla="*/ 877 w 2926"/>
                <a:gd name="T29" fmla="*/ 2675 h 3259"/>
                <a:gd name="T30" fmla="*/ 440 w 2926"/>
                <a:gd name="T31" fmla="*/ 2577 h 3259"/>
                <a:gd name="T32" fmla="*/ 590 w 2926"/>
                <a:gd name="T33" fmla="*/ 2281 h 3259"/>
                <a:gd name="T34" fmla="*/ 427 w 2926"/>
                <a:gd name="T35" fmla="*/ 2003 h 3259"/>
                <a:gd name="T36" fmla="*/ 188 w 2926"/>
                <a:gd name="T37" fmla="*/ 1625 h 3259"/>
                <a:gd name="T38" fmla="*/ 503 w 2926"/>
                <a:gd name="T39" fmla="*/ 1522 h 3259"/>
                <a:gd name="T40" fmla="*/ 584 w 2926"/>
                <a:gd name="T41" fmla="*/ 1210 h 3259"/>
                <a:gd name="T42" fmla="*/ 682 w 2926"/>
                <a:gd name="T43" fmla="*/ 773 h 3259"/>
                <a:gd name="T44" fmla="*/ 978 w 2926"/>
                <a:gd name="T45" fmla="*/ 923 h 3259"/>
                <a:gd name="T46" fmla="*/ 1256 w 2926"/>
                <a:gd name="T47" fmla="*/ 760 h 3259"/>
                <a:gd name="T48" fmla="*/ 1634 w 2926"/>
                <a:gd name="T49" fmla="*/ 520 h 3259"/>
                <a:gd name="T50" fmla="*/ 1737 w 2926"/>
                <a:gd name="T51" fmla="*/ 836 h 3259"/>
                <a:gd name="T52" fmla="*/ 2049 w 2926"/>
                <a:gd name="T53" fmla="*/ 917 h 3259"/>
                <a:gd name="T54" fmla="*/ 2376 w 2926"/>
                <a:gd name="T55" fmla="*/ 772 h 3259"/>
                <a:gd name="T56" fmla="*/ 2320 w 2926"/>
                <a:gd name="T57" fmla="*/ 584 h 3259"/>
                <a:gd name="T58" fmla="*/ 1985 w 2926"/>
                <a:gd name="T59" fmla="*/ 731 h 3259"/>
                <a:gd name="T60" fmla="*/ 1807 w 2926"/>
                <a:gd name="T61" fmla="*/ 413 h 3259"/>
                <a:gd name="T62" fmla="*/ 1557 w 2926"/>
                <a:gd name="T63" fmla="*/ 333 h 3259"/>
                <a:gd name="T64" fmla="*/ 1463 w 2926"/>
                <a:gd name="T65" fmla="*/ 0 h 3259"/>
                <a:gd name="T66" fmla="*/ 1369 w 2926"/>
                <a:gd name="T67" fmla="*/ 333 h 3259"/>
                <a:gd name="T68" fmla="*/ 1119 w 2926"/>
                <a:gd name="T69" fmla="*/ 413 h 3259"/>
                <a:gd name="T70" fmla="*/ 941 w 2926"/>
                <a:gd name="T71" fmla="*/ 731 h 3259"/>
                <a:gd name="T72" fmla="*/ 606 w 2926"/>
                <a:gd name="T73" fmla="*/ 584 h 3259"/>
                <a:gd name="T74" fmla="*/ 242 w 2926"/>
                <a:gd name="T75" fmla="*/ 1061 h 3259"/>
                <a:gd name="T76" fmla="*/ 341 w 2926"/>
                <a:gd name="T77" fmla="*/ 1412 h 3259"/>
                <a:gd name="T78" fmla="*/ 0 w 2926"/>
                <a:gd name="T79" fmla="*/ 1545 h 3259"/>
                <a:gd name="T80" fmla="*/ 80 w 2926"/>
                <a:gd name="T81" fmla="*/ 2140 h 3259"/>
                <a:gd name="T82" fmla="*/ 398 w 2926"/>
                <a:gd name="T83" fmla="*/ 2318 h 3259"/>
                <a:gd name="T84" fmla="*/ 251 w 2926"/>
                <a:gd name="T85" fmla="*/ 2653 h 3259"/>
                <a:gd name="T86" fmla="*/ 728 w 2926"/>
                <a:gd name="T87" fmla="*/ 3017 h 3259"/>
                <a:gd name="T88" fmla="*/ 1079 w 2926"/>
                <a:gd name="T89" fmla="*/ 2918 h 3259"/>
                <a:gd name="T90" fmla="*/ 1212 w 2926"/>
                <a:gd name="T91" fmla="*/ 3259 h 3259"/>
                <a:gd name="T92" fmla="*/ 1807 w 2926"/>
                <a:gd name="T93" fmla="*/ 3179 h 3259"/>
                <a:gd name="T94" fmla="*/ 1985 w 2926"/>
                <a:gd name="T95" fmla="*/ 2861 h 3259"/>
                <a:gd name="T96" fmla="*/ 2320 w 2926"/>
                <a:gd name="T97" fmla="*/ 3008 h 3259"/>
                <a:gd name="T98" fmla="*/ 2685 w 2926"/>
                <a:gd name="T99" fmla="*/ 2531 h 3259"/>
                <a:gd name="T100" fmla="*/ 2585 w 2926"/>
                <a:gd name="T101" fmla="*/ 2180 h 3259"/>
                <a:gd name="T102" fmla="*/ 2926 w 2926"/>
                <a:gd name="T103" fmla="*/ 2047 h 3259"/>
                <a:gd name="T104" fmla="*/ 2847 w 2926"/>
                <a:gd name="T105" fmla="*/ 1452 h 3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26" h="3259">
                  <a:moveTo>
                    <a:pt x="2847" y="1452"/>
                  </a:moveTo>
                  <a:lnTo>
                    <a:pt x="2585" y="1412"/>
                  </a:lnTo>
                  <a:cubicBezTo>
                    <a:pt x="2569" y="1365"/>
                    <a:pt x="2550" y="1319"/>
                    <a:pt x="2528" y="1274"/>
                  </a:cubicBezTo>
                  <a:lnTo>
                    <a:pt x="2685" y="1061"/>
                  </a:lnTo>
                  <a:cubicBezTo>
                    <a:pt x="2712" y="1024"/>
                    <a:pt x="2708" y="972"/>
                    <a:pt x="2675" y="939"/>
                  </a:cubicBezTo>
                  <a:lnTo>
                    <a:pt x="2642" y="906"/>
                  </a:lnTo>
                  <a:cubicBezTo>
                    <a:pt x="2605" y="869"/>
                    <a:pt x="2546" y="869"/>
                    <a:pt x="2509" y="906"/>
                  </a:cubicBezTo>
                  <a:cubicBezTo>
                    <a:pt x="2481" y="934"/>
                    <a:pt x="2475" y="975"/>
                    <a:pt x="2490" y="1010"/>
                  </a:cubicBezTo>
                  <a:lnTo>
                    <a:pt x="2342" y="1210"/>
                  </a:lnTo>
                  <a:cubicBezTo>
                    <a:pt x="2321" y="1240"/>
                    <a:pt x="2318" y="1279"/>
                    <a:pt x="2336" y="1311"/>
                  </a:cubicBezTo>
                  <a:cubicBezTo>
                    <a:pt x="2373" y="1377"/>
                    <a:pt x="2402" y="1448"/>
                    <a:pt x="2423" y="1522"/>
                  </a:cubicBezTo>
                  <a:cubicBezTo>
                    <a:pt x="2433" y="1557"/>
                    <a:pt x="2463" y="1583"/>
                    <a:pt x="2499" y="1589"/>
                  </a:cubicBezTo>
                  <a:lnTo>
                    <a:pt x="2739" y="1625"/>
                  </a:lnTo>
                  <a:lnTo>
                    <a:pt x="2739" y="1967"/>
                  </a:lnTo>
                  <a:lnTo>
                    <a:pt x="2499" y="2003"/>
                  </a:lnTo>
                  <a:cubicBezTo>
                    <a:pt x="2463" y="2009"/>
                    <a:pt x="2433" y="2035"/>
                    <a:pt x="2423" y="2070"/>
                  </a:cubicBezTo>
                  <a:cubicBezTo>
                    <a:pt x="2402" y="2144"/>
                    <a:pt x="2373" y="2215"/>
                    <a:pt x="2336" y="2281"/>
                  </a:cubicBezTo>
                  <a:cubicBezTo>
                    <a:pt x="2318" y="2313"/>
                    <a:pt x="2321" y="2352"/>
                    <a:pt x="2342" y="2382"/>
                  </a:cubicBezTo>
                  <a:lnTo>
                    <a:pt x="2486" y="2577"/>
                  </a:lnTo>
                  <a:lnTo>
                    <a:pt x="2244" y="2819"/>
                  </a:lnTo>
                  <a:lnTo>
                    <a:pt x="2049" y="2675"/>
                  </a:lnTo>
                  <a:cubicBezTo>
                    <a:pt x="2020" y="2654"/>
                    <a:pt x="1980" y="2651"/>
                    <a:pt x="1948" y="2669"/>
                  </a:cubicBezTo>
                  <a:cubicBezTo>
                    <a:pt x="1882" y="2706"/>
                    <a:pt x="1811" y="2735"/>
                    <a:pt x="1738" y="2756"/>
                  </a:cubicBezTo>
                  <a:cubicBezTo>
                    <a:pt x="1702" y="2766"/>
                    <a:pt x="1676" y="2796"/>
                    <a:pt x="1671" y="2832"/>
                  </a:cubicBezTo>
                  <a:lnTo>
                    <a:pt x="1634" y="3072"/>
                  </a:lnTo>
                  <a:lnTo>
                    <a:pt x="1292" y="3072"/>
                  </a:lnTo>
                  <a:lnTo>
                    <a:pt x="1256" y="2832"/>
                  </a:lnTo>
                  <a:cubicBezTo>
                    <a:pt x="1250" y="2796"/>
                    <a:pt x="1224" y="2766"/>
                    <a:pt x="1189" y="2756"/>
                  </a:cubicBezTo>
                  <a:cubicBezTo>
                    <a:pt x="1115" y="2735"/>
                    <a:pt x="1044" y="2706"/>
                    <a:pt x="978" y="2669"/>
                  </a:cubicBezTo>
                  <a:cubicBezTo>
                    <a:pt x="946" y="2651"/>
                    <a:pt x="907" y="2654"/>
                    <a:pt x="877" y="2675"/>
                  </a:cubicBezTo>
                  <a:lnTo>
                    <a:pt x="682" y="2819"/>
                  </a:lnTo>
                  <a:lnTo>
                    <a:pt x="440" y="2577"/>
                  </a:lnTo>
                  <a:lnTo>
                    <a:pt x="584" y="2382"/>
                  </a:lnTo>
                  <a:cubicBezTo>
                    <a:pt x="605" y="2352"/>
                    <a:pt x="608" y="2313"/>
                    <a:pt x="590" y="2281"/>
                  </a:cubicBezTo>
                  <a:cubicBezTo>
                    <a:pt x="553" y="2215"/>
                    <a:pt x="524" y="2144"/>
                    <a:pt x="503" y="2070"/>
                  </a:cubicBezTo>
                  <a:cubicBezTo>
                    <a:pt x="493" y="2035"/>
                    <a:pt x="463" y="2009"/>
                    <a:pt x="427" y="2003"/>
                  </a:cubicBezTo>
                  <a:lnTo>
                    <a:pt x="188" y="1967"/>
                  </a:lnTo>
                  <a:lnTo>
                    <a:pt x="188" y="1625"/>
                  </a:lnTo>
                  <a:lnTo>
                    <a:pt x="427" y="1589"/>
                  </a:lnTo>
                  <a:cubicBezTo>
                    <a:pt x="463" y="1583"/>
                    <a:pt x="493" y="1557"/>
                    <a:pt x="503" y="1522"/>
                  </a:cubicBezTo>
                  <a:cubicBezTo>
                    <a:pt x="524" y="1448"/>
                    <a:pt x="553" y="1377"/>
                    <a:pt x="590" y="1311"/>
                  </a:cubicBezTo>
                  <a:cubicBezTo>
                    <a:pt x="608" y="1279"/>
                    <a:pt x="605" y="1240"/>
                    <a:pt x="584" y="1210"/>
                  </a:cubicBezTo>
                  <a:lnTo>
                    <a:pt x="440" y="1015"/>
                  </a:lnTo>
                  <a:lnTo>
                    <a:pt x="682" y="773"/>
                  </a:lnTo>
                  <a:lnTo>
                    <a:pt x="877" y="917"/>
                  </a:lnTo>
                  <a:cubicBezTo>
                    <a:pt x="907" y="938"/>
                    <a:pt x="946" y="941"/>
                    <a:pt x="978" y="923"/>
                  </a:cubicBezTo>
                  <a:cubicBezTo>
                    <a:pt x="1044" y="886"/>
                    <a:pt x="1115" y="857"/>
                    <a:pt x="1189" y="836"/>
                  </a:cubicBezTo>
                  <a:cubicBezTo>
                    <a:pt x="1224" y="826"/>
                    <a:pt x="1250" y="796"/>
                    <a:pt x="1256" y="760"/>
                  </a:cubicBezTo>
                  <a:lnTo>
                    <a:pt x="1292" y="520"/>
                  </a:lnTo>
                  <a:lnTo>
                    <a:pt x="1634" y="520"/>
                  </a:lnTo>
                  <a:lnTo>
                    <a:pt x="1671" y="760"/>
                  </a:lnTo>
                  <a:cubicBezTo>
                    <a:pt x="1676" y="796"/>
                    <a:pt x="1702" y="826"/>
                    <a:pt x="1737" y="836"/>
                  </a:cubicBezTo>
                  <a:cubicBezTo>
                    <a:pt x="1811" y="857"/>
                    <a:pt x="1882" y="886"/>
                    <a:pt x="1948" y="923"/>
                  </a:cubicBezTo>
                  <a:cubicBezTo>
                    <a:pt x="1980" y="941"/>
                    <a:pt x="2020" y="938"/>
                    <a:pt x="2049" y="917"/>
                  </a:cubicBezTo>
                  <a:lnTo>
                    <a:pt x="2244" y="773"/>
                  </a:lnTo>
                  <a:cubicBezTo>
                    <a:pt x="2281" y="809"/>
                    <a:pt x="2340" y="808"/>
                    <a:pt x="2376" y="772"/>
                  </a:cubicBezTo>
                  <a:cubicBezTo>
                    <a:pt x="2412" y="736"/>
                    <a:pt x="2412" y="676"/>
                    <a:pt x="2376" y="640"/>
                  </a:cubicBezTo>
                  <a:lnTo>
                    <a:pt x="2320" y="584"/>
                  </a:lnTo>
                  <a:cubicBezTo>
                    <a:pt x="2287" y="551"/>
                    <a:pt x="2235" y="547"/>
                    <a:pt x="2198" y="574"/>
                  </a:cubicBezTo>
                  <a:lnTo>
                    <a:pt x="1985" y="731"/>
                  </a:lnTo>
                  <a:cubicBezTo>
                    <a:pt x="1940" y="709"/>
                    <a:pt x="1894" y="690"/>
                    <a:pt x="1847" y="674"/>
                  </a:cubicBezTo>
                  <a:lnTo>
                    <a:pt x="1807" y="413"/>
                  </a:lnTo>
                  <a:cubicBezTo>
                    <a:pt x="1800" y="367"/>
                    <a:pt x="1761" y="333"/>
                    <a:pt x="1714" y="333"/>
                  </a:cubicBezTo>
                  <a:lnTo>
                    <a:pt x="1557" y="333"/>
                  </a:lnTo>
                  <a:lnTo>
                    <a:pt x="1557" y="94"/>
                  </a:lnTo>
                  <a:cubicBezTo>
                    <a:pt x="1557" y="42"/>
                    <a:pt x="1515" y="0"/>
                    <a:pt x="1463" y="0"/>
                  </a:cubicBezTo>
                  <a:cubicBezTo>
                    <a:pt x="1411" y="0"/>
                    <a:pt x="1369" y="42"/>
                    <a:pt x="1369" y="94"/>
                  </a:cubicBezTo>
                  <a:lnTo>
                    <a:pt x="1369" y="333"/>
                  </a:lnTo>
                  <a:lnTo>
                    <a:pt x="1212" y="333"/>
                  </a:lnTo>
                  <a:cubicBezTo>
                    <a:pt x="1165" y="333"/>
                    <a:pt x="1126" y="367"/>
                    <a:pt x="1119" y="413"/>
                  </a:cubicBezTo>
                  <a:lnTo>
                    <a:pt x="1079" y="674"/>
                  </a:lnTo>
                  <a:cubicBezTo>
                    <a:pt x="1032" y="690"/>
                    <a:pt x="986" y="709"/>
                    <a:pt x="941" y="731"/>
                  </a:cubicBezTo>
                  <a:lnTo>
                    <a:pt x="728" y="574"/>
                  </a:lnTo>
                  <a:cubicBezTo>
                    <a:pt x="691" y="547"/>
                    <a:pt x="639" y="551"/>
                    <a:pt x="606" y="584"/>
                  </a:cubicBezTo>
                  <a:lnTo>
                    <a:pt x="251" y="939"/>
                  </a:lnTo>
                  <a:cubicBezTo>
                    <a:pt x="218" y="972"/>
                    <a:pt x="214" y="1024"/>
                    <a:pt x="242" y="1061"/>
                  </a:cubicBezTo>
                  <a:lnTo>
                    <a:pt x="398" y="1274"/>
                  </a:lnTo>
                  <a:cubicBezTo>
                    <a:pt x="376" y="1319"/>
                    <a:pt x="357" y="1365"/>
                    <a:pt x="341" y="1412"/>
                  </a:cubicBezTo>
                  <a:lnTo>
                    <a:pt x="80" y="1452"/>
                  </a:lnTo>
                  <a:cubicBezTo>
                    <a:pt x="34" y="1459"/>
                    <a:pt x="0" y="1498"/>
                    <a:pt x="0" y="1545"/>
                  </a:cubicBezTo>
                  <a:lnTo>
                    <a:pt x="0" y="2047"/>
                  </a:lnTo>
                  <a:cubicBezTo>
                    <a:pt x="0" y="2094"/>
                    <a:pt x="34" y="2133"/>
                    <a:pt x="80" y="2140"/>
                  </a:cubicBezTo>
                  <a:lnTo>
                    <a:pt x="341" y="2180"/>
                  </a:lnTo>
                  <a:cubicBezTo>
                    <a:pt x="357" y="2227"/>
                    <a:pt x="376" y="2273"/>
                    <a:pt x="398" y="2318"/>
                  </a:cubicBezTo>
                  <a:lnTo>
                    <a:pt x="242" y="2531"/>
                  </a:lnTo>
                  <a:cubicBezTo>
                    <a:pt x="214" y="2568"/>
                    <a:pt x="218" y="2620"/>
                    <a:pt x="251" y="2653"/>
                  </a:cubicBezTo>
                  <a:lnTo>
                    <a:pt x="606" y="3008"/>
                  </a:lnTo>
                  <a:cubicBezTo>
                    <a:pt x="639" y="3041"/>
                    <a:pt x="691" y="3045"/>
                    <a:pt x="728" y="3017"/>
                  </a:cubicBezTo>
                  <a:lnTo>
                    <a:pt x="941" y="2861"/>
                  </a:lnTo>
                  <a:cubicBezTo>
                    <a:pt x="986" y="2883"/>
                    <a:pt x="1032" y="2902"/>
                    <a:pt x="1079" y="2918"/>
                  </a:cubicBezTo>
                  <a:lnTo>
                    <a:pt x="1119" y="3179"/>
                  </a:lnTo>
                  <a:cubicBezTo>
                    <a:pt x="1126" y="3225"/>
                    <a:pt x="1165" y="3259"/>
                    <a:pt x="1212" y="3259"/>
                  </a:cubicBezTo>
                  <a:lnTo>
                    <a:pt x="1714" y="3259"/>
                  </a:lnTo>
                  <a:cubicBezTo>
                    <a:pt x="1761" y="3259"/>
                    <a:pt x="1800" y="3225"/>
                    <a:pt x="1807" y="3179"/>
                  </a:cubicBezTo>
                  <a:lnTo>
                    <a:pt x="1847" y="2918"/>
                  </a:lnTo>
                  <a:cubicBezTo>
                    <a:pt x="1894" y="2902"/>
                    <a:pt x="1940" y="2883"/>
                    <a:pt x="1985" y="2861"/>
                  </a:cubicBezTo>
                  <a:lnTo>
                    <a:pt x="2198" y="3017"/>
                  </a:lnTo>
                  <a:cubicBezTo>
                    <a:pt x="2235" y="3045"/>
                    <a:pt x="2287" y="3041"/>
                    <a:pt x="2320" y="3008"/>
                  </a:cubicBezTo>
                  <a:lnTo>
                    <a:pt x="2675" y="2653"/>
                  </a:lnTo>
                  <a:cubicBezTo>
                    <a:pt x="2708" y="2620"/>
                    <a:pt x="2712" y="2568"/>
                    <a:pt x="2685" y="2531"/>
                  </a:cubicBezTo>
                  <a:lnTo>
                    <a:pt x="2528" y="2318"/>
                  </a:lnTo>
                  <a:cubicBezTo>
                    <a:pt x="2550" y="2273"/>
                    <a:pt x="2569" y="2227"/>
                    <a:pt x="2585" y="2180"/>
                  </a:cubicBezTo>
                  <a:lnTo>
                    <a:pt x="2847" y="2140"/>
                  </a:lnTo>
                  <a:cubicBezTo>
                    <a:pt x="2892" y="2133"/>
                    <a:pt x="2926" y="2094"/>
                    <a:pt x="2926" y="2047"/>
                  </a:cubicBezTo>
                  <a:lnTo>
                    <a:pt x="2926" y="1545"/>
                  </a:lnTo>
                  <a:cubicBezTo>
                    <a:pt x="2926" y="1498"/>
                    <a:pt x="2892" y="1459"/>
                    <a:pt x="2847" y="14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6">
              <a:extLst>
                <a:ext uri="{FF2B5EF4-FFF2-40B4-BE49-F238E27FC236}">
                  <a16:creationId xmlns:a16="http://schemas.microsoft.com/office/drawing/2014/main" id="{78B2BD4B-E8A1-4DC6-A6DC-C8B7BE1216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5" y="3065"/>
              <a:ext cx="145" cy="174"/>
            </a:xfrm>
            <a:custGeom>
              <a:avLst/>
              <a:gdLst>
                <a:gd name="T0" fmla="*/ 1090 w 1098"/>
                <a:gd name="T1" fmla="*/ 455 h 1317"/>
                <a:gd name="T2" fmla="*/ 1077 w 1098"/>
                <a:gd name="T3" fmla="*/ 398 h 1317"/>
                <a:gd name="T4" fmla="*/ 1058 w 1098"/>
                <a:gd name="T5" fmla="*/ 343 h 1317"/>
                <a:gd name="T6" fmla="*/ 1034 w 1098"/>
                <a:gd name="T7" fmla="*/ 291 h 1317"/>
                <a:gd name="T8" fmla="*/ 956 w 1098"/>
                <a:gd name="T9" fmla="*/ 181 h 1317"/>
                <a:gd name="T10" fmla="*/ 922 w 1098"/>
                <a:gd name="T11" fmla="*/ 147 h 1317"/>
                <a:gd name="T12" fmla="*/ 903 w 1098"/>
                <a:gd name="T13" fmla="*/ 130 h 1317"/>
                <a:gd name="T14" fmla="*/ 878 w 1098"/>
                <a:gd name="T15" fmla="*/ 109 h 1317"/>
                <a:gd name="T16" fmla="*/ 846 w 1098"/>
                <a:gd name="T17" fmla="*/ 87 h 1317"/>
                <a:gd name="T18" fmla="*/ 834 w 1098"/>
                <a:gd name="T19" fmla="*/ 80 h 1317"/>
                <a:gd name="T20" fmla="*/ 810 w 1098"/>
                <a:gd name="T21" fmla="*/ 66 h 1317"/>
                <a:gd name="T22" fmla="*/ 774 w 1098"/>
                <a:gd name="T23" fmla="*/ 48 h 1317"/>
                <a:gd name="T24" fmla="*/ 618 w 1098"/>
                <a:gd name="T25" fmla="*/ 4 h 1317"/>
                <a:gd name="T26" fmla="*/ 549 w 1098"/>
                <a:gd name="T27" fmla="*/ 0 h 1317"/>
                <a:gd name="T28" fmla="*/ 549 w 1098"/>
                <a:gd name="T29" fmla="*/ 1317 h 1317"/>
                <a:gd name="T30" fmla="*/ 1098 w 1098"/>
                <a:gd name="T31" fmla="*/ 520 h 1317"/>
                <a:gd name="T32" fmla="*/ 577 w 1098"/>
                <a:gd name="T33" fmla="*/ 189 h 1317"/>
                <a:gd name="T34" fmla="*/ 619 w 1098"/>
                <a:gd name="T35" fmla="*/ 194 h 1317"/>
                <a:gd name="T36" fmla="*/ 656 w 1098"/>
                <a:gd name="T37" fmla="*/ 204 h 1317"/>
                <a:gd name="T38" fmla="*/ 697 w 1098"/>
                <a:gd name="T39" fmla="*/ 219 h 1317"/>
                <a:gd name="T40" fmla="*/ 735 w 1098"/>
                <a:gd name="T41" fmla="*/ 239 h 1317"/>
                <a:gd name="T42" fmla="*/ 750 w 1098"/>
                <a:gd name="T43" fmla="*/ 249 h 1317"/>
                <a:gd name="T44" fmla="*/ 777 w 1098"/>
                <a:gd name="T45" fmla="*/ 268 h 1317"/>
                <a:gd name="T46" fmla="*/ 801 w 1098"/>
                <a:gd name="T47" fmla="*/ 290 h 1317"/>
                <a:gd name="T48" fmla="*/ 826 w 1098"/>
                <a:gd name="T49" fmla="*/ 316 h 1317"/>
                <a:gd name="T50" fmla="*/ 846 w 1098"/>
                <a:gd name="T51" fmla="*/ 343 h 1317"/>
                <a:gd name="T52" fmla="*/ 864 w 1098"/>
                <a:gd name="T53" fmla="*/ 371 h 1317"/>
                <a:gd name="T54" fmla="*/ 879 w 1098"/>
                <a:gd name="T55" fmla="*/ 400 h 1317"/>
                <a:gd name="T56" fmla="*/ 890 w 1098"/>
                <a:gd name="T57" fmla="*/ 429 h 1317"/>
                <a:gd name="T58" fmla="*/ 724 w 1098"/>
                <a:gd name="T59" fmla="*/ 364 h 1317"/>
                <a:gd name="T60" fmla="*/ 189 w 1098"/>
                <a:gd name="T61" fmla="*/ 519 h 1317"/>
                <a:gd name="T62" fmla="*/ 194 w 1098"/>
                <a:gd name="T63" fmla="*/ 483 h 1317"/>
                <a:gd name="T64" fmla="*/ 202 w 1098"/>
                <a:gd name="T65" fmla="*/ 448 h 1317"/>
                <a:gd name="T66" fmla="*/ 216 w 1098"/>
                <a:gd name="T67" fmla="*/ 409 h 1317"/>
                <a:gd name="T68" fmla="*/ 231 w 1098"/>
                <a:gd name="T69" fmla="*/ 378 h 1317"/>
                <a:gd name="T70" fmla="*/ 249 w 1098"/>
                <a:gd name="T71" fmla="*/ 348 h 1317"/>
                <a:gd name="T72" fmla="*/ 269 w 1098"/>
                <a:gd name="T73" fmla="*/ 321 h 1317"/>
                <a:gd name="T74" fmla="*/ 292 w 1098"/>
                <a:gd name="T75" fmla="*/ 296 h 1317"/>
                <a:gd name="T76" fmla="*/ 317 w 1098"/>
                <a:gd name="T77" fmla="*/ 272 h 1317"/>
                <a:gd name="T78" fmla="*/ 344 w 1098"/>
                <a:gd name="T79" fmla="*/ 252 h 1317"/>
                <a:gd name="T80" fmla="*/ 373 w 1098"/>
                <a:gd name="T81" fmla="*/ 234 h 1317"/>
                <a:gd name="T82" fmla="*/ 404 w 1098"/>
                <a:gd name="T83" fmla="*/ 218 h 1317"/>
                <a:gd name="T84" fmla="*/ 436 w 1098"/>
                <a:gd name="T85" fmla="*/ 206 h 1317"/>
                <a:gd name="T86" fmla="*/ 470 w 1098"/>
                <a:gd name="T87" fmla="*/ 196 h 1317"/>
                <a:gd name="T88" fmla="*/ 506 w 1098"/>
                <a:gd name="T89" fmla="*/ 190 h 1317"/>
                <a:gd name="T90" fmla="*/ 549 w 1098"/>
                <a:gd name="T91" fmla="*/ 187 h 1317"/>
                <a:gd name="T92" fmla="*/ 188 w 1098"/>
                <a:gd name="T93" fmla="*/ 718 h 1317"/>
                <a:gd name="T94" fmla="*/ 911 w 1098"/>
                <a:gd name="T95" fmla="*/ 768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8" h="1317">
                  <a:moveTo>
                    <a:pt x="1095" y="491"/>
                  </a:moveTo>
                  <a:cubicBezTo>
                    <a:pt x="1095" y="489"/>
                    <a:pt x="1095" y="486"/>
                    <a:pt x="1094" y="484"/>
                  </a:cubicBezTo>
                  <a:cubicBezTo>
                    <a:pt x="1094" y="477"/>
                    <a:pt x="1093" y="469"/>
                    <a:pt x="1091" y="462"/>
                  </a:cubicBezTo>
                  <a:cubicBezTo>
                    <a:pt x="1091" y="460"/>
                    <a:pt x="1091" y="457"/>
                    <a:pt x="1090" y="455"/>
                  </a:cubicBezTo>
                  <a:cubicBezTo>
                    <a:pt x="1089" y="448"/>
                    <a:pt x="1088" y="441"/>
                    <a:pt x="1086" y="434"/>
                  </a:cubicBezTo>
                  <a:cubicBezTo>
                    <a:pt x="1086" y="431"/>
                    <a:pt x="1085" y="429"/>
                    <a:pt x="1084" y="427"/>
                  </a:cubicBezTo>
                  <a:cubicBezTo>
                    <a:pt x="1083" y="420"/>
                    <a:pt x="1081" y="413"/>
                    <a:pt x="1079" y="406"/>
                  </a:cubicBezTo>
                  <a:cubicBezTo>
                    <a:pt x="1079" y="403"/>
                    <a:pt x="1078" y="401"/>
                    <a:pt x="1077" y="398"/>
                  </a:cubicBezTo>
                  <a:cubicBezTo>
                    <a:pt x="1075" y="392"/>
                    <a:pt x="1073" y="385"/>
                    <a:pt x="1071" y="379"/>
                  </a:cubicBezTo>
                  <a:cubicBezTo>
                    <a:pt x="1070" y="376"/>
                    <a:pt x="1069" y="373"/>
                    <a:pt x="1068" y="370"/>
                  </a:cubicBezTo>
                  <a:cubicBezTo>
                    <a:pt x="1066" y="364"/>
                    <a:pt x="1064" y="359"/>
                    <a:pt x="1062" y="353"/>
                  </a:cubicBezTo>
                  <a:cubicBezTo>
                    <a:pt x="1061" y="350"/>
                    <a:pt x="1059" y="346"/>
                    <a:pt x="1058" y="343"/>
                  </a:cubicBezTo>
                  <a:cubicBezTo>
                    <a:pt x="1056" y="338"/>
                    <a:pt x="1054" y="333"/>
                    <a:pt x="1052" y="328"/>
                  </a:cubicBezTo>
                  <a:cubicBezTo>
                    <a:pt x="1050" y="324"/>
                    <a:pt x="1048" y="320"/>
                    <a:pt x="1046" y="316"/>
                  </a:cubicBezTo>
                  <a:cubicBezTo>
                    <a:pt x="1044" y="312"/>
                    <a:pt x="1042" y="308"/>
                    <a:pt x="1040" y="303"/>
                  </a:cubicBezTo>
                  <a:cubicBezTo>
                    <a:pt x="1038" y="299"/>
                    <a:pt x="1036" y="295"/>
                    <a:pt x="1034" y="291"/>
                  </a:cubicBezTo>
                  <a:cubicBezTo>
                    <a:pt x="1032" y="287"/>
                    <a:pt x="1030" y="284"/>
                    <a:pt x="1028" y="280"/>
                  </a:cubicBezTo>
                  <a:cubicBezTo>
                    <a:pt x="1025" y="275"/>
                    <a:pt x="1022" y="271"/>
                    <a:pt x="1020" y="266"/>
                  </a:cubicBezTo>
                  <a:cubicBezTo>
                    <a:pt x="1018" y="264"/>
                    <a:pt x="1017" y="261"/>
                    <a:pt x="1015" y="259"/>
                  </a:cubicBezTo>
                  <a:cubicBezTo>
                    <a:pt x="998" y="231"/>
                    <a:pt x="978" y="205"/>
                    <a:pt x="956" y="181"/>
                  </a:cubicBezTo>
                  <a:cubicBezTo>
                    <a:pt x="956" y="181"/>
                    <a:pt x="956" y="180"/>
                    <a:pt x="955" y="180"/>
                  </a:cubicBezTo>
                  <a:cubicBezTo>
                    <a:pt x="951" y="175"/>
                    <a:pt x="946" y="169"/>
                    <a:pt x="941" y="164"/>
                  </a:cubicBezTo>
                  <a:cubicBezTo>
                    <a:pt x="939" y="163"/>
                    <a:pt x="938" y="161"/>
                    <a:pt x="936" y="160"/>
                  </a:cubicBezTo>
                  <a:cubicBezTo>
                    <a:pt x="932" y="155"/>
                    <a:pt x="927" y="151"/>
                    <a:pt x="922" y="147"/>
                  </a:cubicBezTo>
                  <a:cubicBezTo>
                    <a:pt x="920" y="144"/>
                    <a:pt x="918" y="142"/>
                    <a:pt x="915" y="140"/>
                  </a:cubicBezTo>
                  <a:cubicBezTo>
                    <a:pt x="913" y="138"/>
                    <a:pt x="911" y="136"/>
                    <a:pt x="909" y="135"/>
                  </a:cubicBezTo>
                  <a:cubicBezTo>
                    <a:pt x="908" y="134"/>
                    <a:pt x="907" y="133"/>
                    <a:pt x="907" y="132"/>
                  </a:cubicBezTo>
                  <a:cubicBezTo>
                    <a:pt x="905" y="131"/>
                    <a:pt x="904" y="130"/>
                    <a:pt x="903" y="130"/>
                  </a:cubicBezTo>
                  <a:cubicBezTo>
                    <a:pt x="899" y="126"/>
                    <a:pt x="895" y="123"/>
                    <a:pt x="891" y="119"/>
                  </a:cubicBezTo>
                  <a:cubicBezTo>
                    <a:pt x="889" y="118"/>
                    <a:pt x="887" y="116"/>
                    <a:pt x="885" y="115"/>
                  </a:cubicBezTo>
                  <a:cubicBezTo>
                    <a:pt x="882" y="113"/>
                    <a:pt x="880" y="111"/>
                    <a:pt x="878" y="109"/>
                  </a:cubicBezTo>
                  <a:cubicBezTo>
                    <a:pt x="878" y="109"/>
                    <a:pt x="878" y="109"/>
                    <a:pt x="878" y="109"/>
                  </a:cubicBezTo>
                  <a:cubicBezTo>
                    <a:pt x="876" y="108"/>
                    <a:pt x="874" y="107"/>
                    <a:pt x="873" y="106"/>
                  </a:cubicBezTo>
                  <a:cubicBezTo>
                    <a:pt x="871" y="104"/>
                    <a:pt x="868" y="102"/>
                    <a:pt x="866" y="101"/>
                  </a:cubicBezTo>
                  <a:cubicBezTo>
                    <a:pt x="862" y="98"/>
                    <a:pt x="858" y="95"/>
                    <a:pt x="854" y="93"/>
                  </a:cubicBezTo>
                  <a:lnTo>
                    <a:pt x="846" y="87"/>
                  </a:lnTo>
                  <a:cubicBezTo>
                    <a:pt x="843" y="85"/>
                    <a:pt x="840" y="83"/>
                    <a:pt x="836" y="81"/>
                  </a:cubicBezTo>
                  <a:cubicBezTo>
                    <a:pt x="836" y="81"/>
                    <a:pt x="835" y="80"/>
                    <a:pt x="835" y="80"/>
                  </a:cubicBezTo>
                  <a:cubicBezTo>
                    <a:pt x="835" y="80"/>
                    <a:pt x="834" y="80"/>
                    <a:pt x="834" y="80"/>
                  </a:cubicBezTo>
                  <a:cubicBezTo>
                    <a:pt x="834" y="80"/>
                    <a:pt x="834" y="80"/>
                    <a:pt x="834" y="80"/>
                  </a:cubicBezTo>
                  <a:cubicBezTo>
                    <a:pt x="831" y="78"/>
                    <a:pt x="829" y="77"/>
                    <a:pt x="826" y="75"/>
                  </a:cubicBezTo>
                  <a:cubicBezTo>
                    <a:pt x="823" y="73"/>
                    <a:pt x="820" y="72"/>
                    <a:pt x="818" y="70"/>
                  </a:cubicBezTo>
                  <a:cubicBezTo>
                    <a:pt x="816" y="69"/>
                    <a:pt x="814" y="68"/>
                    <a:pt x="813" y="67"/>
                  </a:cubicBezTo>
                  <a:cubicBezTo>
                    <a:pt x="812" y="67"/>
                    <a:pt x="811" y="66"/>
                    <a:pt x="810" y="66"/>
                  </a:cubicBezTo>
                  <a:cubicBezTo>
                    <a:pt x="808" y="65"/>
                    <a:pt x="807" y="64"/>
                    <a:pt x="806" y="63"/>
                  </a:cubicBezTo>
                  <a:lnTo>
                    <a:pt x="800" y="61"/>
                  </a:lnTo>
                  <a:cubicBezTo>
                    <a:pt x="799" y="60"/>
                    <a:pt x="797" y="59"/>
                    <a:pt x="796" y="59"/>
                  </a:cubicBezTo>
                  <a:cubicBezTo>
                    <a:pt x="789" y="55"/>
                    <a:pt x="781" y="51"/>
                    <a:pt x="774" y="48"/>
                  </a:cubicBezTo>
                  <a:cubicBezTo>
                    <a:pt x="772" y="47"/>
                    <a:pt x="771" y="47"/>
                    <a:pt x="769" y="46"/>
                  </a:cubicBezTo>
                  <a:cubicBezTo>
                    <a:pt x="731" y="29"/>
                    <a:pt x="690" y="17"/>
                    <a:pt x="648" y="9"/>
                  </a:cubicBezTo>
                  <a:cubicBezTo>
                    <a:pt x="647" y="9"/>
                    <a:pt x="646" y="9"/>
                    <a:pt x="645" y="8"/>
                  </a:cubicBezTo>
                  <a:cubicBezTo>
                    <a:pt x="636" y="7"/>
                    <a:pt x="627" y="6"/>
                    <a:pt x="618" y="4"/>
                  </a:cubicBezTo>
                  <a:cubicBezTo>
                    <a:pt x="616" y="4"/>
                    <a:pt x="614" y="4"/>
                    <a:pt x="612" y="4"/>
                  </a:cubicBezTo>
                  <a:cubicBezTo>
                    <a:pt x="604" y="3"/>
                    <a:pt x="595" y="2"/>
                    <a:pt x="587" y="1"/>
                  </a:cubicBezTo>
                  <a:cubicBezTo>
                    <a:pt x="585" y="1"/>
                    <a:pt x="583" y="1"/>
                    <a:pt x="580" y="1"/>
                  </a:cubicBezTo>
                  <a:cubicBezTo>
                    <a:pt x="570" y="0"/>
                    <a:pt x="560" y="0"/>
                    <a:pt x="549" y="0"/>
                  </a:cubicBezTo>
                  <a:cubicBezTo>
                    <a:pt x="247" y="0"/>
                    <a:pt x="0" y="246"/>
                    <a:pt x="0" y="549"/>
                  </a:cubicBezTo>
                  <a:lnTo>
                    <a:pt x="0" y="591"/>
                  </a:lnTo>
                  <a:lnTo>
                    <a:pt x="0" y="768"/>
                  </a:lnTo>
                  <a:cubicBezTo>
                    <a:pt x="0" y="1071"/>
                    <a:pt x="247" y="1317"/>
                    <a:pt x="549" y="1317"/>
                  </a:cubicBezTo>
                  <a:cubicBezTo>
                    <a:pt x="852" y="1317"/>
                    <a:pt x="1098" y="1071"/>
                    <a:pt x="1098" y="768"/>
                  </a:cubicBezTo>
                  <a:lnTo>
                    <a:pt x="1098" y="635"/>
                  </a:lnTo>
                  <a:lnTo>
                    <a:pt x="1098" y="549"/>
                  </a:lnTo>
                  <a:cubicBezTo>
                    <a:pt x="1098" y="539"/>
                    <a:pt x="1098" y="529"/>
                    <a:pt x="1098" y="520"/>
                  </a:cubicBezTo>
                  <a:cubicBezTo>
                    <a:pt x="1097" y="518"/>
                    <a:pt x="1097" y="516"/>
                    <a:pt x="1097" y="513"/>
                  </a:cubicBezTo>
                  <a:cubicBezTo>
                    <a:pt x="1097" y="506"/>
                    <a:pt x="1096" y="498"/>
                    <a:pt x="1095" y="491"/>
                  </a:cubicBezTo>
                  <a:close/>
                  <a:moveTo>
                    <a:pt x="569" y="188"/>
                  </a:moveTo>
                  <a:cubicBezTo>
                    <a:pt x="572" y="188"/>
                    <a:pt x="575" y="188"/>
                    <a:pt x="577" y="189"/>
                  </a:cubicBezTo>
                  <a:cubicBezTo>
                    <a:pt x="581" y="189"/>
                    <a:pt x="585" y="189"/>
                    <a:pt x="589" y="190"/>
                  </a:cubicBezTo>
                  <a:cubicBezTo>
                    <a:pt x="592" y="190"/>
                    <a:pt x="595" y="191"/>
                    <a:pt x="599" y="191"/>
                  </a:cubicBezTo>
                  <a:cubicBezTo>
                    <a:pt x="602" y="191"/>
                    <a:pt x="605" y="192"/>
                    <a:pt x="608" y="192"/>
                  </a:cubicBezTo>
                  <a:cubicBezTo>
                    <a:pt x="612" y="193"/>
                    <a:pt x="615" y="194"/>
                    <a:pt x="619" y="194"/>
                  </a:cubicBezTo>
                  <a:cubicBezTo>
                    <a:pt x="621" y="195"/>
                    <a:pt x="624" y="195"/>
                    <a:pt x="627" y="196"/>
                  </a:cubicBezTo>
                  <a:cubicBezTo>
                    <a:pt x="631" y="197"/>
                    <a:pt x="634" y="198"/>
                    <a:pt x="638" y="198"/>
                  </a:cubicBezTo>
                  <a:cubicBezTo>
                    <a:pt x="641" y="199"/>
                    <a:pt x="644" y="200"/>
                    <a:pt x="648" y="201"/>
                  </a:cubicBezTo>
                  <a:cubicBezTo>
                    <a:pt x="650" y="202"/>
                    <a:pt x="653" y="203"/>
                    <a:pt x="656" y="204"/>
                  </a:cubicBezTo>
                  <a:cubicBezTo>
                    <a:pt x="662" y="205"/>
                    <a:pt x="668" y="208"/>
                    <a:pt x="674" y="210"/>
                  </a:cubicBezTo>
                  <a:cubicBezTo>
                    <a:pt x="675" y="210"/>
                    <a:pt x="676" y="210"/>
                    <a:pt x="677" y="211"/>
                  </a:cubicBezTo>
                  <a:cubicBezTo>
                    <a:pt x="682" y="213"/>
                    <a:pt x="688" y="215"/>
                    <a:pt x="693" y="218"/>
                  </a:cubicBezTo>
                  <a:cubicBezTo>
                    <a:pt x="695" y="218"/>
                    <a:pt x="696" y="218"/>
                    <a:pt x="697" y="219"/>
                  </a:cubicBezTo>
                  <a:cubicBezTo>
                    <a:pt x="702" y="221"/>
                    <a:pt x="707" y="224"/>
                    <a:pt x="713" y="227"/>
                  </a:cubicBezTo>
                  <a:cubicBezTo>
                    <a:pt x="715" y="228"/>
                    <a:pt x="718" y="229"/>
                    <a:pt x="720" y="231"/>
                  </a:cubicBezTo>
                  <a:cubicBezTo>
                    <a:pt x="722" y="231"/>
                    <a:pt x="723" y="232"/>
                    <a:pt x="724" y="233"/>
                  </a:cubicBezTo>
                  <a:cubicBezTo>
                    <a:pt x="728" y="235"/>
                    <a:pt x="731" y="237"/>
                    <a:pt x="735" y="239"/>
                  </a:cubicBezTo>
                  <a:lnTo>
                    <a:pt x="738" y="241"/>
                  </a:lnTo>
                  <a:cubicBezTo>
                    <a:pt x="738" y="241"/>
                    <a:pt x="738" y="241"/>
                    <a:pt x="739" y="241"/>
                  </a:cubicBezTo>
                  <a:cubicBezTo>
                    <a:pt x="743" y="244"/>
                    <a:pt x="746" y="246"/>
                    <a:pt x="750" y="248"/>
                  </a:cubicBezTo>
                  <a:lnTo>
                    <a:pt x="750" y="249"/>
                  </a:lnTo>
                  <a:cubicBezTo>
                    <a:pt x="751" y="249"/>
                    <a:pt x="753" y="250"/>
                    <a:pt x="754" y="251"/>
                  </a:cubicBezTo>
                  <a:cubicBezTo>
                    <a:pt x="757" y="253"/>
                    <a:pt x="761" y="256"/>
                    <a:pt x="764" y="258"/>
                  </a:cubicBezTo>
                  <a:cubicBezTo>
                    <a:pt x="765" y="259"/>
                    <a:pt x="766" y="260"/>
                    <a:pt x="768" y="261"/>
                  </a:cubicBezTo>
                  <a:cubicBezTo>
                    <a:pt x="771" y="264"/>
                    <a:pt x="774" y="266"/>
                    <a:pt x="777" y="268"/>
                  </a:cubicBezTo>
                  <a:cubicBezTo>
                    <a:pt x="778" y="270"/>
                    <a:pt x="780" y="271"/>
                    <a:pt x="781" y="272"/>
                  </a:cubicBezTo>
                  <a:cubicBezTo>
                    <a:pt x="783" y="274"/>
                    <a:pt x="786" y="276"/>
                    <a:pt x="788" y="278"/>
                  </a:cubicBezTo>
                  <a:cubicBezTo>
                    <a:pt x="790" y="280"/>
                    <a:pt x="793" y="282"/>
                    <a:pt x="795" y="284"/>
                  </a:cubicBezTo>
                  <a:cubicBezTo>
                    <a:pt x="797" y="286"/>
                    <a:pt x="799" y="288"/>
                    <a:pt x="801" y="290"/>
                  </a:cubicBezTo>
                  <a:cubicBezTo>
                    <a:pt x="803" y="292"/>
                    <a:pt x="805" y="294"/>
                    <a:pt x="807" y="296"/>
                  </a:cubicBezTo>
                  <a:cubicBezTo>
                    <a:pt x="809" y="298"/>
                    <a:pt x="812" y="300"/>
                    <a:pt x="814" y="303"/>
                  </a:cubicBezTo>
                  <a:cubicBezTo>
                    <a:pt x="815" y="305"/>
                    <a:pt x="817" y="306"/>
                    <a:pt x="819" y="308"/>
                  </a:cubicBezTo>
                  <a:cubicBezTo>
                    <a:pt x="821" y="311"/>
                    <a:pt x="823" y="313"/>
                    <a:pt x="826" y="316"/>
                  </a:cubicBezTo>
                  <a:cubicBezTo>
                    <a:pt x="827" y="318"/>
                    <a:pt x="828" y="319"/>
                    <a:pt x="830" y="321"/>
                  </a:cubicBezTo>
                  <a:cubicBezTo>
                    <a:pt x="832" y="324"/>
                    <a:pt x="834" y="327"/>
                    <a:pt x="836" y="329"/>
                  </a:cubicBezTo>
                  <a:cubicBezTo>
                    <a:pt x="838" y="331"/>
                    <a:pt x="839" y="333"/>
                    <a:pt x="840" y="335"/>
                  </a:cubicBezTo>
                  <a:cubicBezTo>
                    <a:pt x="842" y="338"/>
                    <a:pt x="844" y="340"/>
                    <a:pt x="846" y="343"/>
                  </a:cubicBezTo>
                  <a:cubicBezTo>
                    <a:pt x="848" y="345"/>
                    <a:pt x="849" y="347"/>
                    <a:pt x="850" y="349"/>
                  </a:cubicBezTo>
                  <a:cubicBezTo>
                    <a:pt x="852" y="352"/>
                    <a:pt x="854" y="354"/>
                    <a:pt x="856" y="357"/>
                  </a:cubicBezTo>
                  <a:cubicBezTo>
                    <a:pt x="857" y="359"/>
                    <a:pt x="858" y="362"/>
                    <a:pt x="860" y="364"/>
                  </a:cubicBezTo>
                  <a:cubicBezTo>
                    <a:pt x="861" y="366"/>
                    <a:pt x="863" y="369"/>
                    <a:pt x="864" y="371"/>
                  </a:cubicBezTo>
                  <a:cubicBezTo>
                    <a:pt x="866" y="374"/>
                    <a:pt x="867" y="376"/>
                    <a:pt x="868" y="379"/>
                  </a:cubicBezTo>
                  <a:cubicBezTo>
                    <a:pt x="870" y="381"/>
                    <a:pt x="871" y="384"/>
                    <a:pt x="872" y="386"/>
                  </a:cubicBezTo>
                  <a:cubicBezTo>
                    <a:pt x="873" y="389"/>
                    <a:pt x="875" y="392"/>
                    <a:pt x="876" y="395"/>
                  </a:cubicBezTo>
                  <a:cubicBezTo>
                    <a:pt x="877" y="397"/>
                    <a:pt x="878" y="398"/>
                    <a:pt x="879" y="400"/>
                  </a:cubicBezTo>
                  <a:cubicBezTo>
                    <a:pt x="880" y="404"/>
                    <a:pt x="882" y="407"/>
                    <a:pt x="883" y="411"/>
                  </a:cubicBezTo>
                  <a:cubicBezTo>
                    <a:pt x="884" y="412"/>
                    <a:pt x="884" y="413"/>
                    <a:pt x="885" y="415"/>
                  </a:cubicBezTo>
                  <a:cubicBezTo>
                    <a:pt x="887" y="419"/>
                    <a:pt x="888" y="423"/>
                    <a:pt x="890" y="427"/>
                  </a:cubicBezTo>
                  <a:cubicBezTo>
                    <a:pt x="890" y="428"/>
                    <a:pt x="890" y="428"/>
                    <a:pt x="890" y="429"/>
                  </a:cubicBezTo>
                  <a:cubicBezTo>
                    <a:pt x="899" y="453"/>
                    <a:pt x="905" y="478"/>
                    <a:pt x="908" y="503"/>
                  </a:cubicBezTo>
                  <a:cubicBezTo>
                    <a:pt x="908" y="505"/>
                    <a:pt x="908" y="508"/>
                    <a:pt x="909" y="510"/>
                  </a:cubicBezTo>
                  <a:cubicBezTo>
                    <a:pt x="863" y="486"/>
                    <a:pt x="824" y="451"/>
                    <a:pt x="795" y="407"/>
                  </a:cubicBezTo>
                  <a:cubicBezTo>
                    <a:pt x="779" y="382"/>
                    <a:pt x="753" y="366"/>
                    <a:pt x="724" y="364"/>
                  </a:cubicBezTo>
                  <a:cubicBezTo>
                    <a:pt x="695" y="362"/>
                    <a:pt x="667" y="373"/>
                    <a:pt x="647" y="395"/>
                  </a:cubicBezTo>
                  <a:cubicBezTo>
                    <a:pt x="562" y="489"/>
                    <a:pt x="440" y="543"/>
                    <a:pt x="313" y="543"/>
                  </a:cubicBezTo>
                  <a:cubicBezTo>
                    <a:pt x="271" y="543"/>
                    <a:pt x="229" y="538"/>
                    <a:pt x="189" y="526"/>
                  </a:cubicBezTo>
                  <a:cubicBezTo>
                    <a:pt x="189" y="523"/>
                    <a:pt x="189" y="521"/>
                    <a:pt x="189" y="519"/>
                  </a:cubicBezTo>
                  <a:cubicBezTo>
                    <a:pt x="190" y="516"/>
                    <a:pt x="190" y="513"/>
                    <a:pt x="190" y="510"/>
                  </a:cubicBezTo>
                  <a:cubicBezTo>
                    <a:pt x="190" y="507"/>
                    <a:pt x="191" y="504"/>
                    <a:pt x="191" y="501"/>
                  </a:cubicBezTo>
                  <a:cubicBezTo>
                    <a:pt x="192" y="498"/>
                    <a:pt x="192" y="495"/>
                    <a:pt x="192" y="492"/>
                  </a:cubicBezTo>
                  <a:cubicBezTo>
                    <a:pt x="193" y="489"/>
                    <a:pt x="193" y="486"/>
                    <a:pt x="194" y="483"/>
                  </a:cubicBezTo>
                  <a:cubicBezTo>
                    <a:pt x="195" y="480"/>
                    <a:pt x="195" y="478"/>
                    <a:pt x="196" y="475"/>
                  </a:cubicBezTo>
                  <a:cubicBezTo>
                    <a:pt x="196" y="472"/>
                    <a:pt x="197" y="469"/>
                    <a:pt x="198" y="465"/>
                  </a:cubicBezTo>
                  <a:cubicBezTo>
                    <a:pt x="198" y="463"/>
                    <a:pt x="199" y="460"/>
                    <a:pt x="200" y="458"/>
                  </a:cubicBezTo>
                  <a:cubicBezTo>
                    <a:pt x="200" y="455"/>
                    <a:pt x="201" y="451"/>
                    <a:pt x="202" y="448"/>
                  </a:cubicBezTo>
                  <a:cubicBezTo>
                    <a:pt x="203" y="446"/>
                    <a:pt x="204" y="443"/>
                    <a:pt x="204" y="441"/>
                  </a:cubicBezTo>
                  <a:cubicBezTo>
                    <a:pt x="206" y="437"/>
                    <a:pt x="207" y="433"/>
                    <a:pt x="208" y="429"/>
                  </a:cubicBezTo>
                  <a:cubicBezTo>
                    <a:pt x="209" y="428"/>
                    <a:pt x="209" y="426"/>
                    <a:pt x="210" y="425"/>
                  </a:cubicBezTo>
                  <a:cubicBezTo>
                    <a:pt x="212" y="419"/>
                    <a:pt x="214" y="414"/>
                    <a:pt x="216" y="409"/>
                  </a:cubicBezTo>
                  <a:cubicBezTo>
                    <a:pt x="217" y="407"/>
                    <a:pt x="218" y="405"/>
                    <a:pt x="219" y="404"/>
                  </a:cubicBezTo>
                  <a:cubicBezTo>
                    <a:pt x="220" y="400"/>
                    <a:pt x="222" y="396"/>
                    <a:pt x="223" y="393"/>
                  </a:cubicBezTo>
                  <a:cubicBezTo>
                    <a:pt x="224" y="391"/>
                    <a:pt x="226" y="389"/>
                    <a:pt x="227" y="387"/>
                  </a:cubicBezTo>
                  <a:cubicBezTo>
                    <a:pt x="228" y="384"/>
                    <a:pt x="230" y="381"/>
                    <a:pt x="231" y="378"/>
                  </a:cubicBezTo>
                  <a:cubicBezTo>
                    <a:pt x="232" y="375"/>
                    <a:pt x="234" y="373"/>
                    <a:pt x="235" y="371"/>
                  </a:cubicBezTo>
                  <a:cubicBezTo>
                    <a:pt x="236" y="368"/>
                    <a:pt x="238" y="366"/>
                    <a:pt x="240" y="363"/>
                  </a:cubicBezTo>
                  <a:cubicBezTo>
                    <a:pt x="241" y="361"/>
                    <a:pt x="242" y="358"/>
                    <a:pt x="244" y="356"/>
                  </a:cubicBezTo>
                  <a:cubicBezTo>
                    <a:pt x="245" y="354"/>
                    <a:pt x="247" y="351"/>
                    <a:pt x="249" y="348"/>
                  </a:cubicBezTo>
                  <a:cubicBezTo>
                    <a:pt x="250" y="346"/>
                    <a:pt x="252" y="344"/>
                    <a:pt x="253" y="342"/>
                  </a:cubicBezTo>
                  <a:cubicBezTo>
                    <a:pt x="255" y="339"/>
                    <a:pt x="257" y="337"/>
                    <a:pt x="259" y="334"/>
                  </a:cubicBezTo>
                  <a:cubicBezTo>
                    <a:pt x="260" y="332"/>
                    <a:pt x="262" y="330"/>
                    <a:pt x="264" y="328"/>
                  </a:cubicBezTo>
                  <a:cubicBezTo>
                    <a:pt x="265" y="326"/>
                    <a:pt x="267" y="323"/>
                    <a:pt x="269" y="321"/>
                  </a:cubicBezTo>
                  <a:cubicBezTo>
                    <a:pt x="271" y="319"/>
                    <a:pt x="273" y="317"/>
                    <a:pt x="274" y="315"/>
                  </a:cubicBezTo>
                  <a:cubicBezTo>
                    <a:pt x="276" y="313"/>
                    <a:pt x="278" y="310"/>
                    <a:pt x="280" y="308"/>
                  </a:cubicBezTo>
                  <a:cubicBezTo>
                    <a:pt x="282" y="306"/>
                    <a:pt x="284" y="304"/>
                    <a:pt x="286" y="302"/>
                  </a:cubicBezTo>
                  <a:cubicBezTo>
                    <a:pt x="288" y="300"/>
                    <a:pt x="290" y="298"/>
                    <a:pt x="292" y="296"/>
                  </a:cubicBezTo>
                  <a:cubicBezTo>
                    <a:pt x="294" y="294"/>
                    <a:pt x="296" y="292"/>
                    <a:pt x="298" y="290"/>
                  </a:cubicBezTo>
                  <a:cubicBezTo>
                    <a:pt x="300" y="288"/>
                    <a:pt x="302" y="286"/>
                    <a:pt x="304" y="284"/>
                  </a:cubicBezTo>
                  <a:cubicBezTo>
                    <a:pt x="306" y="282"/>
                    <a:pt x="308" y="280"/>
                    <a:pt x="310" y="278"/>
                  </a:cubicBezTo>
                  <a:cubicBezTo>
                    <a:pt x="312" y="276"/>
                    <a:pt x="315" y="274"/>
                    <a:pt x="317" y="272"/>
                  </a:cubicBezTo>
                  <a:cubicBezTo>
                    <a:pt x="319" y="271"/>
                    <a:pt x="321" y="269"/>
                    <a:pt x="323" y="267"/>
                  </a:cubicBezTo>
                  <a:cubicBezTo>
                    <a:pt x="326" y="265"/>
                    <a:pt x="328" y="264"/>
                    <a:pt x="330" y="262"/>
                  </a:cubicBezTo>
                  <a:cubicBezTo>
                    <a:pt x="332" y="260"/>
                    <a:pt x="335" y="259"/>
                    <a:pt x="337" y="257"/>
                  </a:cubicBezTo>
                  <a:cubicBezTo>
                    <a:pt x="339" y="255"/>
                    <a:pt x="342" y="253"/>
                    <a:pt x="344" y="252"/>
                  </a:cubicBezTo>
                  <a:cubicBezTo>
                    <a:pt x="346" y="250"/>
                    <a:pt x="348" y="249"/>
                    <a:pt x="351" y="247"/>
                  </a:cubicBezTo>
                  <a:cubicBezTo>
                    <a:pt x="353" y="246"/>
                    <a:pt x="356" y="244"/>
                    <a:pt x="358" y="242"/>
                  </a:cubicBezTo>
                  <a:cubicBezTo>
                    <a:pt x="361" y="241"/>
                    <a:pt x="363" y="239"/>
                    <a:pt x="365" y="238"/>
                  </a:cubicBezTo>
                  <a:cubicBezTo>
                    <a:pt x="368" y="237"/>
                    <a:pt x="370" y="235"/>
                    <a:pt x="373" y="234"/>
                  </a:cubicBezTo>
                  <a:cubicBezTo>
                    <a:pt x="375" y="232"/>
                    <a:pt x="378" y="231"/>
                    <a:pt x="380" y="230"/>
                  </a:cubicBezTo>
                  <a:cubicBezTo>
                    <a:pt x="383" y="228"/>
                    <a:pt x="386" y="227"/>
                    <a:pt x="388" y="226"/>
                  </a:cubicBezTo>
                  <a:cubicBezTo>
                    <a:pt x="391" y="224"/>
                    <a:pt x="393" y="223"/>
                    <a:pt x="396" y="222"/>
                  </a:cubicBezTo>
                  <a:cubicBezTo>
                    <a:pt x="398" y="221"/>
                    <a:pt x="401" y="219"/>
                    <a:pt x="404" y="218"/>
                  </a:cubicBezTo>
                  <a:cubicBezTo>
                    <a:pt x="406" y="217"/>
                    <a:pt x="409" y="216"/>
                    <a:pt x="411" y="215"/>
                  </a:cubicBezTo>
                  <a:cubicBezTo>
                    <a:pt x="414" y="214"/>
                    <a:pt x="417" y="213"/>
                    <a:pt x="420" y="212"/>
                  </a:cubicBezTo>
                  <a:cubicBezTo>
                    <a:pt x="422" y="211"/>
                    <a:pt x="425" y="210"/>
                    <a:pt x="427" y="209"/>
                  </a:cubicBezTo>
                  <a:cubicBezTo>
                    <a:pt x="430" y="208"/>
                    <a:pt x="433" y="207"/>
                    <a:pt x="436" y="206"/>
                  </a:cubicBezTo>
                  <a:cubicBezTo>
                    <a:pt x="439" y="205"/>
                    <a:pt x="441" y="204"/>
                    <a:pt x="444" y="203"/>
                  </a:cubicBezTo>
                  <a:cubicBezTo>
                    <a:pt x="447" y="202"/>
                    <a:pt x="450" y="201"/>
                    <a:pt x="453" y="201"/>
                  </a:cubicBezTo>
                  <a:cubicBezTo>
                    <a:pt x="456" y="200"/>
                    <a:pt x="458" y="199"/>
                    <a:pt x="461" y="199"/>
                  </a:cubicBezTo>
                  <a:cubicBezTo>
                    <a:pt x="464" y="198"/>
                    <a:pt x="467" y="197"/>
                    <a:pt x="470" y="196"/>
                  </a:cubicBezTo>
                  <a:cubicBezTo>
                    <a:pt x="473" y="196"/>
                    <a:pt x="475" y="195"/>
                    <a:pt x="478" y="195"/>
                  </a:cubicBezTo>
                  <a:cubicBezTo>
                    <a:pt x="481" y="194"/>
                    <a:pt x="485" y="193"/>
                    <a:pt x="488" y="193"/>
                  </a:cubicBezTo>
                  <a:cubicBezTo>
                    <a:pt x="490" y="192"/>
                    <a:pt x="493" y="192"/>
                    <a:pt x="495" y="192"/>
                  </a:cubicBezTo>
                  <a:cubicBezTo>
                    <a:pt x="499" y="191"/>
                    <a:pt x="503" y="191"/>
                    <a:pt x="506" y="190"/>
                  </a:cubicBezTo>
                  <a:cubicBezTo>
                    <a:pt x="508" y="190"/>
                    <a:pt x="511" y="190"/>
                    <a:pt x="513" y="189"/>
                  </a:cubicBezTo>
                  <a:cubicBezTo>
                    <a:pt x="517" y="189"/>
                    <a:pt x="521" y="189"/>
                    <a:pt x="525" y="188"/>
                  </a:cubicBezTo>
                  <a:cubicBezTo>
                    <a:pt x="527" y="188"/>
                    <a:pt x="529" y="188"/>
                    <a:pt x="531" y="188"/>
                  </a:cubicBezTo>
                  <a:cubicBezTo>
                    <a:pt x="537" y="188"/>
                    <a:pt x="543" y="187"/>
                    <a:pt x="549" y="187"/>
                  </a:cubicBezTo>
                  <a:cubicBezTo>
                    <a:pt x="556" y="188"/>
                    <a:pt x="563" y="188"/>
                    <a:pt x="569" y="188"/>
                  </a:cubicBezTo>
                  <a:close/>
                  <a:moveTo>
                    <a:pt x="549" y="1130"/>
                  </a:moveTo>
                  <a:cubicBezTo>
                    <a:pt x="350" y="1130"/>
                    <a:pt x="188" y="968"/>
                    <a:pt x="188" y="768"/>
                  </a:cubicBezTo>
                  <a:lnTo>
                    <a:pt x="188" y="718"/>
                  </a:lnTo>
                  <a:cubicBezTo>
                    <a:pt x="229" y="727"/>
                    <a:pt x="271" y="731"/>
                    <a:pt x="313" y="731"/>
                  </a:cubicBezTo>
                  <a:cubicBezTo>
                    <a:pt x="457" y="731"/>
                    <a:pt x="596" y="682"/>
                    <a:pt x="708" y="594"/>
                  </a:cubicBezTo>
                  <a:cubicBezTo>
                    <a:pt x="765" y="649"/>
                    <a:pt x="834" y="690"/>
                    <a:pt x="911" y="712"/>
                  </a:cubicBezTo>
                  <a:lnTo>
                    <a:pt x="911" y="768"/>
                  </a:lnTo>
                  <a:cubicBezTo>
                    <a:pt x="911" y="968"/>
                    <a:pt x="749" y="1130"/>
                    <a:pt x="549" y="11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7">
              <a:extLst>
                <a:ext uri="{FF2B5EF4-FFF2-40B4-BE49-F238E27FC236}">
                  <a16:creationId xmlns:a16="http://schemas.microsoft.com/office/drawing/2014/main" id="{3AE9E1E6-576C-45AE-9AE8-4C54B4DA3F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6" y="3254"/>
              <a:ext cx="204" cy="109"/>
            </a:xfrm>
            <a:custGeom>
              <a:avLst/>
              <a:gdLst>
                <a:gd name="T0" fmla="*/ 1157 w 1543"/>
                <a:gd name="T1" fmla="*/ 32 h 820"/>
                <a:gd name="T2" fmla="*/ 1128 w 1543"/>
                <a:gd name="T3" fmla="*/ 23 h 820"/>
                <a:gd name="T4" fmla="*/ 1122 w 1543"/>
                <a:gd name="T5" fmla="*/ 21 h 820"/>
                <a:gd name="T6" fmla="*/ 1085 w 1543"/>
                <a:gd name="T7" fmla="*/ 12 h 820"/>
                <a:gd name="T8" fmla="*/ 1060 w 1543"/>
                <a:gd name="T9" fmla="*/ 7 h 820"/>
                <a:gd name="T10" fmla="*/ 1035 w 1543"/>
                <a:gd name="T11" fmla="*/ 4 h 820"/>
                <a:gd name="T12" fmla="*/ 995 w 1543"/>
                <a:gd name="T13" fmla="*/ 0 h 820"/>
                <a:gd name="T14" fmla="*/ 966 w 1543"/>
                <a:gd name="T15" fmla="*/ 0 h 820"/>
                <a:gd name="T16" fmla="*/ 557 w 1543"/>
                <a:gd name="T17" fmla="*/ 0 h 820"/>
                <a:gd name="T18" fmla="*/ 530 w 1543"/>
                <a:gd name="T19" fmla="*/ 2 h 820"/>
                <a:gd name="T20" fmla="*/ 504 w 1543"/>
                <a:gd name="T21" fmla="*/ 4 h 820"/>
                <a:gd name="T22" fmla="*/ 461 w 1543"/>
                <a:gd name="T23" fmla="*/ 11 h 820"/>
                <a:gd name="T24" fmla="*/ 437 w 1543"/>
                <a:gd name="T25" fmla="*/ 17 h 820"/>
                <a:gd name="T26" fmla="*/ 417 w 1543"/>
                <a:gd name="T27" fmla="*/ 22 h 820"/>
                <a:gd name="T28" fmla="*/ 394 w 1543"/>
                <a:gd name="T29" fmla="*/ 29 h 820"/>
                <a:gd name="T30" fmla="*/ 4 w 1543"/>
                <a:gd name="T31" fmla="*/ 509 h 820"/>
                <a:gd name="T32" fmla="*/ 771 w 1543"/>
                <a:gd name="T33" fmla="*/ 820 h 820"/>
                <a:gd name="T34" fmla="*/ 1538 w 1543"/>
                <a:gd name="T35" fmla="*/ 509 h 820"/>
                <a:gd name="T36" fmla="*/ 201 w 1543"/>
                <a:gd name="T37" fmla="*/ 475 h 820"/>
                <a:gd name="T38" fmla="*/ 460 w 1543"/>
                <a:gd name="T39" fmla="*/ 205 h 820"/>
                <a:gd name="T40" fmla="*/ 470 w 1543"/>
                <a:gd name="T41" fmla="*/ 202 h 820"/>
                <a:gd name="T42" fmla="*/ 483 w 1543"/>
                <a:gd name="T43" fmla="*/ 198 h 820"/>
                <a:gd name="T44" fmla="*/ 501 w 1543"/>
                <a:gd name="T45" fmla="*/ 195 h 820"/>
                <a:gd name="T46" fmla="*/ 515 w 1543"/>
                <a:gd name="T47" fmla="*/ 192 h 820"/>
                <a:gd name="T48" fmla="*/ 530 w 1543"/>
                <a:gd name="T49" fmla="*/ 190 h 820"/>
                <a:gd name="T50" fmla="*/ 557 w 1543"/>
                <a:gd name="T51" fmla="*/ 188 h 820"/>
                <a:gd name="T52" fmla="*/ 564 w 1543"/>
                <a:gd name="T53" fmla="*/ 187 h 820"/>
                <a:gd name="T54" fmla="*/ 966 w 1543"/>
                <a:gd name="T55" fmla="*/ 187 h 820"/>
                <a:gd name="T56" fmla="*/ 983 w 1543"/>
                <a:gd name="T57" fmla="*/ 187 h 820"/>
                <a:gd name="T58" fmla="*/ 998 w 1543"/>
                <a:gd name="T59" fmla="*/ 188 h 820"/>
                <a:gd name="T60" fmla="*/ 1015 w 1543"/>
                <a:gd name="T61" fmla="*/ 190 h 820"/>
                <a:gd name="T62" fmla="*/ 1030 w 1543"/>
                <a:gd name="T63" fmla="*/ 192 h 820"/>
                <a:gd name="T64" fmla="*/ 1045 w 1543"/>
                <a:gd name="T65" fmla="*/ 195 h 820"/>
                <a:gd name="T66" fmla="*/ 1072 w 1543"/>
                <a:gd name="T67" fmla="*/ 202 h 820"/>
                <a:gd name="T68" fmla="*/ 1075 w 1543"/>
                <a:gd name="T69" fmla="*/ 203 h 820"/>
                <a:gd name="T70" fmla="*/ 1089 w 1543"/>
                <a:gd name="T71" fmla="*/ 207 h 820"/>
                <a:gd name="T72" fmla="*/ 771 w 1543"/>
                <a:gd name="T73" fmla="*/ 633 h 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3" h="820">
                  <a:moveTo>
                    <a:pt x="1538" y="509"/>
                  </a:moveTo>
                  <a:cubicBezTo>
                    <a:pt x="1513" y="291"/>
                    <a:pt x="1364" y="105"/>
                    <a:pt x="1157" y="32"/>
                  </a:cubicBezTo>
                  <a:cubicBezTo>
                    <a:pt x="1154" y="31"/>
                    <a:pt x="1151" y="30"/>
                    <a:pt x="1149" y="29"/>
                  </a:cubicBezTo>
                  <a:cubicBezTo>
                    <a:pt x="1142" y="27"/>
                    <a:pt x="1135" y="25"/>
                    <a:pt x="1128" y="23"/>
                  </a:cubicBezTo>
                  <a:cubicBezTo>
                    <a:pt x="1128" y="23"/>
                    <a:pt x="1127" y="23"/>
                    <a:pt x="1126" y="22"/>
                  </a:cubicBezTo>
                  <a:cubicBezTo>
                    <a:pt x="1125" y="22"/>
                    <a:pt x="1123" y="21"/>
                    <a:pt x="1122" y="21"/>
                  </a:cubicBezTo>
                  <a:lnTo>
                    <a:pt x="1105" y="17"/>
                  </a:lnTo>
                  <a:cubicBezTo>
                    <a:pt x="1098" y="15"/>
                    <a:pt x="1092" y="13"/>
                    <a:pt x="1085" y="12"/>
                  </a:cubicBezTo>
                  <a:cubicBezTo>
                    <a:pt x="1084" y="12"/>
                    <a:pt x="1083" y="12"/>
                    <a:pt x="1082" y="11"/>
                  </a:cubicBezTo>
                  <a:cubicBezTo>
                    <a:pt x="1074" y="10"/>
                    <a:pt x="1067" y="9"/>
                    <a:pt x="1060" y="7"/>
                  </a:cubicBezTo>
                  <a:cubicBezTo>
                    <a:pt x="1053" y="6"/>
                    <a:pt x="1046" y="5"/>
                    <a:pt x="1039" y="4"/>
                  </a:cubicBezTo>
                  <a:lnTo>
                    <a:pt x="1035" y="4"/>
                  </a:lnTo>
                  <a:cubicBezTo>
                    <a:pt x="1028" y="3"/>
                    <a:pt x="1020" y="2"/>
                    <a:pt x="1012" y="1"/>
                  </a:cubicBezTo>
                  <a:cubicBezTo>
                    <a:pt x="1007" y="1"/>
                    <a:pt x="1001" y="1"/>
                    <a:pt x="995" y="0"/>
                  </a:cubicBezTo>
                  <a:cubicBezTo>
                    <a:pt x="992" y="0"/>
                    <a:pt x="989" y="0"/>
                    <a:pt x="985" y="0"/>
                  </a:cubicBezTo>
                  <a:cubicBezTo>
                    <a:pt x="979" y="0"/>
                    <a:pt x="972" y="0"/>
                    <a:pt x="966" y="0"/>
                  </a:cubicBezTo>
                  <a:lnTo>
                    <a:pt x="577" y="0"/>
                  </a:lnTo>
                  <a:cubicBezTo>
                    <a:pt x="571" y="0"/>
                    <a:pt x="564" y="0"/>
                    <a:pt x="557" y="0"/>
                  </a:cubicBezTo>
                  <a:cubicBezTo>
                    <a:pt x="554" y="0"/>
                    <a:pt x="551" y="0"/>
                    <a:pt x="548" y="0"/>
                  </a:cubicBezTo>
                  <a:cubicBezTo>
                    <a:pt x="542" y="1"/>
                    <a:pt x="536" y="1"/>
                    <a:pt x="530" y="2"/>
                  </a:cubicBezTo>
                  <a:cubicBezTo>
                    <a:pt x="522" y="2"/>
                    <a:pt x="515" y="3"/>
                    <a:pt x="507" y="4"/>
                  </a:cubicBezTo>
                  <a:lnTo>
                    <a:pt x="504" y="4"/>
                  </a:lnTo>
                  <a:cubicBezTo>
                    <a:pt x="497" y="5"/>
                    <a:pt x="490" y="6"/>
                    <a:pt x="483" y="7"/>
                  </a:cubicBezTo>
                  <a:cubicBezTo>
                    <a:pt x="476" y="9"/>
                    <a:pt x="468" y="10"/>
                    <a:pt x="461" y="11"/>
                  </a:cubicBezTo>
                  <a:cubicBezTo>
                    <a:pt x="460" y="12"/>
                    <a:pt x="459" y="12"/>
                    <a:pt x="458" y="12"/>
                  </a:cubicBezTo>
                  <a:cubicBezTo>
                    <a:pt x="451" y="13"/>
                    <a:pt x="444" y="15"/>
                    <a:pt x="437" y="17"/>
                  </a:cubicBezTo>
                  <a:lnTo>
                    <a:pt x="421" y="21"/>
                  </a:lnTo>
                  <a:cubicBezTo>
                    <a:pt x="419" y="21"/>
                    <a:pt x="418" y="22"/>
                    <a:pt x="417" y="22"/>
                  </a:cubicBezTo>
                  <a:cubicBezTo>
                    <a:pt x="416" y="23"/>
                    <a:pt x="415" y="23"/>
                    <a:pt x="414" y="23"/>
                  </a:cubicBezTo>
                  <a:cubicBezTo>
                    <a:pt x="408" y="25"/>
                    <a:pt x="401" y="27"/>
                    <a:pt x="394" y="29"/>
                  </a:cubicBezTo>
                  <a:cubicBezTo>
                    <a:pt x="391" y="30"/>
                    <a:pt x="389" y="31"/>
                    <a:pt x="386" y="32"/>
                  </a:cubicBezTo>
                  <a:cubicBezTo>
                    <a:pt x="179" y="105"/>
                    <a:pt x="30" y="291"/>
                    <a:pt x="4" y="509"/>
                  </a:cubicBezTo>
                  <a:cubicBezTo>
                    <a:pt x="0" y="544"/>
                    <a:pt x="16" y="578"/>
                    <a:pt x="45" y="597"/>
                  </a:cubicBezTo>
                  <a:cubicBezTo>
                    <a:pt x="259" y="743"/>
                    <a:pt x="511" y="820"/>
                    <a:pt x="771" y="820"/>
                  </a:cubicBezTo>
                  <a:cubicBezTo>
                    <a:pt x="1032" y="820"/>
                    <a:pt x="1283" y="743"/>
                    <a:pt x="1498" y="597"/>
                  </a:cubicBezTo>
                  <a:cubicBezTo>
                    <a:pt x="1527" y="578"/>
                    <a:pt x="1543" y="544"/>
                    <a:pt x="1538" y="509"/>
                  </a:cubicBezTo>
                  <a:close/>
                  <a:moveTo>
                    <a:pt x="771" y="633"/>
                  </a:moveTo>
                  <a:cubicBezTo>
                    <a:pt x="569" y="633"/>
                    <a:pt x="373" y="578"/>
                    <a:pt x="201" y="475"/>
                  </a:cubicBezTo>
                  <a:cubicBezTo>
                    <a:pt x="235" y="351"/>
                    <a:pt x="329" y="249"/>
                    <a:pt x="454" y="207"/>
                  </a:cubicBezTo>
                  <a:cubicBezTo>
                    <a:pt x="456" y="207"/>
                    <a:pt x="458" y="206"/>
                    <a:pt x="460" y="205"/>
                  </a:cubicBezTo>
                  <a:cubicBezTo>
                    <a:pt x="463" y="204"/>
                    <a:pt x="465" y="203"/>
                    <a:pt x="468" y="203"/>
                  </a:cubicBezTo>
                  <a:cubicBezTo>
                    <a:pt x="469" y="202"/>
                    <a:pt x="469" y="202"/>
                    <a:pt x="470" y="202"/>
                  </a:cubicBezTo>
                  <a:cubicBezTo>
                    <a:pt x="470" y="202"/>
                    <a:pt x="471" y="202"/>
                    <a:pt x="471" y="202"/>
                  </a:cubicBezTo>
                  <a:lnTo>
                    <a:pt x="483" y="198"/>
                  </a:lnTo>
                  <a:cubicBezTo>
                    <a:pt x="488" y="197"/>
                    <a:pt x="493" y="196"/>
                    <a:pt x="498" y="195"/>
                  </a:cubicBezTo>
                  <a:cubicBezTo>
                    <a:pt x="499" y="195"/>
                    <a:pt x="500" y="195"/>
                    <a:pt x="501" y="195"/>
                  </a:cubicBezTo>
                  <a:cubicBezTo>
                    <a:pt x="505" y="194"/>
                    <a:pt x="509" y="193"/>
                    <a:pt x="513" y="192"/>
                  </a:cubicBezTo>
                  <a:cubicBezTo>
                    <a:pt x="514" y="192"/>
                    <a:pt x="514" y="192"/>
                    <a:pt x="515" y="192"/>
                  </a:cubicBezTo>
                  <a:cubicBezTo>
                    <a:pt x="519" y="191"/>
                    <a:pt x="523" y="191"/>
                    <a:pt x="529" y="190"/>
                  </a:cubicBezTo>
                  <a:lnTo>
                    <a:pt x="530" y="190"/>
                  </a:lnTo>
                  <a:cubicBezTo>
                    <a:pt x="535" y="189"/>
                    <a:pt x="540" y="189"/>
                    <a:pt x="544" y="188"/>
                  </a:cubicBezTo>
                  <a:cubicBezTo>
                    <a:pt x="549" y="188"/>
                    <a:pt x="553" y="188"/>
                    <a:pt x="557" y="188"/>
                  </a:cubicBezTo>
                  <a:lnTo>
                    <a:pt x="560" y="187"/>
                  </a:lnTo>
                  <a:cubicBezTo>
                    <a:pt x="561" y="187"/>
                    <a:pt x="563" y="187"/>
                    <a:pt x="564" y="187"/>
                  </a:cubicBezTo>
                  <a:cubicBezTo>
                    <a:pt x="568" y="187"/>
                    <a:pt x="573" y="187"/>
                    <a:pt x="577" y="187"/>
                  </a:cubicBezTo>
                  <a:lnTo>
                    <a:pt x="966" y="187"/>
                  </a:lnTo>
                  <a:cubicBezTo>
                    <a:pt x="970" y="187"/>
                    <a:pt x="975" y="187"/>
                    <a:pt x="979" y="187"/>
                  </a:cubicBezTo>
                  <a:cubicBezTo>
                    <a:pt x="980" y="187"/>
                    <a:pt x="981" y="187"/>
                    <a:pt x="983" y="187"/>
                  </a:cubicBezTo>
                  <a:lnTo>
                    <a:pt x="986" y="188"/>
                  </a:lnTo>
                  <a:cubicBezTo>
                    <a:pt x="990" y="188"/>
                    <a:pt x="994" y="188"/>
                    <a:pt x="998" y="188"/>
                  </a:cubicBezTo>
                  <a:cubicBezTo>
                    <a:pt x="1003" y="189"/>
                    <a:pt x="1008" y="189"/>
                    <a:pt x="1014" y="190"/>
                  </a:cubicBezTo>
                  <a:cubicBezTo>
                    <a:pt x="1014" y="190"/>
                    <a:pt x="1015" y="190"/>
                    <a:pt x="1015" y="190"/>
                  </a:cubicBezTo>
                  <a:cubicBezTo>
                    <a:pt x="1020" y="191"/>
                    <a:pt x="1024" y="191"/>
                    <a:pt x="1028" y="192"/>
                  </a:cubicBezTo>
                  <a:cubicBezTo>
                    <a:pt x="1028" y="192"/>
                    <a:pt x="1029" y="192"/>
                    <a:pt x="1030" y="192"/>
                  </a:cubicBezTo>
                  <a:cubicBezTo>
                    <a:pt x="1034" y="193"/>
                    <a:pt x="1038" y="194"/>
                    <a:pt x="1042" y="195"/>
                  </a:cubicBezTo>
                  <a:cubicBezTo>
                    <a:pt x="1043" y="195"/>
                    <a:pt x="1044" y="195"/>
                    <a:pt x="1045" y="195"/>
                  </a:cubicBezTo>
                  <a:cubicBezTo>
                    <a:pt x="1050" y="196"/>
                    <a:pt x="1055" y="197"/>
                    <a:pt x="1059" y="198"/>
                  </a:cubicBezTo>
                  <a:lnTo>
                    <a:pt x="1072" y="202"/>
                  </a:lnTo>
                  <a:lnTo>
                    <a:pt x="1073" y="202"/>
                  </a:lnTo>
                  <a:cubicBezTo>
                    <a:pt x="1073" y="202"/>
                    <a:pt x="1074" y="202"/>
                    <a:pt x="1075" y="203"/>
                  </a:cubicBezTo>
                  <a:cubicBezTo>
                    <a:pt x="1077" y="203"/>
                    <a:pt x="1080" y="204"/>
                    <a:pt x="1083" y="205"/>
                  </a:cubicBezTo>
                  <a:cubicBezTo>
                    <a:pt x="1085" y="206"/>
                    <a:pt x="1087" y="207"/>
                    <a:pt x="1089" y="207"/>
                  </a:cubicBezTo>
                  <a:cubicBezTo>
                    <a:pt x="1213" y="249"/>
                    <a:pt x="1308" y="351"/>
                    <a:pt x="1342" y="475"/>
                  </a:cubicBezTo>
                  <a:cubicBezTo>
                    <a:pt x="1170" y="578"/>
                    <a:pt x="974" y="633"/>
                    <a:pt x="771" y="63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38">
              <a:extLst>
                <a:ext uri="{FF2B5EF4-FFF2-40B4-BE49-F238E27FC236}">
                  <a16:creationId xmlns:a16="http://schemas.microsoft.com/office/drawing/2014/main" id="{1EE18229-6204-480E-8727-59E632B904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8" y="3069"/>
              <a:ext cx="230" cy="89"/>
            </a:xfrm>
            <a:custGeom>
              <a:avLst/>
              <a:gdLst>
                <a:gd name="T0" fmla="*/ 94 w 1738"/>
                <a:gd name="T1" fmla="*/ 241 h 669"/>
                <a:gd name="T2" fmla="*/ 0 w 1738"/>
                <a:gd name="T3" fmla="*/ 334 h 669"/>
                <a:gd name="T4" fmla="*/ 94 w 1738"/>
                <a:gd name="T5" fmla="*/ 428 h 669"/>
                <a:gd name="T6" fmla="*/ 1082 w 1738"/>
                <a:gd name="T7" fmla="*/ 428 h 669"/>
                <a:gd name="T8" fmla="*/ 1403 w 1738"/>
                <a:gd name="T9" fmla="*/ 669 h 669"/>
                <a:gd name="T10" fmla="*/ 1738 w 1738"/>
                <a:gd name="T11" fmla="*/ 334 h 669"/>
                <a:gd name="T12" fmla="*/ 1403 w 1738"/>
                <a:gd name="T13" fmla="*/ 0 h 669"/>
                <a:gd name="T14" fmla="*/ 1082 w 1738"/>
                <a:gd name="T15" fmla="*/ 241 h 669"/>
                <a:gd name="T16" fmla="*/ 94 w 1738"/>
                <a:gd name="T17" fmla="*/ 241 h 669"/>
                <a:gd name="T18" fmla="*/ 1403 w 1738"/>
                <a:gd name="T19" fmla="*/ 187 h 669"/>
                <a:gd name="T20" fmla="*/ 1550 w 1738"/>
                <a:gd name="T21" fmla="*/ 334 h 669"/>
                <a:gd name="T22" fmla="*/ 1403 w 1738"/>
                <a:gd name="T23" fmla="*/ 482 h 669"/>
                <a:gd name="T24" fmla="*/ 1256 w 1738"/>
                <a:gd name="T25" fmla="*/ 334 h 669"/>
                <a:gd name="T26" fmla="*/ 1403 w 1738"/>
                <a:gd name="T27" fmla="*/ 187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669">
                  <a:moveTo>
                    <a:pt x="94" y="241"/>
                  </a:moveTo>
                  <a:cubicBezTo>
                    <a:pt x="42" y="241"/>
                    <a:pt x="0" y="283"/>
                    <a:pt x="0" y="334"/>
                  </a:cubicBezTo>
                  <a:cubicBezTo>
                    <a:pt x="0" y="386"/>
                    <a:pt x="42" y="428"/>
                    <a:pt x="94" y="428"/>
                  </a:cubicBezTo>
                  <a:lnTo>
                    <a:pt x="1082" y="428"/>
                  </a:lnTo>
                  <a:cubicBezTo>
                    <a:pt x="1123" y="567"/>
                    <a:pt x="1251" y="669"/>
                    <a:pt x="1403" y="669"/>
                  </a:cubicBezTo>
                  <a:cubicBezTo>
                    <a:pt x="1588" y="669"/>
                    <a:pt x="1738" y="519"/>
                    <a:pt x="1738" y="334"/>
                  </a:cubicBezTo>
                  <a:cubicBezTo>
                    <a:pt x="1738" y="150"/>
                    <a:pt x="1588" y="0"/>
                    <a:pt x="1403" y="0"/>
                  </a:cubicBezTo>
                  <a:cubicBezTo>
                    <a:pt x="1251" y="0"/>
                    <a:pt x="1123" y="102"/>
                    <a:pt x="1082" y="241"/>
                  </a:cubicBezTo>
                  <a:lnTo>
                    <a:pt x="94" y="241"/>
                  </a:lnTo>
                  <a:close/>
                  <a:moveTo>
                    <a:pt x="1403" y="187"/>
                  </a:moveTo>
                  <a:cubicBezTo>
                    <a:pt x="1484" y="187"/>
                    <a:pt x="1550" y="253"/>
                    <a:pt x="1550" y="334"/>
                  </a:cubicBezTo>
                  <a:cubicBezTo>
                    <a:pt x="1550" y="416"/>
                    <a:pt x="1484" y="482"/>
                    <a:pt x="1403" y="482"/>
                  </a:cubicBezTo>
                  <a:cubicBezTo>
                    <a:pt x="1322" y="482"/>
                    <a:pt x="1256" y="416"/>
                    <a:pt x="1256" y="334"/>
                  </a:cubicBezTo>
                  <a:cubicBezTo>
                    <a:pt x="1256" y="253"/>
                    <a:pt x="1322" y="187"/>
                    <a:pt x="1403" y="1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39">
              <a:extLst>
                <a:ext uri="{FF2B5EF4-FFF2-40B4-BE49-F238E27FC236}">
                  <a16:creationId xmlns:a16="http://schemas.microsoft.com/office/drawing/2014/main" id="{1A443A68-66A8-4D0F-992D-9223236B80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8" y="3215"/>
              <a:ext cx="230" cy="88"/>
            </a:xfrm>
            <a:custGeom>
              <a:avLst/>
              <a:gdLst>
                <a:gd name="T0" fmla="*/ 0 w 1738"/>
                <a:gd name="T1" fmla="*/ 335 h 669"/>
                <a:gd name="T2" fmla="*/ 94 w 1738"/>
                <a:gd name="T3" fmla="*/ 428 h 669"/>
                <a:gd name="T4" fmla="*/ 1082 w 1738"/>
                <a:gd name="T5" fmla="*/ 428 h 669"/>
                <a:gd name="T6" fmla="*/ 1403 w 1738"/>
                <a:gd name="T7" fmla="*/ 669 h 669"/>
                <a:gd name="T8" fmla="*/ 1738 w 1738"/>
                <a:gd name="T9" fmla="*/ 335 h 669"/>
                <a:gd name="T10" fmla="*/ 1403 w 1738"/>
                <a:gd name="T11" fmla="*/ 0 h 669"/>
                <a:gd name="T12" fmla="*/ 1082 w 1738"/>
                <a:gd name="T13" fmla="*/ 241 h 669"/>
                <a:gd name="T14" fmla="*/ 94 w 1738"/>
                <a:gd name="T15" fmla="*/ 241 h 669"/>
                <a:gd name="T16" fmla="*/ 0 w 1738"/>
                <a:gd name="T17" fmla="*/ 335 h 669"/>
                <a:gd name="T18" fmla="*/ 1403 w 1738"/>
                <a:gd name="T19" fmla="*/ 187 h 669"/>
                <a:gd name="T20" fmla="*/ 1550 w 1738"/>
                <a:gd name="T21" fmla="*/ 335 h 669"/>
                <a:gd name="T22" fmla="*/ 1403 w 1738"/>
                <a:gd name="T23" fmla="*/ 482 h 669"/>
                <a:gd name="T24" fmla="*/ 1256 w 1738"/>
                <a:gd name="T25" fmla="*/ 335 h 669"/>
                <a:gd name="T26" fmla="*/ 1403 w 1738"/>
                <a:gd name="T27" fmla="*/ 187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669">
                  <a:moveTo>
                    <a:pt x="0" y="335"/>
                  </a:moveTo>
                  <a:cubicBezTo>
                    <a:pt x="0" y="386"/>
                    <a:pt x="42" y="428"/>
                    <a:pt x="94" y="428"/>
                  </a:cubicBezTo>
                  <a:lnTo>
                    <a:pt x="1082" y="428"/>
                  </a:lnTo>
                  <a:cubicBezTo>
                    <a:pt x="1123" y="567"/>
                    <a:pt x="1251" y="669"/>
                    <a:pt x="1403" y="669"/>
                  </a:cubicBezTo>
                  <a:cubicBezTo>
                    <a:pt x="1588" y="669"/>
                    <a:pt x="1738" y="519"/>
                    <a:pt x="1738" y="335"/>
                  </a:cubicBezTo>
                  <a:cubicBezTo>
                    <a:pt x="1738" y="150"/>
                    <a:pt x="1588" y="0"/>
                    <a:pt x="1403" y="0"/>
                  </a:cubicBezTo>
                  <a:cubicBezTo>
                    <a:pt x="1251" y="0"/>
                    <a:pt x="1123" y="102"/>
                    <a:pt x="1082" y="241"/>
                  </a:cubicBezTo>
                  <a:lnTo>
                    <a:pt x="94" y="241"/>
                  </a:lnTo>
                  <a:cubicBezTo>
                    <a:pt x="42" y="241"/>
                    <a:pt x="0" y="283"/>
                    <a:pt x="0" y="335"/>
                  </a:cubicBezTo>
                  <a:close/>
                  <a:moveTo>
                    <a:pt x="1403" y="187"/>
                  </a:moveTo>
                  <a:cubicBezTo>
                    <a:pt x="1484" y="187"/>
                    <a:pt x="1550" y="253"/>
                    <a:pt x="1550" y="335"/>
                  </a:cubicBezTo>
                  <a:cubicBezTo>
                    <a:pt x="1550" y="416"/>
                    <a:pt x="1484" y="482"/>
                    <a:pt x="1403" y="482"/>
                  </a:cubicBezTo>
                  <a:cubicBezTo>
                    <a:pt x="1322" y="482"/>
                    <a:pt x="1256" y="416"/>
                    <a:pt x="1256" y="335"/>
                  </a:cubicBezTo>
                  <a:cubicBezTo>
                    <a:pt x="1256" y="253"/>
                    <a:pt x="1322" y="187"/>
                    <a:pt x="1403" y="1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279008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28CEE7-1CF9-4A93-B76F-D7123CE121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800" dirty="0"/>
              <a:t>Ўзбекистон </a:t>
            </a:r>
            <a:r>
              <a:rPr lang="ru-RU" sz="4800" dirty="0" err="1"/>
              <a:t>Республикасида</a:t>
            </a:r>
            <a:r>
              <a:rPr lang="ru-RU" sz="4800" dirty="0"/>
              <a:t> комплаенс </a:t>
            </a:r>
            <a:r>
              <a:rPr lang="ru-RU" sz="4800" dirty="0" err="1"/>
              <a:t>функцияларини</a:t>
            </a:r>
            <a:r>
              <a:rPr lang="ru-RU" sz="4800" dirty="0"/>
              <a:t> </a:t>
            </a:r>
            <a:r>
              <a:rPr lang="ru-RU" sz="4800" dirty="0" err="1"/>
              <a:t>ташкил</a:t>
            </a:r>
            <a:r>
              <a:rPr lang="ru-RU" sz="4800" dirty="0"/>
              <a:t> </a:t>
            </a:r>
            <a:r>
              <a:rPr lang="ru-RU" sz="4800" dirty="0" err="1"/>
              <a:t>этиш</a:t>
            </a:r>
            <a:r>
              <a:rPr lang="ru-RU" sz="4800" dirty="0"/>
              <a:t> </a:t>
            </a:r>
            <a:r>
              <a:rPr lang="ru-RU" sz="4800" dirty="0" err="1"/>
              <a:t>амалиёти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34760707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BE802EA-A620-474C-915E-3CB66C9E91FB}"/>
              </a:ext>
            </a:extLst>
          </p:cNvPr>
          <p:cNvGrpSpPr/>
          <p:nvPr/>
        </p:nvGrpSpPr>
        <p:grpSpPr>
          <a:xfrm>
            <a:off x="438149" y="2173382"/>
            <a:ext cx="8166023" cy="4100418"/>
            <a:chOff x="858470" y="2502593"/>
            <a:chExt cx="7220306" cy="2671395"/>
          </a:xfrm>
        </p:grpSpPr>
        <p:sp>
          <p:nvSpPr>
            <p:cNvPr id="13" name="Rounded Rectangle 2">
              <a:extLst>
                <a:ext uri="{FF2B5EF4-FFF2-40B4-BE49-F238E27FC236}">
                  <a16:creationId xmlns:a16="http://schemas.microsoft.com/office/drawing/2014/main" id="{3ECDCBA6-2181-47AB-A439-4F35C6D2138F}"/>
                </a:ext>
              </a:extLst>
            </p:cNvPr>
            <p:cNvSpPr/>
            <p:nvPr/>
          </p:nvSpPr>
          <p:spPr>
            <a:xfrm>
              <a:off x="3497459" y="3537352"/>
              <a:ext cx="4044806" cy="44982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1BD7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lnSpc>
                  <a:spcPct val="90000"/>
                </a:lnSpc>
                <a:spcAft>
                  <a:spcPts val="200"/>
                </a:spcAft>
              </a:pPr>
              <a:r>
                <a:rPr lang="ru-RU" sz="1400" b="1" spc="-10" dirty="0" err="1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Марказий</a:t>
              </a:r>
              <a:r>
                <a:rPr lang="ru-RU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 </a:t>
              </a:r>
              <a:r>
                <a:rPr lang="ru-RU" sz="1400" b="1" spc="-10" dirty="0" err="1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Осиё</a:t>
              </a:r>
              <a:r>
                <a:rPr lang="ru-RU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 </a:t>
              </a:r>
              <a:r>
                <a:rPr lang="ru-RU" sz="1400" b="1" spc="-10" dirty="0" err="1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давлат</a:t>
              </a:r>
              <a:r>
                <a:rPr lang="ru-RU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 </a:t>
              </a:r>
              <a:r>
                <a:rPr lang="ru-RU" sz="1400" b="1" spc="-10" dirty="0" err="1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ташкилотида</a:t>
              </a:r>
              <a:r>
                <a:rPr lang="ru-RU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 комплаенс </a:t>
              </a:r>
              <a:r>
                <a:rPr lang="ru-RU" sz="1400" b="1" spc="-10" dirty="0" err="1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бўлинмаси</a:t>
              </a:r>
              <a:endParaRPr lang="ru-RU" sz="1400" b="1" spc="-1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/>
              </a:endParaRPr>
            </a:p>
          </p:txBody>
        </p:sp>
        <p:sp>
          <p:nvSpPr>
            <p:cNvPr id="39" name="Rounded Rectangle 39">
              <a:extLst>
                <a:ext uri="{FF2B5EF4-FFF2-40B4-BE49-F238E27FC236}">
                  <a16:creationId xmlns:a16="http://schemas.microsoft.com/office/drawing/2014/main" id="{01EE0DC2-0675-4807-9FCD-58C4D092EF1E}"/>
                </a:ext>
              </a:extLst>
            </p:cNvPr>
            <p:cNvSpPr/>
            <p:nvPr/>
          </p:nvSpPr>
          <p:spPr>
            <a:xfrm>
              <a:off x="3497459" y="2502593"/>
              <a:ext cx="4044806" cy="44982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1BD7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lnSpc>
                  <a:spcPct val="90000"/>
                </a:lnSpc>
                <a:spcAft>
                  <a:spcPts val="200"/>
                </a:spcAft>
              </a:pPr>
              <a:r>
                <a:rPr lang="ru-RU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Давлат </a:t>
              </a:r>
              <a:r>
                <a:rPr lang="ru-RU" sz="1400" b="1" spc="-10" dirty="0" err="1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ташкилоти</a:t>
              </a:r>
              <a:r>
                <a:rPr lang="ru-RU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 </a:t>
              </a:r>
              <a:r>
                <a:rPr lang="ru-RU" sz="1400" b="1" spc="-10" dirty="0" err="1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раҳбари</a:t>
              </a:r>
              <a:endParaRPr lang="ru-RU" sz="1400" b="1" spc="-1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/>
              </a:endParaRPr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B0801B93-A9C7-4132-8B5F-CEFF066DB1BE}"/>
                </a:ext>
              </a:extLst>
            </p:cNvPr>
            <p:cNvCxnSpPr>
              <a:cxnSpLocks/>
              <a:stCxn id="13" idx="0"/>
              <a:endCxn id="39" idx="2"/>
            </p:cNvCxnSpPr>
            <p:nvPr/>
          </p:nvCxnSpPr>
          <p:spPr>
            <a:xfrm flipV="1">
              <a:off x="5519862" y="2952419"/>
              <a:ext cx="0" cy="584933"/>
            </a:xfrm>
            <a:prstGeom prst="straightConnector1">
              <a:avLst/>
            </a:prstGeom>
            <a:ln w="12700">
              <a:solidFill>
                <a:srgbClr val="1BD7D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004DAA62-EB3A-4471-829E-BCA2FA9A2A7C}"/>
                </a:ext>
              </a:extLst>
            </p:cNvPr>
            <p:cNvCxnSpPr>
              <a:cxnSpLocks/>
              <a:stCxn id="59" idx="0"/>
              <a:endCxn id="13" idx="2"/>
            </p:cNvCxnSpPr>
            <p:nvPr/>
          </p:nvCxnSpPr>
          <p:spPr>
            <a:xfrm flipV="1">
              <a:off x="5519862" y="3987178"/>
              <a:ext cx="0" cy="568901"/>
            </a:xfrm>
            <a:prstGeom prst="straightConnector1">
              <a:avLst/>
            </a:prstGeom>
            <a:ln w="12700">
              <a:solidFill>
                <a:srgbClr val="1BD7D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ounded Rectangle 2">
              <a:extLst>
                <a:ext uri="{FF2B5EF4-FFF2-40B4-BE49-F238E27FC236}">
                  <a16:creationId xmlns:a16="http://schemas.microsoft.com/office/drawing/2014/main" id="{E0E53C08-9D4D-4284-8055-A09C6AB3B104}"/>
                </a:ext>
              </a:extLst>
            </p:cNvPr>
            <p:cNvSpPr/>
            <p:nvPr/>
          </p:nvSpPr>
          <p:spPr>
            <a:xfrm>
              <a:off x="3208054" y="4556079"/>
              <a:ext cx="1475764" cy="44982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1BD7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" rIns="0" bIns="54000" rtlCol="0" anchor="ctr"/>
            <a:lstStyle/>
            <a:p>
              <a:pPr algn="ctr">
                <a:lnSpc>
                  <a:spcPct val="90000"/>
                </a:lnSpc>
                <a:spcAft>
                  <a:spcPts val="200"/>
                </a:spcAft>
              </a:pPr>
              <a:r>
                <a:rPr lang="ru-RU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1 </a:t>
              </a:r>
              <a:r>
                <a:rPr lang="uz-Cyrl-UZ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бўйсунувчи </a:t>
              </a:r>
              <a:r>
                <a:rPr lang="ru-RU" sz="1400" b="1" spc="-10" dirty="0" err="1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муассаса</a:t>
              </a:r>
              <a:endParaRPr lang="ru-RU" sz="1400" b="1" spc="-1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/>
              </a:endParaRP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058FCDBA-F475-4474-A590-5321D0CF0CC1}"/>
                </a:ext>
              </a:extLst>
            </p:cNvPr>
            <p:cNvCxnSpPr>
              <a:cxnSpLocks/>
              <a:stCxn id="60" idx="0"/>
              <a:endCxn id="13" idx="2"/>
            </p:cNvCxnSpPr>
            <p:nvPr/>
          </p:nvCxnSpPr>
          <p:spPr>
            <a:xfrm flipH="1" flipV="1">
              <a:off x="5519862" y="3987178"/>
              <a:ext cx="1612188" cy="568901"/>
            </a:xfrm>
            <a:prstGeom prst="straightConnector1">
              <a:avLst/>
            </a:prstGeom>
            <a:ln w="12700">
              <a:solidFill>
                <a:srgbClr val="1BD7D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30FC0F37-4DFB-4BA3-B22E-284A1B7F900F}"/>
                </a:ext>
              </a:extLst>
            </p:cNvPr>
            <p:cNvCxnSpPr>
              <a:cxnSpLocks/>
              <a:stCxn id="43" idx="0"/>
              <a:endCxn id="13" idx="2"/>
            </p:cNvCxnSpPr>
            <p:nvPr/>
          </p:nvCxnSpPr>
          <p:spPr>
            <a:xfrm flipV="1">
              <a:off x="3945936" y="3987178"/>
              <a:ext cx="1573926" cy="568901"/>
            </a:xfrm>
            <a:prstGeom prst="straightConnector1">
              <a:avLst/>
            </a:prstGeom>
            <a:ln w="12700">
              <a:solidFill>
                <a:srgbClr val="1BD7D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14AE3B6-E444-415E-A1CA-D57079DCEE6C}"/>
                </a:ext>
              </a:extLst>
            </p:cNvPr>
            <p:cNvSpPr/>
            <p:nvPr/>
          </p:nvSpPr>
          <p:spPr>
            <a:xfrm>
              <a:off x="858470" y="3292633"/>
              <a:ext cx="7220306" cy="939265"/>
            </a:xfrm>
            <a:prstGeom prst="rect">
              <a:avLst/>
            </a:prstGeom>
            <a:noFill/>
            <a:ln>
              <a:solidFill>
                <a:srgbClr val="A39CFF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uz-Cyrl-UZ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ўлинма бошлиғи</a:t>
              </a:r>
              <a:endPara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нга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ўйсунувчи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одимлар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1324EF4-036F-4C15-A749-B95FCD52B525}"/>
                </a:ext>
              </a:extLst>
            </p:cNvPr>
            <p:cNvSpPr/>
            <p:nvPr/>
          </p:nvSpPr>
          <p:spPr>
            <a:xfrm>
              <a:off x="858470" y="4234723"/>
              <a:ext cx="7220306" cy="939265"/>
            </a:xfrm>
            <a:prstGeom prst="rect">
              <a:avLst/>
            </a:prstGeom>
            <a:noFill/>
            <a:ln>
              <a:solidFill>
                <a:srgbClr val="3A07DF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рупцияга қарши </a:t>
              </a:r>
            </a:p>
            <a:p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урашиш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ун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съуллар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Rounded Rectangle 2">
              <a:extLst>
                <a:ext uri="{FF2B5EF4-FFF2-40B4-BE49-F238E27FC236}">
                  <a16:creationId xmlns:a16="http://schemas.microsoft.com/office/drawing/2014/main" id="{4A3C339D-1A19-489B-8B8C-444EA0C34503}"/>
                </a:ext>
              </a:extLst>
            </p:cNvPr>
            <p:cNvSpPr/>
            <p:nvPr/>
          </p:nvSpPr>
          <p:spPr>
            <a:xfrm>
              <a:off x="4781980" y="4556079"/>
              <a:ext cx="1475764" cy="44982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1BD7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" rIns="0" bIns="54000" rtlCol="0" anchor="ctr"/>
            <a:lstStyle/>
            <a:p>
              <a:pPr algn="ctr">
                <a:lnSpc>
                  <a:spcPct val="90000"/>
                </a:lnSpc>
                <a:spcAft>
                  <a:spcPts val="200"/>
                </a:spcAft>
              </a:pPr>
              <a:r>
                <a:rPr lang="ru-RU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2 </a:t>
              </a:r>
              <a:r>
                <a:rPr lang="uz-Cyrl-UZ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бўйсунувчи </a:t>
              </a:r>
              <a:r>
                <a:rPr lang="ru-RU" sz="1400" b="1" spc="-10" dirty="0" err="1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муассаса</a:t>
              </a:r>
              <a:endParaRPr lang="ru-RU" sz="1400" b="1" spc="-1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/>
              </a:endParaRPr>
            </a:p>
          </p:txBody>
        </p:sp>
        <p:sp>
          <p:nvSpPr>
            <p:cNvPr id="60" name="Rounded Rectangle 2">
              <a:extLst>
                <a:ext uri="{FF2B5EF4-FFF2-40B4-BE49-F238E27FC236}">
                  <a16:creationId xmlns:a16="http://schemas.microsoft.com/office/drawing/2014/main" id="{21CABA32-DB71-4F77-A67D-86710F25183C}"/>
                </a:ext>
              </a:extLst>
            </p:cNvPr>
            <p:cNvSpPr/>
            <p:nvPr/>
          </p:nvSpPr>
          <p:spPr>
            <a:xfrm>
              <a:off x="6394168" y="4556079"/>
              <a:ext cx="1475764" cy="44982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1BD7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54000" rIns="0" bIns="54000" rtlCol="0" anchor="ctr"/>
            <a:lstStyle/>
            <a:p>
              <a:pPr algn="ctr">
                <a:lnSpc>
                  <a:spcPct val="90000"/>
                </a:lnSpc>
                <a:spcAft>
                  <a:spcPts val="200"/>
                </a:spcAft>
              </a:pPr>
              <a:r>
                <a:rPr lang="en-US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n+1</a:t>
              </a:r>
              <a:r>
                <a:rPr lang="uz-Cyrl-UZ" sz="1400" b="1" spc="-10" dirty="0">
                  <a:solidFill>
                    <a:schemeClr val="bg2">
                      <a:lumMod val="25000"/>
                    </a:schemeClr>
                  </a:solidFill>
                  <a:latin typeface="Arial Narrow" panose="020B0606020202030204" pitchFamily="34" charset="0"/>
                  <a:cs typeface="Arial"/>
                </a:rPr>
                <a:t> бўйсунувчи муассаса</a:t>
              </a:r>
              <a:endParaRPr lang="ru-RU" sz="1400" b="1" spc="-1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EFA38C6-15AE-4764-AB72-3B0BD6CD54C5}"/>
                </a:ext>
              </a:extLst>
            </p:cNvPr>
            <p:cNvSpPr txBox="1"/>
            <p:nvPr/>
          </p:nvSpPr>
          <p:spPr>
            <a:xfrm>
              <a:off x="5672007" y="3024293"/>
              <a:ext cx="2404440" cy="2005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ўғридан-тўғри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ириш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7AFF3CD-40BB-4271-AD1F-E7661BB6C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Комплаенс </a:t>
            </a:r>
            <a:r>
              <a:rPr lang="ru-RU" sz="2200" dirty="0" err="1"/>
              <a:t>бўлинманинг</a:t>
            </a:r>
            <a:r>
              <a:rPr lang="ru-RU" sz="2200" dirty="0"/>
              <a:t> </a:t>
            </a:r>
            <a:r>
              <a:rPr lang="ru-RU" sz="2200" dirty="0" err="1"/>
              <a:t>ўрни</a:t>
            </a:r>
            <a:r>
              <a:rPr lang="ru-RU" sz="2200" dirty="0"/>
              <a:t> </a:t>
            </a:r>
            <a:r>
              <a:rPr lang="ru-RU" sz="2200" dirty="0" err="1"/>
              <a:t>ва</a:t>
            </a:r>
            <a:r>
              <a:rPr lang="ru-RU" sz="2200" dirty="0"/>
              <a:t> роли: </a:t>
            </a:r>
            <a:br>
              <a:rPr lang="ru-RU" sz="2200" dirty="0"/>
            </a:br>
            <a:r>
              <a:rPr lang="ru-RU" sz="2200" dirty="0"/>
              <a:t>Ўзбекистон </a:t>
            </a:r>
            <a:r>
              <a:rPr lang="ru-RU" sz="2200" dirty="0" err="1"/>
              <a:t>Республикасида</a:t>
            </a:r>
            <a:r>
              <a:rPr lang="ru-RU" sz="2200" dirty="0"/>
              <a:t> комплаенс </a:t>
            </a:r>
            <a:r>
              <a:rPr lang="ru-RU" sz="2200" dirty="0" err="1"/>
              <a:t>функцияларини</a:t>
            </a:r>
            <a:r>
              <a:rPr lang="ru-RU" sz="2200" dirty="0"/>
              <a:t> </a:t>
            </a:r>
            <a:r>
              <a:rPr lang="ru-RU" sz="2200" dirty="0" err="1"/>
              <a:t>ташкил</a:t>
            </a:r>
            <a:r>
              <a:rPr lang="ru-RU" sz="2200" dirty="0"/>
              <a:t> </a:t>
            </a:r>
            <a:r>
              <a:rPr lang="ru-RU" sz="2200" dirty="0" err="1"/>
              <a:t>этиш</a:t>
            </a:r>
            <a:r>
              <a:rPr lang="ru-RU" sz="2200" dirty="0"/>
              <a:t> </a:t>
            </a:r>
            <a:r>
              <a:rPr lang="ru-RU" sz="2200" dirty="0" err="1"/>
              <a:t>амалиёти</a:t>
            </a:r>
            <a:r>
              <a:rPr lang="en-US" sz="2200" dirty="0"/>
              <a:t> </a:t>
            </a:r>
            <a:r>
              <a:rPr lang="ru-RU" sz="2200" dirty="0"/>
              <a:t>(1/9)</a:t>
            </a:r>
            <a:endParaRPr lang="en-US" sz="2200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97BC751-180E-4FE4-AC4A-5C0D433D47F3}"/>
              </a:ext>
            </a:extLst>
          </p:cNvPr>
          <p:cNvGrpSpPr/>
          <p:nvPr/>
        </p:nvGrpSpPr>
        <p:grpSpPr>
          <a:xfrm>
            <a:off x="431998" y="1291411"/>
            <a:ext cx="11353800" cy="679330"/>
            <a:chOff x="431998" y="1497505"/>
            <a:chExt cx="7042690" cy="630869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E946B255-818E-41C9-B50E-2B1C770BC713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1A89BF14-300C-4FB9-8270-B052B03487D5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Амалиётд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Ўзбекистон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еспубликасид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мплаенс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инмаларини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уйидаг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шкилий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узилмас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ўп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чрайд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69BBB01D-DA9E-4FD2-8509-F68389EF262E}"/>
              </a:ext>
            </a:extLst>
          </p:cNvPr>
          <p:cNvSpPr txBox="1"/>
          <p:nvPr/>
        </p:nvSpPr>
        <p:spPr>
          <a:xfrm>
            <a:off x="9633569" y="2168741"/>
            <a:ext cx="2086577" cy="372409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нма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дим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ни: 1-3</a:t>
            </a:r>
          </a:p>
          <a:p>
            <a:pPr>
              <a:spcAft>
                <a:spcPts val="2400"/>
              </a:spcAft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дуд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нмалар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лаенс-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ъул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оҳ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штат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лик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ч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сб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галлаб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арадиганлар</a:t>
            </a:r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2400"/>
              </a:spcAft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аенс</a:t>
            </a:r>
            <a:r>
              <a:rPr lang="uz-Cyrl-UZ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ъулла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ака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қуқ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ҳофаз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лар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жрибаси</a:t>
            </a:r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bject 12">
            <a:extLst>
              <a:ext uri="{FF2B5EF4-FFF2-40B4-BE49-F238E27FC236}">
                <a16:creationId xmlns:a16="http://schemas.microsoft.com/office/drawing/2014/main" id="{469EE694-0F09-43E1-8AC4-89858D1BC748}"/>
              </a:ext>
            </a:extLst>
          </p:cNvPr>
          <p:cNvSpPr/>
          <p:nvPr/>
        </p:nvSpPr>
        <p:spPr>
          <a:xfrm>
            <a:off x="8831738" y="2168741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5" name="Group 2089">
            <a:extLst>
              <a:ext uri="{FF2B5EF4-FFF2-40B4-BE49-F238E27FC236}">
                <a16:creationId xmlns:a16="http://schemas.microsoft.com/office/drawing/2014/main" id="{29D56473-3250-44E2-B48D-274D21553F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61288" y="2232586"/>
            <a:ext cx="569493" cy="569496"/>
            <a:chOff x="7085" y="1222"/>
            <a:chExt cx="173" cy="173"/>
          </a:xfrm>
          <a:solidFill>
            <a:schemeClr val="bg2">
              <a:lumMod val="25000"/>
            </a:schemeClr>
          </a:solidFill>
        </p:grpSpPr>
        <p:sp>
          <p:nvSpPr>
            <p:cNvPr id="36" name="Freeform 2090">
              <a:extLst>
                <a:ext uri="{FF2B5EF4-FFF2-40B4-BE49-F238E27FC236}">
                  <a16:creationId xmlns:a16="http://schemas.microsoft.com/office/drawing/2014/main" id="{62D78A00-F91B-425C-9595-100766AAA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5" y="1222"/>
              <a:ext cx="173" cy="173"/>
            </a:xfrm>
            <a:custGeom>
              <a:avLst/>
              <a:gdLst>
                <a:gd name="T0" fmla="*/ 6933 w 8267"/>
                <a:gd name="T1" fmla="*/ 2098 h 8267"/>
                <a:gd name="T2" fmla="*/ 5467 w 8267"/>
                <a:gd name="T3" fmla="*/ 1333 h 8267"/>
                <a:gd name="T4" fmla="*/ 3078 w 8267"/>
                <a:gd name="T5" fmla="*/ 2504 h 8267"/>
                <a:gd name="T6" fmla="*/ 1867 w 8267"/>
                <a:gd name="T7" fmla="*/ 0 h 8267"/>
                <a:gd name="T8" fmla="*/ 475 w 8267"/>
                <a:gd name="T9" fmla="*/ 2558 h 8267"/>
                <a:gd name="T10" fmla="*/ 552 w 8267"/>
                <a:gd name="T11" fmla="*/ 2814 h 8267"/>
                <a:gd name="T12" fmla="*/ 2546 w 8267"/>
                <a:gd name="T13" fmla="*/ 3495 h 8267"/>
                <a:gd name="T14" fmla="*/ 1333 w 8267"/>
                <a:gd name="T15" fmla="*/ 5501 h 8267"/>
                <a:gd name="T16" fmla="*/ 1733 w 8267"/>
                <a:gd name="T17" fmla="*/ 7733 h 8267"/>
                <a:gd name="T18" fmla="*/ 8267 w 8267"/>
                <a:gd name="T19" fmla="*/ 7600 h 8267"/>
                <a:gd name="T20" fmla="*/ 7333 w 8267"/>
                <a:gd name="T21" fmla="*/ 4533 h 8267"/>
                <a:gd name="T22" fmla="*/ 5367 w 8267"/>
                <a:gd name="T23" fmla="*/ 2729 h 8267"/>
                <a:gd name="T24" fmla="*/ 8000 w 8267"/>
                <a:gd name="T25" fmla="*/ 3197 h 8267"/>
                <a:gd name="T26" fmla="*/ 1922 w 8267"/>
                <a:gd name="T27" fmla="*/ 933 h 8267"/>
                <a:gd name="T28" fmla="*/ 1200 w 8267"/>
                <a:gd name="T29" fmla="*/ 933 h 8267"/>
                <a:gd name="T30" fmla="*/ 1600 w 8267"/>
                <a:gd name="T31" fmla="*/ 1104 h 8267"/>
                <a:gd name="T32" fmla="*/ 1200 w 8267"/>
                <a:gd name="T33" fmla="*/ 1333 h 8267"/>
                <a:gd name="T34" fmla="*/ 2133 w 8267"/>
                <a:gd name="T35" fmla="*/ 2227 h 8267"/>
                <a:gd name="T36" fmla="*/ 5867 w 8267"/>
                <a:gd name="T37" fmla="*/ 5501 h 8267"/>
                <a:gd name="T38" fmla="*/ 5124 w 8267"/>
                <a:gd name="T39" fmla="*/ 5061 h 8267"/>
                <a:gd name="T40" fmla="*/ 4133 w 8267"/>
                <a:gd name="T41" fmla="*/ 6100 h 8267"/>
                <a:gd name="T42" fmla="*/ 3895 w 8267"/>
                <a:gd name="T43" fmla="*/ 6254 h 8267"/>
                <a:gd name="T44" fmla="*/ 4281 w 8267"/>
                <a:gd name="T45" fmla="*/ 7067 h 8267"/>
                <a:gd name="T46" fmla="*/ 3963 w 8267"/>
                <a:gd name="T47" fmla="*/ 6800 h 8267"/>
                <a:gd name="T48" fmla="*/ 4372 w 8267"/>
                <a:gd name="T49" fmla="*/ 6254 h 8267"/>
                <a:gd name="T50" fmla="*/ 5363 w 8267"/>
                <a:gd name="T51" fmla="*/ 4669 h 8267"/>
                <a:gd name="T52" fmla="*/ 5363 w 8267"/>
                <a:gd name="T53" fmla="*/ 4669 h 8267"/>
                <a:gd name="T54" fmla="*/ 3786 w 8267"/>
                <a:gd name="T55" fmla="*/ 4000 h 8267"/>
                <a:gd name="T56" fmla="*/ 3072 w 8267"/>
                <a:gd name="T57" fmla="*/ 4777 h 8267"/>
                <a:gd name="T58" fmla="*/ 3072 w 8267"/>
                <a:gd name="T59" fmla="*/ 4777 h 8267"/>
                <a:gd name="T60" fmla="*/ 3258 w 8267"/>
                <a:gd name="T61" fmla="*/ 5758 h 8267"/>
                <a:gd name="T62" fmla="*/ 1867 w 8267"/>
                <a:gd name="T63" fmla="*/ 3467 h 8267"/>
                <a:gd name="T64" fmla="*/ 2039 w 8267"/>
                <a:gd name="T65" fmla="*/ 4039 h 8267"/>
                <a:gd name="T66" fmla="*/ 1200 w 8267"/>
                <a:gd name="T67" fmla="*/ 4400 h 8267"/>
                <a:gd name="T68" fmla="*/ 2533 w 8267"/>
                <a:gd name="T69" fmla="*/ 4533 h 8267"/>
                <a:gd name="T70" fmla="*/ 2133 w 8267"/>
                <a:gd name="T71" fmla="*/ 5563 h 8267"/>
                <a:gd name="T72" fmla="*/ 1600 w 8267"/>
                <a:gd name="T73" fmla="*/ 7333 h 8267"/>
                <a:gd name="T74" fmla="*/ 267 w 8267"/>
                <a:gd name="T75" fmla="*/ 7333 h 8267"/>
                <a:gd name="T76" fmla="*/ 2323 w 8267"/>
                <a:gd name="T77" fmla="*/ 5756 h 8267"/>
                <a:gd name="T78" fmla="*/ 2000 w 8267"/>
                <a:gd name="T79" fmla="*/ 7067 h 8267"/>
                <a:gd name="T80" fmla="*/ 3652 w 8267"/>
                <a:gd name="T81" fmla="*/ 6711 h 8267"/>
                <a:gd name="T82" fmla="*/ 2667 w 8267"/>
                <a:gd name="T83" fmla="*/ 6933 h 8267"/>
                <a:gd name="T84" fmla="*/ 7715 w 8267"/>
                <a:gd name="T85" fmla="*/ 6014 h 8267"/>
                <a:gd name="T86" fmla="*/ 7200 w 8267"/>
                <a:gd name="T87" fmla="*/ 6400 h 8267"/>
                <a:gd name="T88" fmla="*/ 5600 w 8267"/>
                <a:gd name="T89" fmla="*/ 8000 h 8267"/>
                <a:gd name="T90" fmla="*/ 4536 w 8267"/>
                <a:gd name="T91" fmla="*/ 6948 h 8267"/>
                <a:gd name="T92" fmla="*/ 6267 w 8267"/>
                <a:gd name="T93" fmla="*/ 6903 h 8267"/>
                <a:gd name="T94" fmla="*/ 5438 w 8267"/>
                <a:gd name="T95" fmla="*/ 5908 h 8267"/>
                <a:gd name="T96" fmla="*/ 6667 w 8267"/>
                <a:gd name="T97" fmla="*/ 5563 h 8267"/>
                <a:gd name="T98" fmla="*/ 6667 w 8267"/>
                <a:gd name="T99" fmla="*/ 5427 h 8267"/>
                <a:gd name="T100" fmla="*/ 5811 w 8267"/>
                <a:gd name="T101" fmla="*/ 4400 h 8267"/>
                <a:gd name="T102" fmla="*/ 6400 w 8267"/>
                <a:gd name="T103" fmla="*/ 5200 h 8267"/>
                <a:gd name="T104" fmla="*/ 6133 w 8267"/>
                <a:gd name="T105" fmla="*/ 3945 h 8267"/>
                <a:gd name="T106" fmla="*/ 5467 w 8267"/>
                <a:gd name="T107" fmla="*/ 3878 h 8267"/>
                <a:gd name="T108" fmla="*/ 3786 w 8267"/>
                <a:gd name="T109" fmla="*/ 3733 h 8267"/>
                <a:gd name="T110" fmla="*/ 4987 w 8267"/>
                <a:gd name="T111" fmla="*/ 2775 h 8267"/>
                <a:gd name="T112" fmla="*/ 6400 w 8267"/>
                <a:gd name="T113" fmla="*/ 267 h 8267"/>
                <a:gd name="T114" fmla="*/ 6572 w 8267"/>
                <a:gd name="T115" fmla="*/ 839 h 8267"/>
                <a:gd name="T116" fmla="*/ 5733 w 8267"/>
                <a:gd name="T117" fmla="*/ 1200 h 8267"/>
                <a:gd name="T118" fmla="*/ 7067 w 8267"/>
                <a:gd name="T119" fmla="*/ 1333 h 8267"/>
                <a:gd name="T120" fmla="*/ 6133 w 8267"/>
                <a:gd name="T121" fmla="*/ 2227 h 8267"/>
                <a:gd name="T122" fmla="*/ 6400 w 8267"/>
                <a:gd name="T123" fmla="*/ 2533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67" h="8267">
                  <a:moveTo>
                    <a:pt x="8267" y="4267"/>
                  </a:moveTo>
                  <a:lnTo>
                    <a:pt x="8267" y="3197"/>
                  </a:lnTo>
                  <a:cubicBezTo>
                    <a:pt x="8267" y="2900"/>
                    <a:pt x="8076" y="2643"/>
                    <a:pt x="7792" y="2558"/>
                  </a:cubicBezTo>
                  <a:lnTo>
                    <a:pt x="6933" y="2301"/>
                  </a:lnTo>
                  <a:lnTo>
                    <a:pt x="6933" y="2098"/>
                  </a:lnTo>
                  <a:cubicBezTo>
                    <a:pt x="7175" y="1929"/>
                    <a:pt x="7333" y="1650"/>
                    <a:pt x="7333" y="1333"/>
                  </a:cubicBezTo>
                  <a:lnTo>
                    <a:pt x="7333" y="933"/>
                  </a:lnTo>
                  <a:cubicBezTo>
                    <a:pt x="7333" y="419"/>
                    <a:pt x="6915" y="0"/>
                    <a:pt x="6400" y="0"/>
                  </a:cubicBezTo>
                  <a:cubicBezTo>
                    <a:pt x="5885" y="0"/>
                    <a:pt x="5467" y="419"/>
                    <a:pt x="5467" y="933"/>
                  </a:cubicBezTo>
                  <a:lnTo>
                    <a:pt x="5467" y="1333"/>
                  </a:lnTo>
                  <a:cubicBezTo>
                    <a:pt x="5467" y="1650"/>
                    <a:pt x="5625" y="1929"/>
                    <a:pt x="5867" y="2098"/>
                  </a:cubicBezTo>
                  <a:lnTo>
                    <a:pt x="5867" y="2301"/>
                  </a:lnTo>
                  <a:lnTo>
                    <a:pt x="5110" y="2528"/>
                  </a:lnTo>
                  <a:cubicBezTo>
                    <a:pt x="4826" y="2274"/>
                    <a:pt x="4465" y="2133"/>
                    <a:pt x="4081" y="2133"/>
                  </a:cubicBezTo>
                  <a:cubicBezTo>
                    <a:pt x="3698" y="2133"/>
                    <a:pt x="3349" y="2273"/>
                    <a:pt x="3078" y="2504"/>
                  </a:cubicBezTo>
                  <a:lnTo>
                    <a:pt x="2400" y="2301"/>
                  </a:lnTo>
                  <a:lnTo>
                    <a:pt x="2400" y="2098"/>
                  </a:lnTo>
                  <a:cubicBezTo>
                    <a:pt x="2641" y="1929"/>
                    <a:pt x="2800" y="1650"/>
                    <a:pt x="2800" y="1333"/>
                  </a:cubicBezTo>
                  <a:lnTo>
                    <a:pt x="2800" y="933"/>
                  </a:lnTo>
                  <a:cubicBezTo>
                    <a:pt x="2800" y="419"/>
                    <a:pt x="2381" y="0"/>
                    <a:pt x="1867" y="0"/>
                  </a:cubicBezTo>
                  <a:cubicBezTo>
                    <a:pt x="1352" y="0"/>
                    <a:pt x="933" y="419"/>
                    <a:pt x="933" y="933"/>
                  </a:cubicBezTo>
                  <a:lnTo>
                    <a:pt x="933" y="1333"/>
                  </a:lnTo>
                  <a:cubicBezTo>
                    <a:pt x="933" y="1650"/>
                    <a:pt x="1092" y="1929"/>
                    <a:pt x="1333" y="2098"/>
                  </a:cubicBezTo>
                  <a:lnTo>
                    <a:pt x="1333" y="2301"/>
                  </a:lnTo>
                  <a:lnTo>
                    <a:pt x="475" y="2558"/>
                  </a:lnTo>
                  <a:cubicBezTo>
                    <a:pt x="191" y="2643"/>
                    <a:pt x="0" y="2900"/>
                    <a:pt x="0" y="3197"/>
                  </a:cubicBezTo>
                  <a:lnTo>
                    <a:pt x="0" y="4267"/>
                  </a:lnTo>
                  <a:lnTo>
                    <a:pt x="267" y="4267"/>
                  </a:lnTo>
                  <a:lnTo>
                    <a:pt x="267" y="3197"/>
                  </a:lnTo>
                  <a:cubicBezTo>
                    <a:pt x="267" y="3019"/>
                    <a:pt x="381" y="2865"/>
                    <a:pt x="552" y="2814"/>
                  </a:cubicBezTo>
                  <a:lnTo>
                    <a:pt x="1410" y="2556"/>
                  </a:lnTo>
                  <a:cubicBezTo>
                    <a:pt x="1488" y="2657"/>
                    <a:pt x="1638" y="2800"/>
                    <a:pt x="1867" y="2800"/>
                  </a:cubicBezTo>
                  <a:cubicBezTo>
                    <a:pt x="2095" y="2800"/>
                    <a:pt x="2245" y="2657"/>
                    <a:pt x="2323" y="2556"/>
                  </a:cubicBezTo>
                  <a:lnTo>
                    <a:pt x="2870" y="2720"/>
                  </a:lnTo>
                  <a:cubicBezTo>
                    <a:pt x="2696" y="2938"/>
                    <a:pt x="2581" y="3204"/>
                    <a:pt x="2546" y="3495"/>
                  </a:cubicBezTo>
                  <a:cubicBezTo>
                    <a:pt x="2375" y="3314"/>
                    <a:pt x="2134" y="3200"/>
                    <a:pt x="1867" y="3200"/>
                  </a:cubicBezTo>
                  <a:cubicBezTo>
                    <a:pt x="1352" y="3200"/>
                    <a:pt x="933" y="3619"/>
                    <a:pt x="933" y="4133"/>
                  </a:cubicBezTo>
                  <a:lnTo>
                    <a:pt x="933" y="4533"/>
                  </a:lnTo>
                  <a:cubicBezTo>
                    <a:pt x="933" y="4850"/>
                    <a:pt x="1092" y="5129"/>
                    <a:pt x="1333" y="5298"/>
                  </a:cubicBezTo>
                  <a:lnTo>
                    <a:pt x="1333" y="5501"/>
                  </a:lnTo>
                  <a:lnTo>
                    <a:pt x="475" y="5758"/>
                  </a:lnTo>
                  <a:cubicBezTo>
                    <a:pt x="191" y="5843"/>
                    <a:pt x="0" y="6100"/>
                    <a:pt x="0" y="6397"/>
                  </a:cubicBezTo>
                  <a:lnTo>
                    <a:pt x="0" y="7600"/>
                  </a:lnTo>
                  <a:lnTo>
                    <a:pt x="1600" y="7600"/>
                  </a:lnTo>
                  <a:cubicBezTo>
                    <a:pt x="1673" y="7600"/>
                    <a:pt x="1733" y="7660"/>
                    <a:pt x="1733" y="7733"/>
                  </a:cubicBezTo>
                  <a:lnTo>
                    <a:pt x="1733" y="8267"/>
                  </a:lnTo>
                  <a:lnTo>
                    <a:pt x="6533" y="8267"/>
                  </a:lnTo>
                  <a:lnTo>
                    <a:pt x="6533" y="7733"/>
                  </a:lnTo>
                  <a:cubicBezTo>
                    <a:pt x="6533" y="7660"/>
                    <a:pt x="6593" y="7600"/>
                    <a:pt x="6667" y="7600"/>
                  </a:cubicBezTo>
                  <a:lnTo>
                    <a:pt x="8267" y="7600"/>
                  </a:lnTo>
                  <a:lnTo>
                    <a:pt x="8267" y="6397"/>
                  </a:lnTo>
                  <a:cubicBezTo>
                    <a:pt x="8267" y="6100"/>
                    <a:pt x="8076" y="5843"/>
                    <a:pt x="7792" y="5758"/>
                  </a:cubicBezTo>
                  <a:lnTo>
                    <a:pt x="6933" y="5501"/>
                  </a:lnTo>
                  <a:lnTo>
                    <a:pt x="6933" y="5298"/>
                  </a:lnTo>
                  <a:cubicBezTo>
                    <a:pt x="7175" y="5129"/>
                    <a:pt x="7333" y="4850"/>
                    <a:pt x="7333" y="4533"/>
                  </a:cubicBezTo>
                  <a:lnTo>
                    <a:pt x="7333" y="4133"/>
                  </a:lnTo>
                  <a:cubicBezTo>
                    <a:pt x="7333" y="3619"/>
                    <a:pt x="6915" y="3200"/>
                    <a:pt x="6400" y="3200"/>
                  </a:cubicBezTo>
                  <a:cubicBezTo>
                    <a:pt x="6139" y="3200"/>
                    <a:pt x="5903" y="3308"/>
                    <a:pt x="5733" y="3481"/>
                  </a:cubicBezTo>
                  <a:lnTo>
                    <a:pt x="5733" y="3355"/>
                  </a:lnTo>
                  <a:cubicBezTo>
                    <a:pt x="5733" y="3092"/>
                    <a:pt x="5590" y="2855"/>
                    <a:pt x="5367" y="2729"/>
                  </a:cubicBezTo>
                  <a:lnTo>
                    <a:pt x="5944" y="2556"/>
                  </a:lnTo>
                  <a:cubicBezTo>
                    <a:pt x="6021" y="2657"/>
                    <a:pt x="6171" y="2800"/>
                    <a:pt x="6400" y="2800"/>
                  </a:cubicBezTo>
                  <a:cubicBezTo>
                    <a:pt x="6629" y="2800"/>
                    <a:pt x="6779" y="2657"/>
                    <a:pt x="6856" y="2556"/>
                  </a:cubicBezTo>
                  <a:lnTo>
                    <a:pt x="7715" y="2814"/>
                  </a:lnTo>
                  <a:cubicBezTo>
                    <a:pt x="7885" y="2865"/>
                    <a:pt x="8000" y="3019"/>
                    <a:pt x="8000" y="3197"/>
                  </a:cubicBezTo>
                  <a:lnTo>
                    <a:pt x="8000" y="4267"/>
                  </a:lnTo>
                  <a:lnTo>
                    <a:pt x="8267" y="4267"/>
                  </a:lnTo>
                  <a:close/>
                  <a:moveTo>
                    <a:pt x="1867" y="267"/>
                  </a:moveTo>
                  <a:cubicBezTo>
                    <a:pt x="2234" y="267"/>
                    <a:pt x="2533" y="566"/>
                    <a:pt x="2533" y="933"/>
                  </a:cubicBezTo>
                  <a:lnTo>
                    <a:pt x="1922" y="933"/>
                  </a:lnTo>
                  <a:cubicBezTo>
                    <a:pt x="1837" y="933"/>
                    <a:pt x="1754" y="899"/>
                    <a:pt x="1694" y="839"/>
                  </a:cubicBezTo>
                  <a:lnTo>
                    <a:pt x="1600" y="745"/>
                  </a:lnTo>
                  <a:lnTo>
                    <a:pt x="1506" y="839"/>
                  </a:lnTo>
                  <a:cubicBezTo>
                    <a:pt x="1446" y="899"/>
                    <a:pt x="1363" y="933"/>
                    <a:pt x="1278" y="933"/>
                  </a:cubicBezTo>
                  <a:lnTo>
                    <a:pt x="1200" y="933"/>
                  </a:lnTo>
                  <a:cubicBezTo>
                    <a:pt x="1200" y="566"/>
                    <a:pt x="1499" y="267"/>
                    <a:pt x="1867" y="267"/>
                  </a:cubicBezTo>
                  <a:close/>
                  <a:moveTo>
                    <a:pt x="1200" y="1333"/>
                  </a:moveTo>
                  <a:lnTo>
                    <a:pt x="1200" y="1200"/>
                  </a:lnTo>
                  <a:lnTo>
                    <a:pt x="1278" y="1200"/>
                  </a:lnTo>
                  <a:cubicBezTo>
                    <a:pt x="1394" y="1200"/>
                    <a:pt x="1505" y="1167"/>
                    <a:pt x="1600" y="1104"/>
                  </a:cubicBezTo>
                  <a:cubicBezTo>
                    <a:pt x="1695" y="1167"/>
                    <a:pt x="1806" y="1200"/>
                    <a:pt x="1922" y="1200"/>
                  </a:cubicBezTo>
                  <a:lnTo>
                    <a:pt x="2533" y="1200"/>
                  </a:lnTo>
                  <a:lnTo>
                    <a:pt x="2533" y="1333"/>
                  </a:lnTo>
                  <a:cubicBezTo>
                    <a:pt x="2533" y="1701"/>
                    <a:pt x="2234" y="2000"/>
                    <a:pt x="1867" y="2000"/>
                  </a:cubicBezTo>
                  <a:cubicBezTo>
                    <a:pt x="1499" y="2000"/>
                    <a:pt x="1200" y="1701"/>
                    <a:pt x="1200" y="1333"/>
                  </a:cubicBezTo>
                  <a:close/>
                  <a:moveTo>
                    <a:pt x="1867" y="2533"/>
                  </a:moveTo>
                  <a:cubicBezTo>
                    <a:pt x="1725" y="2533"/>
                    <a:pt x="1633" y="2414"/>
                    <a:pt x="1600" y="2363"/>
                  </a:cubicBezTo>
                  <a:lnTo>
                    <a:pt x="1600" y="2227"/>
                  </a:lnTo>
                  <a:cubicBezTo>
                    <a:pt x="1685" y="2253"/>
                    <a:pt x="1774" y="2267"/>
                    <a:pt x="1867" y="2267"/>
                  </a:cubicBezTo>
                  <a:cubicBezTo>
                    <a:pt x="1959" y="2267"/>
                    <a:pt x="2049" y="2253"/>
                    <a:pt x="2133" y="2227"/>
                  </a:cubicBezTo>
                  <a:lnTo>
                    <a:pt x="2133" y="2363"/>
                  </a:lnTo>
                  <a:cubicBezTo>
                    <a:pt x="2100" y="2414"/>
                    <a:pt x="2008" y="2533"/>
                    <a:pt x="1867" y="2533"/>
                  </a:cubicBezTo>
                  <a:close/>
                  <a:moveTo>
                    <a:pt x="5532" y="4874"/>
                  </a:moveTo>
                  <a:cubicBezTo>
                    <a:pt x="5600" y="5046"/>
                    <a:pt x="5717" y="5193"/>
                    <a:pt x="5867" y="5298"/>
                  </a:cubicBezTo>
                  <a:lnTo>
                    <a:pt x="5867" y="5501"/>
                  </a:lnTo>
                  <a:lnTo>
                    <a:pt x="5009" y="5758"/>
                  </a:lnTo>
                  <a:cubicBezTo>
                    <a:pt x="4980" y="5767"/>
                    <a:pt x="4953" y="5778"/>
                    <a:pt x="4926" y="5790"/>
                  </a:cubicBezTo>
                  <a:lnTo>
                    <a:pt x="4800" y="5761"/>
                  </a:lnTo>
                  <a:lnTo>
                    <a:pt x="4800" y="5498"/>
                  </a:lnTo>
                  <a:cubicBezTo>
                    <a:pt x="4943" y="5383"/>
                    <a:pt x="5055" y="5233"/>
                    <a:pt x="5124" y="5061"/>
                  </a:cubicBezTo>
                  <a:cubicBezTo>
                    <a:pt x="5277" y="5047"/>
                    <a:pt x="5421" y="4982"/>
                    <a:pt x="5532" y="4874"/>
                  </a:cubicBezTo>
                  <a:close/>
                  <a:moveTo>
                    <a:pt x="4133" y="5733"/>
                  </a:moveTo>
                  <a:cubicBezTo>
                    <a:pt x="4275" y="5733"/>
                    <a:pt x="4410" y="5705"/>
                    <a:pt x="4533" y="5655"/>
                  </a:cubicBezTo>
                  <a:lnTo>
                    <a:pt x="4533" y="5800"/>
                  </a:lnTo>
                  <a:lnTo>
                    <a:pt x="4133" y="6100"/>
                  </a:lnTo>
                  <a:lnTo>
                    <a:pt x="3733" y="5800"/>
                  </a:lnTo>
                  <a:lnTo>
                    <a:pt x="3733" y="5655"/>
                  </a:lnTo>
                  <a:cubicBezTo>
                    <a:pt x="3857" y="5705"/>
                    <a:pt x="3992" y="5733"/>
                    <a:pt x="4133" y="5733"/>
                  </a:cubicBezTo>
                  <a:close/>
                  <a:moveTo>
                    <a:pt x="3570" y="6011"/>
                  </a:moveTo>
                  <a:lnTo>
                    <a:pt x="3895" y="6254"/>
                  </a:lnTo>
                  <a:lnTo>
                    <a:pt x="3560" y="6455"/>
                  </a:lnTo>
                  <a:lnTo>
                    <a:pt x="3476" y="6032"/>
                  </a:lnTo>
                  <a:lnTo>
                    <a:pt x="3570" y="6011"/>
                  </a:lnTo>
                  <a:close/>
                  <a:moveTo>
                    <a:pt x="3986" y="7067"/>
                  </a:moveTo>
                  <a:lnTo>
                    <a:pt x="4281" y="7067"/>
                  </a:lnTo>
                  <a:lnTo>
                    <a:pt x="4384" y="8000"/>
                  </a:lnTo>
                  <a:lnTo>
                    <a:pt x="3882" y="8000"/>
                  </a:lnTo>
                  <a:lnTo>
                    <a:pt x="3986" y="7067"/>
                  </a:lnTo>
                  <a:close/>
                  <a:moveTo>
                    <a:pt x="4304" y="6800"/>
                  </a:moveTo>
                  <a:lnTo>
                    <a:pt x="3963" y="6800"/>
                  </a:lnTo>
                  <a:lnTo>
                    <a:pt x="3886" y="6570"/>
                  </a:lnTo>
                  <a:lnTo>
                    <a:pt x="4133" y="6422"/>
                  </a:lnTo>
                  <a:lnTo>
                    <a:pt x="4380" y="6570"/>
                  </a:lnTo>
                  <a:lnTo>
                    <a:pt x="4304" y="6800"/>
                  </a:lnTo>
                  <a:close/>
                  <a:moveTo>
                    <a:pt x="4372" y="6254"/>
                  </a:moveTo>
                  <a:lnTo>
                    <a:pt x="4697" y="6011"/>
                  </a:lnTo>
                  <a:lnTo>
                    <a:pt x="4791" y="6032"/>
                  </a:lnTo>
                  <a:lnTo>
                    <a:pt x="4706" y="6455"/>
                  </a:lnTo>
                  <a:lnTo>
                    <a:pt x="4372" y="6254"/>
                  </a:lnTo>
                  <a:close/>
                  <a:moveTo>
                    <a:pt x="5363" y="4669"/>
                  </a:moveTo>
                  <a:cubicBezTo>
                    <a:pt x="5317" y="4720"/>
                    <a:pt x="5258" y="4755"/>
                    <a:pt x="5194" y="4777"/>
                  </a:cubicBezTo>
                  <a:cubicBezTo>
                    <a:pt x="5198" y="4741"/>
                    <a:pt x="5200" y="4704"/>
                    <a:pt x="5200" y="4667"/>
                  </a:cubicBezTo>
                  <a:lnTo>
                    <a:pt x="5200" y="4029"/>
                  </a:lnTo>
                  <a:cubicBezTo>
                    <a:pt x="5343" y="4083"/>
                    <a:pt x="5450" y="4209"/>
                    <a:pt x="5465" y="4360"/>
                  </a:cubicBezTo>
                  <a:cubicBezTo>
                    <a:pt x="5476" y="4475"/>
                    <a:pt x="5439" y="4585"/>
                    <a:pt x="5363" y="4669"/>
                  </a:cubicBezTo>
                  <a:close/>
                  <a:moveTo>
                    <a:pt x="4933" y="4667"/>
                  </a:moveTo>
                  <a:cubicBezTo>
                    <a:pt x="4933" y="5108"/>
                    <a:pt x="4575" y="5467"/>
                    <a:pt x="4133" y="5467"/>
                  </a:cubicBezTo>
                  <a:cubicBezTo>
                    <a:pt x="3692" y="5467"/>
                    <a:pt x="3333" y="5108"/>
                    <a:pt x="3333" y="4667"/>
                  </a:cubicBezTo>
                  <a:lnTo>
                    <a:pt x="3333" y="4000"/>
                  </a:lnTo>
                  <a:lnTo>
                    <a:pt x="3786" y="4000"/>
                  </a:lnTo>
                  <a:cubicBezTo>
                    <a:pt x="4077" y="4000"/>
                    <a:pt x="4359" y="3927"/>
                    <a:pt x="4612" y="3789"/>
                  </a:cubicBezTo>
                  <a:lnTo>
                    <a:pt x="4718" y="4000"/>
                  </a:lnTo>
                  <a:lnTo>
                    <a:pt x="4933" y="4000"/>
                  </a:lnTo>
                  <a:lnTo>
                    <a:pt x="4933" y="4667"/>
                  </a:lnTo>
                  <a:close/>
                  <a:moveTo>
                    <a:pt x="3072" y="4777"/>
                  </a:moveTo>
                  <a:cubicBezTo>
                    <a:pt x="3009" y="4755"/>
                    <a:pt x="2950" y="4720"/>
                    <a:pt x="2904" y="4669"/>
                  </a:cubicBezTo>
                  <a:cubicBezTo>
                    <a:pt x="2827" y="4585"/>
                    <a:pt x="2791" y="4475"/>
                    <a:pt x="2802" y="4360"/>
                  </a:cubicBezTo>
                  <a:cubicBezTo>
                    <a:pt x="2816" y="4209"/>
                    <a:pt x="2923" y="4083"/>
                    <a:pt x="3067" y="4029"/>
                  </a:cubicBezTo>
                  <a:lnTo>
                    <a:pt x="3067" y="4667"/>
                  </a:lnTo>
                  <a:cubicBezTo>
                    <a:pt x="3067" y="4704"/>
                    <a:pt x="3069" y="4741"/>
                    <a:pt x="3072" y="4777"/>
                  </a:cubicBezTo>
                  <a:close/>
                  <a:moveTo>
                    <a:pt x="3143" y="5061"/>
                  </a:moveTo>
                  <a:cubicBezTo>
                    <a:pt x="3212" y="5233"/>
                    <a:pt x="3324" y="5383"/>
                    <a:pt x="3467" y="5498"/>
                  </a:cubicBezTo>
                  <a:lnTo>
                    <a:pt x="3467" y="5761"/>
                  </a:lnTo>
                  <a:lnTo>
                    <a:pt x="3341" y="5790"/>
                  </a:lnTo>
                  <a:cubicBezTo>
                    <a:pt x="3314" y="5778"/>
                    <a:pt x="3286" y="5767"/>
                    <a:pt x="3258" y="5758"/>
                  </a:cubicBezTo>
                  <a:lnTo>
                    <a:pt x="2400" y="5501"/>
                  </a:lnTo>
                  <a:lnTo>
                    <a:pt x="2400" y="5298"/>
                  </a:lnTo>
                  <a:cubicBezTo>
                    <a:pt x="2550" y="5193"/>
                    <a:pt x="2667" y="5046"/>
                    <a:pt x="2735" y="4874"/>
                  </a:cubicBezTo>
                  <a:cubicBezTo>
                    <a:pt x="2845" y="4982"/>
                    <a:pt x="2989" y="5047"/>
                    <a:pt x="3143" y="5061"/>
                  </a:cubicBezTo>
                  <a:close/>
                  <a:moveTo>
                    <a:pt x="1867" y="3467"/>
                  </a:moveTo>
                  <a:cubicBezTo>
                    <a:pt x="2234" y="3467"/>
                    <a:pt x="2533" y="3766"/>
                    <a:pt x="2533" y="4133"/>
                  </a:cubicBezTo>
                  <a:lnTo>
                    <a:pt x="2455" y="4133"/>
                  </a:lnTo>
                  <a:cubicBezTo>
                    <a:pt x="2371" y="4133"/>
                    <a:pt x="2287" y="4099"/>
                    <a:pt x="2228" y="4039"/>
                  </a:cubicBezTo>
                  <a:lnTo>
                    <a:pt x="2133" y="3945"/>
                  </a:lnTo>
                  <a:lnTo>
                    <a:pt x="2039" y="4039"/>
                  </a:lnTo>
                  <a:cubicBezTo>
                    <a:pt x="1979" y="4099"/>
                    <a:pt x="1896" y="4133"/>
                    <a:pt x="1811" y="4133"/>
                  </a:cubicBezTo>
                  <a:lnTo>
                    <a:pt x="1200" y="4133"/>
                  </a:lnTo>
                  <a:cubicBezTo>
                    <a:pt x="1200" y="3766"/>
                    <a:pt x="1499" y="3467"/>
                    <a:pt x="1867" y="3467"/>
                  </a:cubicBezTo>
                  <a:close/>
                  <a:moveTo>
                    <a:pt x="1200" y="4533"/>
                  </a:moveTo>
                  <a:lnTo>
                    <a:pt x="1200" y="4400"/>
                  </a:lnTo>
                  <a:lnTo>
                    <a:pt x="1811" y="4400"/>
                  </a:lnTo>
                  <a:cubicBezTo>
                    <a:pt x="1928" y="4400"/>
                    <a:pt x="2039" y="4367"/>
                    <a:pt x="2133" y="4304"/>
                  </a:cubicBezTo>
                  <a:cubicBezTo>
                    <a:pt x="2228" y="4367"/>
                    <a:pt x="2339" y="4400"/>
                    <a:pt x="2455" y="4400"/>
                  </a:cubicBezTo>
                  <a:lnTo>
                    <a:pt x="2533" y="4400"/>
                  </a:lnTo>
                  <a:lnTo>
                    <a:pt x="2533" y="4533"/>
                  </a:lnTo>
                  <a:cubicBezTo>
                    <a:pt x="2533" y="4901"/>
                    <a:pt x="2234" y="5200"/>
                    <a:pt x="1867" y="5200"/>
                  </a:cubicBezTo>
                  <a:cubicBezTo>
                    <a:pt x="1499" y="5200"/>
                    <a:pt x="1200" y="4901"/>
                    <a:pt x="1200" y="4533"/>
                  </a:cubicBezTo>
                  <a:close/>
                  <a:moveTo>
                    <a:pt x="1867" y="5467"/>
                  </a:moveTo>
                  <a:cubicBezTo>
                    <a:pt x="1959" y="5467"/>
                    <a:pt x="2049" y="5453"/>
                    <a:pt x="2133" y="5427"/>
                  </a:cubicBezTo>
                  <a:lnTo>
                    <a:pt x="2133" y="5563"/>
                  </a:lnTo>
                  <a:cubicBezTo>
                    <a:pt x="2100" y="5614"/>
                    <a:pt x="2008" y="5733"/>
                    <a:pt x="1867" y="5733"/>
                  </a:cubicBezTo>
                  <a:cubicBezTo>
                    <a:pt x="1725" y="5733"/>
                    <a:pt x="1633" y="5614"/>
                    <a:pt x="1600" y="5563"/>
                  </a:cubicBezTo>
                  <a:lnTo>
                    <a:pt x="1600" y="5427"/>
                  </a:lnTo>
                  <a:cubicBezTo>
                    <a:pt x="1685" y="5453"/>
                    <a:pt x="1774" y="5467"/>
                    <a:pt x="1867" y="5467"/>
                  </a:cubicBezTo>
                  <a:close/>
                  <a:moveTo>
                    <a:pt x="1600" y="7333"/>
                  </a:moveTo>
                  <a:lnTo>
                    <a:pt x="1067" y="7333"/>
                  </a:lnTo>
                  <a:lnTo>
                    <a:pt x="1067" y="6400"/>
                  </a:lnTo>
                  <a:lnTo>
                    <a:pt x="800" y="6400"/>
                  </a:lnTo>
                  <a:lnTo>
                    <a:pt x="800" y="7333"/>
                  </a:lnTo>
                  <a:lnTo>
                    <a:pt x="267" y="7333"/>
                  </a:lnTo>
                  <a:lnTo>
                    <a:pt x="267" y="6397"/>
                  </a:lnTo>
                  <a:cubicBezTo>
                    <a:pt x="267" y="6219"/>
                    <a:pt x="381" y="6065"/>
                    <a:pt x="552" y="6014"/>
                  </a:cubicBezTo>
                  <a:lnTo>
                    <a:pt x="1410" y="5756"/>
                  </a:lnTo>
                  <a:cubicBezTo>
                    <a:pt x="1488" y="5857"/>
                    <a:pt x="1638" y="6000"/>
                    <a:pt x="1867" y="6000"/>
                  </a:cubicBezTo>
                  <a:cubicBezTo>
                    <a:pt x="2095" y="6000"/>
                    <a:pt x="2245" y="5857"/>
                    <a:pt x="2323" y="5756"/>
                  </a:cubicBezTo>
                  <a:lnTo>
                    <a:pt x="2829" y="5908"/>
                  </a:lnTo>
                  <a:lnTo>
                    <a:pt x="2457" y="5994"/>
                  </a:lnTo>
                  <a:cubicBezTo>
                    <a:pt x="2031" y="6092"/>
                    <a:pt x="1733" y="6466"/>
                    <a:pt x="1733" y="6903"/>
                  </a:cubicBezTo>
                  <a:lnTo>
                    <a:pt x="1733" y="7067"/>
                  </a:lnTo>
                  <a:lnTo>
                    <a:pt x="2000" y="7067"/>
                  </a:lnTo>
                  <a:lnTo>
                    <a:pt x="2000" y="6903"/>
                  </a:lnTo>
                  <a:cubicBezTo>
                    <a:pt x="2000" y="6591"/>
                    <a:pt x="2213" y="6324"/>
                    <a:pt x="2517" y="6253"/>
                  </a:cubicBezTo>
                  <a:lnTo>
                    <a:pt x="3216" y="6092"/>
                  </a:lnTo>
                  <a:lnTo>
                    <a:pt x="3373" y="6878"/>
                  </a:lnTo>
                  <a:lnTo>
                    <a:pt x="3652" y="6711"/>
                  </a:lnTo>
                  <a:lnTo>
                    <a:pt x="3731" y="6948"/>
                  </a:lnTo>
                  <a:lnTo>
                    <a:pt x="3614" y="8000"/>
                  </a:lnTo>
                  <a:lnTo>
                    <a:pt x="2933" y="8000"/>
                  </a:lnTo>
                  <a:lnTo>
                    <a:pt x="2933" y="6933"/>
                  </a:lnTo>
                  <a:lnTo>
                    <a:pt x="2667" y="6933"/>
                  </a:lnTo>
                  <a:lnTo>
                    <a:pt x="2667" y="8000"/>
                  </a:lnTo>
                  <a:lnTo>
                    <a:pt x="2000" y="8000"/>
                  </a:lnTo>
                  <a:lnTo>
                    <a:pt x="2000" y="7733"/>
                  </a:lnTo>
                  <a:cubicBezTo>
                    <a:pt x="2000" y="7513"/>
                    <a:pt x="1821" y="7333"/>
                    <a:pt x="1600" y="7333"/>
                  </a:cubicBezTo>
                  <a:close/>
                  <a:moveTo>
                    <a:pt x="7715" y="6014"/>
                  </a:moveTo>
                  <a:cubicBezTo>
                    <a:pt x="7885" y="6065"/>
                    <a:pt x="8000" y="6219"/>
                    <a:pt x="8000" y="6397"/>
                  </a:cubicBezTo>
                  <a:lnTo>
                    <a:pt x="8000" y="7333"/>
                  </a:lnTo>
                  <a:lnTo>
                    <a:pt x="7467" y="7333"/>
                  </a:lnTo>
                  <a:lnTo>
                    <a:pt x="7467" y="6400"/>
                  </a:lnTo>
                  <a:lnTo>
                    <a:pt x="7200" y="6400"/>
                  </a:lnTo>
                  <a:lnTo>
                    <a:pt x="7200" y="7333"/>
                  </a:lnTo>
                  <a:lnTo>
                    <a:pt x="6667" y="7333"/>
                  </a:lnTo>
                  <a:cubicBezTo>
                    <a:pt x="6446" y="7333"/>
                    <a:pt x="6267" y="7513"/>
                    <a:pt x="6267" y="7733"/>
                  </a:cubicBezTo>
                  <a:lnTo>
                    <a:pt x="6267" y="8000"/>
                  </a:lnTo>
                  <a:lnTo>
                    <a:pt x="5600" y="8000"/>
                  </a:lnTo>
                  <a:lnTo>
                    <a:pt x="5600" y="6933"/>
                  </a:lnTo>
                  <a:lnTo>
                    <a:pt x="5333" y="6933"/>
                  </a:lnTo>
                  <a:lnTo>
                    <a:pt x="5333" y="8000"/>
                  </a:lnTo>
                  <a:lnTo>
                    <a:pt x="4653" y="8000"/>
                  </a:lnTo>
                  <a:lnTo>
                    <a:pt x="4536" y="6948"/>
                  </a:lnTo>
                  <a:lnTo>
                    <a:pt x="4615" y="6711"/>
                  </a:lnTo>
                  <a:lnTo>
                    <a:pt x="4894" y="6878"/>
                  </a:lnTo>
                  <a:lnTo>
                    <a:pt x="5051" y="6092"/>
                  </a:lnTo>
                  <a:lnTo>
                    <a:pt x="5750" y="6253"/>
                  </a:lnTo>
                  <a:cubicBezTo>
                    <a:pt x="6054" y="6324"/>
                    <a:pt x="6267" y="6591"/>
                    <a:pt x="6267" y="6903"/>
                  </a:cubicBezTo>
                  <a:lnTo>
                    <a:pt x="6267" y="7067"/>
                  </a:lnTo>
                  <a:lnTo>
                    <a:pt x="6533" y="7067"/>
                  </a:lnTo>
                  <a:lnTo>
                    <a:pt x="6533" y="6903"/>
                  </a:lnTo>
                  <a:cubicBezTo>
                    <a:pt x="6533" y="6466"/>
                    <a:pt x="6236" y="6092"/>
                    <a:pt x="5810" y="5994"/>
                  </a:cubicBezTo>
                  <a:lnTo>
                    <a:pt x="5438" y="5908"/>
                  </a:lnTo>
                  <a:lnTo>
                    <a:pt x="5944" y="5756"/>
                  </a:lnTo>
                  <a:cubicBezTo>
                    <a:pt x="6021" y="5857"/>
                    <a:pt x="6171" y="6000"/>
                    <a:pt x="6400" y="6000"/>
                  </a:cubicBezTo>
                  <a:cubicBezTo>
                    <a:pt x="6629" y="6000"/>
                    <a:pt x="6779" y="5857"/>
                    <a:pt x="6856" y="5756"/>
                  </a:cubicBezTo>
                  <a:lnTo>
                    <a:pt x="7715" y="6014"/>
                  </a:lnTo>
                  <a:close/>
                  <a:moveTo>
                    <a:pt x="6667" y="5563"/>
                  </a:moveTo>
                  <a:cubicBezTo>
                    <a:pt x="6634" y="5614"/>
                    <a:pt x="6542" y="5733"/>
                    <a:pt x="6400" y="5733"/>
                  </a:cubicBezTo>
                  <a:cubicBezTo>
                    <a:pt x="6258" y="5733"/>
                    <a:pt x="6166" y="5614"/>
                    <a:pt x="6133" y="5563"/>
                  </a:cubicBezTo>
                  <a:lnTo>
                    <a:pt x="6133" y="5427"/>
                  </a:lnTo>
                  <a:cubicBezTo>
                    <a:pt x="6218" y="5453"/>
                    <a:pt x="6307" y="5467"/>
                    <a:pt x="6400" y="5467"/>
                  </a:cubicBezTo>
                  <a:cubicBezTo>
                    <a:pt x="6493" y="5467"/>
                    <a:pt x="6582" y="5453"/>
                    <a:pt x="6667" y="5427"/>
                  </a:cubicBezTo>
                  <a:lnTo>
                    <a:pt x="6667" y="5563"/>
                  </a:lnTo>
                  <a:close/>
                  <a:moveTo>
                    <a:pt x="6400" y="5200"/>
                  </a:moveTo>
                  <a:cubicBezTo>
                    <a:pt x="6032" y="5200"/>
                    <a:pt x="5733" y="4901"/>
                    <a:pt x="5733" y="4533"/>
                  </a:cubicBezTo>
                  <a:lnTo>
                    <a:pt x="5733" y="4400"/>
                  </a:lnTo>
                  <a:lnTo>
                    <a:pt x="5811" y="4400"/>
                  </a:lnTo>
                  <a:cubicBezTo>
                    <a:pt x="5928" y="4400"/>
                    <a:pt x="6039" y="4367"/>
                    <a:pt x="6133" y="4304"/>
                  </a:cubicBezTo>
                  <a:cubicBezTo>
                    <a:pt x="6228" y="4367"/>
                    <a:pt x="6339" y="4400"/>
                    <a:pt x="6455" y="4400"/>
                  </a:cubicBezTo>
                  <a:lnTo>
                    <a:pt x="7067" y="4400"/>
                  </a:lnTo>
                  <a:lnTo>
                    <a:pt x="7067" y="4533"/>
                  </a:lnTo>
                  <a:cubicBezTo>
                    <a:pt x="7067" y="4901"/>
                    <a:pt x="6768" y="5200"/>
                    <a:pt x="6400" y="5200"/>
                  </a:cubicBezTo>
                  <a:close/>
                  <a:moveTo>
                    <a:pt x="6400" y="3467"/>
                  </a:moveTo>
                  <a:cubicBezTo>
                    <a:pt x="6768" y="3467"/>
                    <a:pt x="7067" y="3766"/>
                    <a:pt x="7067" y="4133"/>
                  </a:cubicBezTo>
                  <a:lnTo>
                    <a:pt x="6455" y="4133"/>
                  </a:lnTo>
                  <a:cubicBezTo>
                    <a:pt x="6371" y="4133"/>
                    <a:pt x="6287" y="4099"/>
                    <a:pt x="6228" y="4039"/>
                  </a:cubicBezTo>
                  <a:lnTo>
                    <a:pt x="6133" y="3945"/>
                  </a:lnTo>
                  <a:lnTo>
                    <a:pt x="6039" y="4039"/>
                  </a:lnTo>
                  <a:cubicBezTo>
                    <a:pt x="5979" y="4099"/>
                    <a:pt x="5896" y="4133"/>
                    <a:pt x="5811" y="4133"/>
                  </a:cubicBezTo>
                  <a:lnTo>
                    <a:pt x="5733" y="4133"/>
                  </a:lnTo>
                  <a:cubicBezTo>
                    <a:pt x="5733" y="3766"/>
                    <a:pt x="6032" y="3467"/>
                    <a:pt x="6400" y="3467"/>
                  </a:cubicBezTo>
                  <a:close/>
                  <a:moveTo>
                    <a:pt x="5467" y="3878"/>
                  </a:moveTo>
                  <a:cubicBezTo>
                    <a:pt x="5349" y="3789"/>
                    <a:pt x="5202" y="3733"/>
                    <a:pt x="5044" y="3733"/>
                  </a:cubicBezTo>
                  <a:lnTo>
                    <a:pt x="4882" y="3733"/>
                  </a:lnTo>
                  <a:lnTo>
                    <a:pt x="4718" y="3405"/>
                  </a:lnTo>
                  <a:lnTo>
                    <a:pt x="4593" y="3489"/>
                  </a:lnTo>
                  <a:cubicBezTo>
                    <a:pt x="4353" y="3649"/>
                    <a:pt x="4074" y="3733"/>
                    <a:pt x="3786" y="3733"/>
                  </a:cubicBezTo>
                  <a:lnTo>
                    <a:pt x="3223" y="3733"/>
                  </a:lnTo>
                  <a:cubicBezTo>
                    <a:pt x="3065" y="3733"/>
                    <a:pt x="2918" y="3789"/>
                    <a:pt x="2800" y="3878"/>
                  </a:cubicBezTo>
                  <a:lnTo>
                    <a:pt x="2800" y="3681"/>
                  </a:lnTo>
                  <a:cubicBezTo>
                    <a:pt x="2800" y="2975"/>
                    <a:pt x="3375" y="2400"/>
                    <a:pt x="4081" y="2400"/>
                  </a:cubicBezTo>
                  <a:cubicBezTo>
                    <a:pt x="4423" y="2400"/>
                    <a:pt x="4745" y="2533"/>
                    <a:pt x="4987" y="2775"/>
                  </a:cubicBezTo>
                  <a:lnTo>
                    <a:pt x="5128" y="2917"/>
                  </a:lnTo>
                  <a:lnTo>
                    <a:pt x="5158" y="2927"/>
                  </a:lnTo>
                  <a:cubicBezTo>
                    <a:pt x="5343" y="2988"/>
                    <a:pt x="5467" y="3160"/>
                    <a:pt x="5467" y="3355"/>
                  </a:cubicBezTo>
                  <a:lnTo>
                    <a:pt x="5467" y="3878"/>
                  </a:lnTo>
                  <a:close/>
                  <a:moveTo>
                    <a:pt x="6400" y="267"/>
                  </a:moveTo>
                  <a:cubicBezTo>
                    <a:pt x="6768" y="267"/>
                    <a:pt x="7067" y="566"/>
                    <a:pt x="7067" y="933"/>
                  </a:cubicBezTo>
                  <a:lnTo>
                    <a:pt x="6989" y="933"/>
                  </a:lnTo>
                  <a:cubicBezTo>
                    <a:pt x="6904" y="933"/>
                    <a:pt x="6821" y="899"/>
                    <a:pt x="6761" y="839"/>
                  </a:cubicBezTo>
                  <a:lnTo>
                    <a:pt x="6667" y="745"/>
                  </a:lnTo>
                  <a:lnTo>
                    <a:pt x="6572" y="839"/>
                  </a:lnTo>
                  <a:cubicBezTo>
                    <a:pt x="6513" y="899"/>
                    <a:pt x="6429" y="933"/>
                    <a:pt x="6345" y="933"/>
                  </a:cubicBezTo>
                  <a:lnTo>
                    <a:pt x="5733" y="933"/>
                  </a:lnTo>
                  <a:cubicBezTo>
                    <a:pt x="5733" y="566"/>
                    <a:pt x="6032" y="267"/>
                    <a:pt x="6400" y="267"/>
                  </a:cubicBezTo>
                  <a:close/>
                  <a:moveTo>
                    <a:pt x="5733" y="1333"/>
                  </a:moveTo>
                  <a:lnTo>
                    <a:pt x="5733" y="1200"/>
                  </a:lnTo>
                  <a:lnTo>
                    <a:pt x="6345" y="1200"/>
                  </a:lnTo>
                  <a:cubicBezTo>
                    <a:pt x="6461" y="1200"/>
                    <a:pt x="6572" y="1167"/>
                    <a:pt x="6667" y="1104"/>
                  </a:cubicBezTo>
                  <a:cubicBezTo>
                    <a:pt x="6761" y="1167"/>
                    <a:pt x="6872" y="1200"/>
                    <a:pt x="6989" y="1200"/>
                  </a:cubicBezTo>
                  <a:lnTo>
                    <a:pt x="7067" y="1200"/>
                  </a:lnTo>
                  <a:lnTo>
                    <a:pt x="7067" y="1333"/>
                  </a:lnTo>
                  <a:cubicBezTo>
                    <a:pt x="7067" y="1701"/>
                    <a:pt x="6768" y="2000"/>
                    <a:pt x="6400" y="2000"/>
                  </a:cubicBezTo>
                  <a:cubicBezTo>
                    <a:pt x="6032" y="2000"/>
                    <a:pt x="5733" y="1701"/>
                    <a:pt x="5733" y="1333"/>
                  </a:cubicBezTo>
                  <a:close/>
                  <a:moveTo>
                    <a:pt x="6400" y="2533"/>
                  </a:moveTo>
                  <a:cubicBezTo>
                    <a:pt x="6258" y="2533"/>
                    <a:pt x="6166" y="2414"/>
                    <a:pt x="6133" y="2363"/>
                  </a:cubicBezTo>
                  <a:lnTo>
                    <a:pt x="6133" y="2227"/>
                  </a:lnTo>
                  <a:cubicBezTo>
                    <a:pt x="6218" y="2253"/>
                    <a:pt x="6307" y="2267"/>
                    <a:pt x="6400" y="2267"/>
                  </a:cubicBezTo>
                  <a:cubicBezTo>
                    <a:pt x="6493" y="2267"/>
                    <a:pt x="6582" y="2253"/>
                    <a:pt x="6667" y="2227"/>
                  </a:cubicBezTo>
                  <a:lnTo>
                    <a:pt x="6667" y="2363"/>
                  </a:lnTo>
                  <a:cubicBezTo>
                    <a:pt x="6634" y="2414"/>
                    <a:pt x="6542" y="2533"/>
                    <a:pt x="6400" y="2533"/>
                  </a:cubicBezTo>
                  <a:close/>
                  <a:moveTo>
                    <a:pt x="6400" y="25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091">
              <a:extLst>
                <a:ext uri="{FF2B5EF4-FFF2-40B4-BE49-F238E27FC236}">
                  <a16:creationId xmlns:a16="http://schemas.microsoft.com/office/drawing/2014/main" id="{168FEE5E-DB6C-4E1A-9D6B-5ABF02F800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9" y="1222"/>
              <a:ext cx="6" cy="6"/>
            </a:xfrm>
            <a:custGeom>
              <a:avLst/>
              <a:gdLst>
                <a:gd name="T0" fmla="*/ 0 w 266"/>
                <a:gd name="T1" fmla="*/ 0 h 267"/>
                <a:gd name="T2" fmla="*/ 266 w 266"/>
                <a:gd name="T3" fmla="*/ 0 h 267"/>
                <a:gd name="T4" fmla="*/ 266 w 266"/>
                <a:gd name="T5" fmla="*/ 267 h 267"/>
                <a:gd name="T6" fmla="*/ 0 w 266"/>
                <a:gd name="T7" fmla="*/ 267 h 267"/>
                <a:gd name="T8" fmla="*/ 0 w 266"/>
                <a:gd name="T9" fmla="*/ 0 h 267"/>
                <a:gd name="T10" fmla="*/ 0 w 2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7">
                  <a:moveTo>
                    <a:pt x="0" y="0"/>
                  </a:moveTo>
                  <a:lnTo>
                    <a:pt x="266" y="0"/>
                  </a:lnTo>
                  <a:lnTo>
                    <a:pt x="2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092">
              <a:extLst>
                <a:ext uri="{FF2B5EF4-FFF2-40B4-BE49-F238E27FC236}">
                  <a16:creationId xmlns:a16="http://schemas.microsoft.com/office/drawing/2014/main" id="{EC946EE8-FBE8-43CE-88F6-AEBB9BBB92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9" y="1233"/>
              <a:ext cx="6" cy="31"/>
            </a:xfrm>
            <a:custGeom>
              <a:avLst/>
              <a:gdLst>
                <a:gd name="T0" fmla="*/ 0 w 266"/>
                <a:gd name="T1" fmla="*/ 0 h 1467"/>
                <a:gd name="T2" fmla="*/ 266 w 266"/>
                <a:gd name="T3" fmla="*/ 0 h 1467"/>
                <a:gd name="T4" fmla="*/ 266 w 266"/>
                <a:gd name="T5" fmla="*/ 1467 h 1467"/>
                <a:gd name="T6" fmla="*/ 0 w 266"/>
                <a:gd name="T7" fmla="*/ 1467 h 1467"/>
                <a:gd name="T8" fmla="*/ 0 w 266"/>
                <a:gd name="T9" fmla="*/ 0 h 1467"/>
                <a:gd name="T10" fmla="*/ 0 w 266"/>
                <a:gd name="T11" fmla="*/ 0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1467">
                  <a:moveTo>
                    <a:pt x="0" y="0"/>
                  </a:moveTo>
                  <a:lnTo>
                    <a:pt x="266" y="0"/>
                  </a:lnTo>
                  <a:lnTo>
                    <a:pt x="266" y="1467"/>
                  </a:lnTo>
                  <a:lnTo>
                    <a:pt x="0" y="14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093">
              <a:extLst>
                <a:ext uri="{FF2B5EF4-FFF2-40B4-BE49-F238E27FC236}">
                  <a16:creationId xmlns:a16="http://schemas.microsoft.com/office/drawing/2014/main" id="{A88B4E81-7931-444B-92E7-AA43D938CB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8" y="1222"/>
              <a:ext cx="6" cy="6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094">
              <a:extLst>
                <a:ext uri="{FF2B5EF4-FFF2-40B4-BE49-F238E27FC236}">
                  <a16:creationId xmlns:a16="http://schemas.microsoft.com/office/drawing/2014/main" id="{068E4166-4722-4BD7-8C6A-A291D7880C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8" y="1233"/>
              <a:ext cx="6" cy="31"/>
            </a:xfrm>
            <a:custGeom>
              <a:avLst/>
              <a:gdLst>
                <a:gd name="T0" fmla="*/ 0 w 267"/>
                <a:gd name="T1" fmla="*/ 0 h 1467"/>
                <a:gd name="T2" fmla="*/ 267 w 267"/>
                <a:gd name="T3" fmla="*/ 0 h 1467"/>
                <a:gd name="T4" fmla="*/ 267 w 267"/>
                <a:gd name="T5" fmla="*/ 1467 h 1467"/>
                <a:gd name="T6" fmla="*/ 0 w 267"/>
                <a:gd name="T7" fmla="*/ 1467 h 1467"/>
                <a:gd name="T8" fmla="*/ 0 w 267"/>
                <a:gd name="T9" fmla="*/ 0 h 1467"/>
                <a:gd name="T10" fmla="*/ 0 w 267"/>
                <a:gd name="T11" fmla="*/ 0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1467">
                  <a:moveTo>
                    <a:pt x="0" y="0"/>
                  </a:moveTo>
                  <a:lnTo>
                    <a:pt x="267" y="0"/>
                  </a:lnTo>
                  <a:lnTo>
                    <a:pt x="267" y="1467"/>
                  </a:lnTo>
                  <a:lnTo>
                    <a:pt x="0" y="14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095">
              <a:extLst>
                <a:ext uri="{FF2B5EF4-FFF2-40B4-BE49-F238E27FC236}">
                  <a16:creationId xmlns:a16="http://schemas.microsoft.com/office/drawing/2014/main" id="{860F0762-A2CF-4801-AAFA-8300E8B54E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0" y="1233"/>
              <a:ext cx="6" cy="20"/>
            </a:xfrm>
            <a:custGeom>
              <a:avLst/>
              <a:gdLst>
                <a:gd name="T0" fmla="*/ 0 w 267"/>
                <a:gd name="T1" fmla="*/ 0 h 934"/>
                <a:gd name="T2" fmla="*/ 267 w 267"/>
                <a:gd name="T3" fmla="*/ 0 h 934"/>
                <a:gd name="T4" fmla="*/ 267 w 267"/>
                <a:gd name="T5" fmla="*/ 934 h 934"/>
                <a:gd name="T6" fmla="*/ 0 w 267"/>
                <a:gd name="T7" fmla="*/ 934 h 934"/>
                <a:gd name="T8" fmla="*/ 0 w 267"/>
                <a:gd name="T9" fmla="*/ 0 h 934"/>
                <a:gd name="T10" fmla="*/ 0 w 267"/>
                <a:gd name="T11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934">
                  <a:moveTo>
                    <a:pt x="0" y="0"/>
                  </a:moveTo>
                  <a:lnTo>
                    <a:pt x="267" y="0"/>
                  </a:lnTo>
                  <a:lnTo>
                    <a:pt x="267" y="934"/>
                  </a:lnTo>
                  <a:lnTo>
                    <a:pt x="0" y="934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096">
              <a:extLst>
                <a:ext uri="{FF2B5EF4-FFF2-40B4-BE49-F238E27FC236}">
                  <a16:creationId xmlns:a16="http://schemas.microsoft.com/office/drawing/2014/main" id="{F0B837FD-5239-4612-A953-033F379091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0" y="1258"/>
              <a:ext cx="6" cy="6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097">
              <a:extLst>
                <a:ext uri="{FF2B5EF4-FFF2-40B4-BE49-F238E27FC236}">
                  <a16:creationId xmlns:a16="http://schemas.microsoft.com/office/drawing/2014/main" id="{0E83963E-E11B-4C09-AD5D-937747ED9A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7" y="1233"/>
              <a:ext cx="6" cy="20"/>
            </a:xfrm>
            <a:custGeom>
              <a:avLst/>
              <a:gdLst>
                <a:gd name="T0" fmla="*/ 0 w 267"/>
                <a:gd name="T1" fmla="*/ 0 h 934"/>
                <a:gd name="T2" fmla="*/ 267 w 267"/>
                <a:gd name="T3" fmla="*/ 0 h 934"/>
                <a:gd name="T4" fmla="*/ 267 w 267"/>
                <a:gd name="T5" fmla="*/ 934 h 934"/>
                <a:gd name="T6" fmla="*/ 0 w 267"/>
                <a:gd name="T7" fmla="*/ 934 h 934"/>
                <a:gd name="T8" fmla="*/ 0 w 267"/>
                <a:gd name="T9" fmla="*/ 0 h 934"/>
                <a:gd name="T10" fmla="*/ 0 w 267"/>
                <a:gd name="T11" fmla="*/ 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934">
                  <a:moveTo>
                    <a:pt x="0" y="0"/>
                  </a:moveTo>
                  <a:lnTo>
                    <a:pt x="267" y="0"/>
                  </a:lnTo>
                  <a:lnTo>
                    <a:pt x="267" y="934"/>
                  </a:lnTo>
                  <a:lnTo>
                    <a:pt x="0" y="934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98">
              <a:extLst>
                <a:ext uri="{FF2B5EF4-FFF2-40B4-BE49-F238E27FC236}">
                  <a16:creationId xmlns:a16="http://schemas.microsoft.com/office/drawing/2014/main" id="{374718CB-91C1-4D49-A280-A57376DC82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7" y="1258"/>
              <a:ext cx="6" cy="6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1" name="object 12">
            <a:extLst>
              <a:ext uri="{FF2B5EF4-FFF2-40B4-BE49-F238E27FC236}">
                <a16:creationId xmlns:a16="http://schemas.microsoft.com/office/drawing/2014/main" id="{926FD9B0-2BAB-4B8F-BC8C-8877A6F907F6}"/>
              </a:ext>
            </a:extLst>
          </p:cNvPr>
          <p:cNvSpPr/>
          <p:nvPr/>
        </p:nvSpPr>
        <p:spPr>
          <a:xfrm>
            <a:off x="8831738" y="318901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2" name="Group 248">
            <a:extLst>
              <a:ext uri="{FF2B5EF4-FFF2-40B4-BE49-F238E27FC236}">
                <a16:creationId xmlns:a16="http://schemas.microsoft.com/office/drawing/2014/main" id="{F871DB54-BAB7-4215-B8F7-B44AED63B05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26051" y="3189019"/>
            <a:ext cx="694405" cy="630026"/>
            <a:chOff x="1780" y="300"/>
            <a:chExt cx="4088" cy="3709"/>
          </a:xfrm>
          <a:solidFill>
            <a:schemeClr val="bg2">
              <a:lumMod val="25000"/>
            </a:schemeClr>
          </a:solidFill>
        </p:grpSpPr>
        <p:sp>
          <p:nvSpPr>
            <p:cNvPr id="53" name="Freeform 249">
              <a:extLst>
                <a:ext uri="{FF2B5EF4-FFF2-40B4-BE49-F238E27FC236}">
                  <a16:creationId xmlns:a16="http://schemas.microsoft.com/office/drawing/2014/main" id="{1BC59BA2-04DA-4D09-97B8-C50468D51F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0" y="300"/>
              <a:ext cx="4088" cy="3709"/>
            </a:xfrm>
            <a:custGeom>
              <a:avLst/>
              <a:gdLst>
                <a:gd name="T0" fmla="*/ 7231 w 8517"/>
                <a:gd name="T1" fmla="*/ 2632 h 7729"/>
                <a:gd name="T2" fmla="*/ 5932 w 8517"/>
                <a:gd name="T3" fmla="*/ 1311 h 7729"/>
                <a:gd name="T4" fmla="*/ 4661 w 8517"/>
                <a:gd name="T5" fmla="*/ 0 h 7729"/>
                <a:gd name="T6" fmla="*/ 2630 w 8517"/>
                <a:gd name="T7" fmla="*/ 1317 h 7729"/>
                <a:gd name="T8" fmla="*/ 941 w 8517"/>
                <a:gd name="T9" fmla="*/ 2243 h 7729"/>
                <a:gd name="T10" fmla="*/ 480 w 8517"/>
                <a:gd name="T11" fmla="*/ 3397 h 7729"/>
                <a:gd name="T12" fmla="*/ 1042 w 8517"/>
                <a:gd name="T13" fmla="*/ 5238 h 7729"/>
                <a:gd name="T14" fmla="*/ 1532 w 8517"/>
                <a:gd name="T15" fmla="*/ 7555 h 7729"/>
                <a:gd name="T16" fmla="*/ 2332 w 8517"/>
                <a:gd name="T17" fmla="*/ 6226 h 7729"/>
                <a:gd name="T18" fmla="*/ 2776 w 8517"/>
                <a:gd name="T19" fmla="*/ 7229 h 7729"/>
                <a:gd name="T20" fmla="*/ 3633 w 8517"/>
                <a:gd name="T21" fmla="*/ 7233 h 7729"/>
                <a:gd name="T22" fmla="*/ 4081 w 8517"/>
                <a:gd name="T23" fmla="*/ 6226 h 7729"/>
                <a:gd name="T24" fmla="*/ 4546 w 8517"/>
                <a:gd name="T25" fmla="*/ 7605 h 7729"/>
                <a:gd name="T26" fmla="*/ 4747 w 8517"/>
                <a:gd name="T27" fmla="*/ 6576 h 7729"/>
                <a:gd name="T28" fmla="*/ 5191 w 8517"/>
                <a:gd name="T29" fmla="*/ 7198 h 7729"/>
                <a:gd name="T30" fmla="*/ 5661 w 8517"/>
                <a:gd name="T31" fmla="*/ 7610 h 7729"/>
                <a:gd name="T32" fmla="*/ 6076 w 8517"/>
                <a:gd name="T33" fmla="*/ 6435 h 7729"/>
                <a:gd name="T34" fmla="*/ 6658 w 8517"/>
                <a:gd name="T35" fmla="*/ 7599 h 7729"/>
                <a:gd name="T36" fmla="*/ 7540 w 8517"/>
                <a:gd name="T37" fmla="*/ 6322 h 7729"/>
                <a:gd name="T38" fmla="*/ 8029 w 8517"/>
                <a:gd name="T39" fmla="*/ 5179 h 7729"/>
                <a:gd name="T40" fmla="*/ 3016 w 8517"/>
                <a:gd name="T41" fmla="*/ 3937 h 7729"/>
                <a:gd name="T42" fmla="*/ 3475 w 8517"/>
                <a:gd name="T43" fmla="*/ 3641 h 7729"/>
                <a:gd name="T44" fmla="*/ 3784 w 8517"/>
                <a:gd name="T45" fmla="*/ 4446 h 7729"/>
                <a:gd name="T46" fmla="*/ 2750 w 8517"/>
                <a:gd name="T47" fmla="*/ 5038 h 7729"/>
                <a:gd name="T48" fmla="*/ 2972 w 8517"/>
                <a:gd name="T49" fmla="*/ 5611 h 7729"/>
                <a:gd name="T50" fmla="*/ 3491 w 8517"/>
                <a:gd name="T51" fmla="*/ 5842 h 7729"/>
                <a:gd name="T52" fmla="*/ 3403 w 8517"/>
                <a:gd name="T53" fmla="*/ 7111 h 7729"/>
                <a:gd name="T54" fmla="*/ 5141 w 8517"/>
                <a:gd name="T55" fmla="*/ 4717 h 7729"/>
                <a:gd name="T56" fmla="*/ 6031 w 8517"/>
                <a:gd name="T57" fmla="*/ 4794 h 7729"/>
                <a:gd name="T58" fmla="*/ 5944 w 8517"/>
                <a:gd name="T59" fmla="*/ 5500 h 7729"/>
                <a:gd name="T60" fmla="*/ 5141 w 8517"/>
                <a:gd name="T61" fmla="*/ 4998 h 7729"/>
                <a:gd name="T62" fmla="*/ 5586 w 8517"/>
                <a:gd name="T63" fmla="*/ 5937 h 7729"/>
                <a:gd name="T64" fmla="*/ 5577 w 8517"/>
                <a:gd name="T65" fmla="*/ 7340 h 7729"/>
                <a:gd name="T66" fmla="*/ 8268 w 8517"/>
                <a:gd name="T67" fmla="*/ 4661 h 7729"/>
                <a:gd name="T68" fmla="*/ 7017 w 8517"/>
                <a:gd name="T69" fmla="*/ 6095 h 7729"/>
                <a:gd name="T70" fmla="*/ 6368 w 8517"/>
                <a:gd name="T71" fmla="*/ 6270 h 7729"/>
                <a:gd name="T72" fmla="*/ 6011 w 8517"/>
                <a:gd name="T73" fmla="*/ 6049 h 7729"/>
                <a:gd name="T74" fmla="*/ 6281 w 8517"/>
                <a:gd name="T75" fmla="*/ 4967 h 7729"/>
                <a:gd name="T76" fmla="*/ 4891 w 8517"/>
                <a:gd name="T77" fmla="*/ 4636 h 7729"/>
                <a:gd name="T78" fmla="*/ 5169 w 8517"/>
                <a:gd name="T79" fmla="*/ 5756 h 7729"/>
                <a:gd name="T80" fmla="*/ 4635 w 8517"/>
                <a:gd name="T81" fmla="*/ 6351 h 7729"/>
                <a:gd name="T82" fmla="*/ 3690 w 8517"/>
                <a:gd name="T83" fmla="*/ 5313 h 7729"/>
                <a:gd name="T84" fmla="*/ 4033 w 8517"/>
                <a:gd name="T85" fmla="*/ 3950 h 7729"/>
                <a:gd name="T86" fmla="*/ 2380 w 8517"/>
                <a:gd name="T87" fmla="*/ 4301 h 7729"/>
                <a:gd name="T88" fmla="*/ 2625 w 8517"/>
                <a:gd name="T89" fmla="*/ 5835 h 7729"/>
                <a:gd name="T90" fmla="*/ 1181 w 8517"/>
                <a:gd name="T91" fmla="*/ 6850 h 7729"/>
                <a:gd name="T92" fmla="*/ 1021 w 8517"/>
                <a:gd name="T93" fmla="*/ 4962 h 7729"/>
                <a:gd name="T94" fmla="*/ 1010 w 8517"/>
                <a:gd name="T95" fmla="*/ 3607 h 7729"/>
                <a:gd name="T96" fmla="*/ 1140 w 8517"/>
                <a:gd name="T97" fmla="*/ 1708 h 7729"/>
                <a:gd name="T98" fmla="*/ 3399 w 8517"/>
                <a:gd name="T99" fmla="*/ 1266 h 7729"/>
                <a:gd name="T100" fmla="*/ 4930 w 8517"/>
                <a:gd name="T101" fmla="*/ 503 h 7729"/>
                <a:gd name="T102" fmla="*/ 6484 w 8517"/>
                <a:gd name="T103" fmla="*/ 1167 h 7729"/>
                <a:gd name="T104" fmla="*/ 7006 w 8517"/>
                <a:gd name="T105" fmla="*/ 2795 h 7729"/>
                <a:gd name="T106" fmla="*/ 8268 w 8517"/>
                <a:gd name="T107" fmla="*/ 4661 h 7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17" h="7729">
                  <a:moveTo>
                    <a:pt x="8037" y="3397"/>
                  </a:moveTo>
                  <a:lnTo>
                    <a:pt x="7526" y="3358"/>
                  </a:lnTo>
                  <a:cubicBezTo>
                    <a:pt x="7509" y="3357"/>
                    <a:pt x="7495" y="3346"/>
                    <a:pt x="7491" y="3330"/>
                  </a:cubicBezTo>
                  <a:cubicBezTo>
                    <a:pt x="7426" y="3105"/>
                    <a:pt x="7337" y="2885"/>
                    <a:pt x="7226" y="2677"/>
                  </a:cubicBezTo>
                  <a:cubicBezTo>
                    <a:pt x="7218" y="2663"/>
                    <a:pt x="7220" y="2645"/>
                    <a:pt x="7231" y="2632"/>
                  </a:cubicBezTo>
                  <a:lnTo>
                    <a:pt x="7576" y="2243"/>
                  </a:lnTo>
                  <a:cubicBezTo>
                    <a:pt x="7757" y="2038"/>
                    <a:pt x="7748" y="1726"/>
                    <a:pt x="7554" y="1532"/>
                  </a:cubicBezTo>
                  <a:lnTo>
                    <a:pt x="7027" y="1004"/>
                  </a:lnTo>
                  <a:cubicBezTo>
                    <a:pt x="6836" y="814"/>
                    <a:pt x="6526" y="802"/>
                    <a:pt x="6321" y="977"/>
                  </a:cubicBezTo>
                  <a:lnTo>
                    <a:pt x="5932" y="1311"/>
                  </a:lnTo>
                  <a:cubicBezTo>
                    <a:pt x="5920" y="1322"/>
                    <a:pt x="5901" y="1324"/>
                    <a:pt x="5887" y="1316"/>
                  </a:cubicBezTo>
                  <a:cubicBezTo>
                    <a:pt x="5682" y="1202"/>
                    <a:pt x="5463" y="1110"/>
                    <a:pt x="5238" y="1042"/>
                  </a:cubicBezTo>
                  <a:cubicBezTo>
                    <a:pt x="5223" y="1037"/>
                    <a:pt x="5212" y="1022"/>
                    <a:pt x="5211" y="1006"/>
                  </a:cubicBezTo>
                  <a:lnTo>
                    <a:pt x="5179" y="488"/>
                  </a:lnTo>
                  <a:cubicBezTo>
                    <a:pt x="5162" y="214"/>
                    <a:pt x="4935" y="0"/>
                    <a:pt x="4661" y="0"/>
                  </a:cubicBezTo>
                  <a:lnTo>
                    <a:pt x="3915" y="0"/>
                  </a:lnTo>
                  <a:cubicBezTo>
                    <a:pt x="3645" y="0"/>
                    <a:pt x="3418" y="211"/>
                    <a:pt x="3397" y="480"/>
                  </a:cubicBezTo>
                  <a:lnTo>
                    <a:pt x="3358" y="991"/>
                  </a:lnTo>
                  <a:cubicBezTo>
                    <a:pt x="3357" y="1008"/>
                    <a:pt x="3346" y="1022"/>
                    <a:pt x="3330" y="1026"/>
                  </a:cubicBezTo>
                  <a:cubicBezTo>
                    <a:pt x="3087" y="1096"/>
                    <a:pt x="2851" y="1194"/>
                    <a:pt x="2630" y="1317"/>
                  </a:cubicBezTo>
                  <a:cubicBezTo>
                    <a:pt x="2616" y="1324"/>
                    <a:pt x="2598" y="1322"/>
                    <a:pt x="2585" y="1311"/>
                  </a:cubicBezTo>
                  <a:lnTo>
                    <a:pt x="2196" y="977"/>
                  </a:lnTo>
                  <a:cubicBezTo>
                    <a:pt x="1991" y="802"/>
                    <a:pt x="1682" y="814"/>
                    <a:pt x="1491" y="1004"/>
                  </a:cubicBezTo>
                  <a:lnTo>
                    <a:pt x="963" y="1532"/>
                  </a:lnTo>
                  <a:cubicBezTo>
                    <a:pt x="769" y="1726"/>
                    <a:pt x="760" y="2038"/>
                    <a:pt x="941" y="2243"/>
                  </a:cubicBezTo>
                  <a:lnTo>
                    <a:pt x="1286" y="2632"/>
                  </a:lnTo>
                  <a:cubicBezTo>
                    <a:pt x="1297" y="2645"/>
                    <a:pt x="1299" y="2663"/>
                    <a:pt x="1292" y="2677"/>
                  </a:cubicBezTo>
                  <a:cubicBezTo>
                    <a:pt x="1180" y="2885"/>
                    <a:pt x="1091" y="3105"/>
                    <a:pt x="1027" y="3330"/>
                  </a:cubicBezTo>
                  <a:cubicBezTo>
                    <a:pt x="1022" y="3346"/>
                    <a:pt x="1008" y="3357"/>
                    <a:pt x="991" y="3358"/>
                  </a:cubicBezTo>
                  <a:lnTo>
                    <a:pt x="480" y="3397"/>
                  </a:lnTo>
                  <a:cubicBezTo>
                    <a:pt x="211" y="3418"/>
                    <a:pt x="0" y="3645"/>
                    <a:pt x="0" y="3915"/>
                  </a:cubicBezTo>
                  <a:lnTo>
                    <a:pt x="0" y="4661"/>
                  </a:lnTo>
                  <a:cubicBezTo>
                    <a:pt x="0" y="4935"/>
                    <a:pt x="215" y="5163"/>
                    <a:pt x="488" y="5179"/>
                  </a:cubicBezTo>
                  <a:lnTo>
                    <a:pt x="1006" y="5211"/>
                  </a:lnTo>
                  <a:cubicBezTo>
                    <a:pt x="1023" y="5212"/>
                    <a:pt x="1037" y="5223"/>
                    <a:pt x="1042" y="5238"/>
                  </a:cubicBezTo>
                  <a:cubicBezTo>
                    <a:pt x="1110" y="5463"/>
                    <a:pt x="1203" y="5682"/>
                    <a:pt x="1316" y="5887"/>
                  </a:cubicBezTo>
                  <a:cubicBezTo>
                    <a:pt x="1324" y="5902"/>
                    <a:pt x="1322" y="5920"/>
                    <a:pt x="1311" y="5932"/>
                  </a:cubicBezTo>
                  <a:lnTo>
                    <a:pt x="977" y="6322"/>
                  </a:lnTo>
                  <a:cubicBezTo>
                    <a:pt x="802" y="6526"/>
                    <a:pt x="814" y="6836"/>
                    <a:pt x="1004" y="7027"/>
                  </a:cubicBezTo>
                  <a:lnTo>
                    <a:pt x="1532" y="7555"/>
                  </a:lnTo>
                  <a:cubicBezTo>
                    <a:pt x="1579" y="7602"/>
                    <a:pt x="1634" y="7639"/>
                    <a:pt x="1695" y="7665"/>
                  </a:cubicBezTo>
                  <a:cubicBezTo>
                    <a:pt x="1758" y="7692"/>
                    <a:pt x="1831" y="7663"/>
                    <a:pt x="1858" y="7599"/>
                  </a:cubicBezTo>
                  <a:cubicBezTo>
                    <a:pt x="1868" y="7576"/>
                    <a:pt x="1871" y="7552"/>
                    <a:pt x="1867" y="7529"/>
                  </a:cubicBezTo>
                  <a:lnTo>
                    <a:pt x="1867" y="6875"/>
                  </a:lnTo>
                  <a:cubicBezTo>
                    <a:pt x="1867" y="6580"/>
                    <a:pt x="2054" y="6319"/>
                    <a:pt x="2332" y="6226"/>
                  </a:cubicBezTo>
                  <a:lnTo>
                    <a:pt x="2594" y="6137"/>
                  </a:lnTo>
                  <a:cubicBezTo>
                    <a:pt x="2645" y="6121"/>
                    <a:pt x="2692" y="6097"/>
                    <a:pt x="2735" y="6067"/>
                  </a:cubicBezTo>
                  <a:cubicBezTo>
                    <a:pt x="2830" y="6096"/>
                    <a:pt x="2928" y="6116"/>
                    <a:pt x="3027" y="6126"/>
                  </a:cubicBezTo>
                  <a:lnTo>
                    <a:pt x="2749" y="7111"/>
                  </a:lnTo>
                  <a:cubicBezTo>
                    <a:pt x="2737" y="7152"/>
                    <a:pt x="2747" y="7197"/>
                    <a:pt x="2776" y="7229"/>
                  </a:cubicBezTo>
                  <a:lnTo>
                    <a:pt x="3097" y="7586"/>
                  </a:lnTo>
                  <a:cubicBezTo>
                    <a:pt x="3120" y="7612"/>
                    <a:pt x="3152" y="7627"/>
                    <a:pt x="3186" y="7628"/>
                  </a:cubicBezTo>
                  <a:lnTo>
                    <a:pt x="3190" y="7628"/>
                  </a:lnTo>
                  <a:cubicBezTo>
                    <a:pt x="3223" y="7628"/>
                    <a:pt x="3255" y="7615"/>
                    <a:pt x="3278" y="7591"/>
                  </a:cubicBezTo>
                  <a:lnTo>
                    <a:pt x="3633" y="7233"/>
                  </a:lnTo>
                  <a:cubicBezTo>
                    <a:pt x="3666" y="7200"/>
                    <a:pt x="3677" y="7152"/>
                    <a:pt x="3664" y="7108"/>
                  </a:cubicBezTo>
                  <a:lnTo>
                    <a:pt x="3355" y="6122"/>
                  </a:lnTo>
                  <a:cubicBezTo>
                    <a:pt x="3458" y="6109"/>
                    <a:pt x="3560" y="6086"/>
                    <a:pt x="3658" y="6052"/>
                  </a:cubicBezTo>
                  <a:cubicBezTo>
                    <a:pt x="3707" y="6089"/>
                    <a:pt x="3761" y="6118"/>
                    <a:pt x="3819" y="6137"/>
                  </a:cubicBezTo>
                  <a:lnTo>
                    <a:pt x="4081" y="6226"/>
                  </a:lnTo>
                  <a:cubicBezTo>
                    <a:pt x="4259" y="6286"/>
                    <a:pt x="4406" y="6418"/>
                    <a:pt x="4484" y="6589"/>
                  </a:cubicBezTo>
                  <a:cubicBezTo>
                    <a:pt x="4524" y="6676"/>
                    <a:pt x="4545" y="6768"/>
                    <a:pt x="4546" y="6862"/>
                  </a:cubicBezTo>
                  <a:cubicBezTo>
                    <a:pt x="4546" y="6865"/>
                    <a:pt x="4546" y="6867"/>
                    <a:pt x="4546" y="6869"/>
                  </a:cubicBezTo>
                  <a:cubicBezTo>
                    <a:pt x="4546" y="6871"/>
                    <a:pt x="4546" y="6873"/>
                    <a:pt x="4546" y="6875"/>
                  </a:cubicBezTo>
                  <a:lnTo>
                    <a:pt x="4546" y="7605"/>
                  </a:lnTo>
                  <a:cubicBezTo>
                    <a:pt x="4546" y="7673"/>
                    <a:pt x="4602" y="7729"/>
                    <a:pt x="4671" y="7729"/>
                  </a:cubicBezTo>
                  <a:cubicBezTo>
                    <a:pt x="4740" y="7729"/>
                    <a:pt x="4796" y="7673"/>
                    <a:pt x="4796" y="7605"/>
                  </a:cubicBezTo>
                  <a:lnTo>
                    <a:pt x="4796" y="6875"/>
                  </a:lnTo>
                  <a:cubicBezTo>
                    <a:pt x="4796" y="6868"/>
                    <a:pt x="4796" y="6862"/>
                    <a:pt x="4796" y="6856"/>
                  </a:cubicBezTo>
                  <a:cubicBezTo>
                    <a:pt x="4794" y="6760"/>
                    <a:pt x="4777" y="6666"/>
                    <a:pt x="4747" y="6576"/>
                  </a:cubicBezTo>
                  <a:cubicBezTo>
                    <a:pt x="4788" y="6547"/>
                    <a:pt x="4834" y="6523"/>
                    <a:pt x="4883" y="6507"/>
                  </a:cubicBezTo>
                  <a:lnTo>
                    <a:pt x="5096" y="6435"/>
                  </a:lnTo>
                  <a:cubicBezTo>
                    <a:pt x="5136" y="6422"/>
                    <a:pt x="5173" y="6404"/>
                    <a:pt x="5207" y="6381"/>
                  </a:cubicBezTo>
                  <a:cubicBezTo>
                    <a:pt x="5274" y="6401"/>
                    <a:pt x="5341" y="6415"/>
                    <a:pt x="5410" y="6424"/>
                  </a:cubicBezTo>
                  <a:lnTo>
                    <a:pt x="5191" y="7198"/>
                  </a:lnTo>
                  <a:cubicBezTo>
                    <a:pt x="5180" y="7239"/>
                    <a:pt x="5190" y="7283"/>
                    <a:pt x="5218" y="7315"/>
                  </a:cubicBezTo>
                  <a:lnTo>
                    <a:pt x="5479" y="7606"/>
                  </a:lnTo>
                  <a:cubicBezTo>
                    <a:pt x="5502" y="7631"/>
                    <a:pt x="5535" y="7646"/>
                    <a:pt x="5569" y="7647"/>
                  </a:cubicBezTo>
                  <a:cubicBezTo>
                    <a:pt x="5570" y="7647"/>
                    <a:pt x="5571" y="7647"/>
                    <a:pt x="5572" y="7647"/>
                  </a:cubicBezTo>
                  <a:cubicBezTo>
                    <a:pt x="5605" y="7647"/>
                    <a:pt x="5637" y="7634"/>
                    <a:pt x="5661" y="7610"/>
                  </a:cubicBezTo>
                  <a:lnTo>
                    <a:pt x="5949" y="7319"/>
                  </a:lnTo>
                  <a:cubicBezTo>
                    <a:pt x="5982" y="7286"/>
                    <a:pt x="5993" y="7238"/>
                    <a:pt x="5979" y="7194"/>
                  </a:cubicBezTo>
                  <a:lnTo>
                    <a:pt x="5737" y="6420"/>
                  </a:lnTo>
                  <a:cubicBezTo>
                    <a:pt x="5809" y="6409"/>
                    <a:pt x="5879" y="6393"/>
                    <a:pt x="5949" y="6369"/>
                  </a:cubicBezTo>
                  <a:cubicBezTo>
                    <a:pt x="5987" y="6398"/>
                    <a:pt x="6030" y="6420"/>
                    <a:pt x="6076" y="6435"/>
                  </a:cubicBezTo>
                  <a:lnTo>
                    <a:pt x="6288" y="6507"/>
                  </a:lnTo>
                  <a:cubicBezTo>
                    <a:pt x="6505" y="6580"/>
                    <a:pt x="6651" y="6783"/>
                    <a:pt x="6651" y="7012"/>
                  </a:cubicBezTo>
                  <a:lnTo>
                    <a:pt x="6651" y="7522"/>
                  </a:lnTo>
                  <a:cubicBezTo>
                    <a:pt x="6651" y="7523"/>
                    <a:pt x="6651" y="7523"/>
                    <a:pt x="6651" y="7524"/>
                  </a:cubicBezTo>
                  <a:cubicBezTo>
                    <a:pt x="6645" y="7548"/>
                    <a:pt x="6647" y="7574"/>
                    <a:pt x="6658" y="7599"/>
                  </a:cubicBezTo>
                  <a:cubicBezTo>
                    <a:pt x="6678" y="7647"/>
                    <a:pt x="6724" y="7675"/>
                    <a:pt x="6773" y="7675"/>
                  </a:cubicBezTo>
                  <a:cubicBezTo>
                    <a:pt x="6789" y="7675"/>
                    <a:pt x="6805" y="7672"/>
                    <a:pt x="6821" y="7665"/>
                  </a:cubicBezTo>
                  <a:cubicBezTo>
                    <a:pt x="6883" y="7639"/>
                    <a:pt x="6938" y="7602"/>
                    <a:pt x="6985" y="7555"/>
                  </a:cubicBezTo>
                  <a:lnTo>
                    <a:pt x="7513" y="7027"/>
                  </a:lnTo>
                  <a:cubicBezTo>
                    <a:pt x="7704" y="6836"/>
                    <a:pt x="7716" y="6526"/>
                    <a:pt x="7540" y="6322"/>
                  </a:cubicBezTo>
                  <a:lnTo>
                    <a:pt x="7206" y="5932"/>
                  </a:lnTo>
                  <a:cubicBezTo>
                    <a:pt x="7195" y="5920"/>
                    <a:pt x="7193" y="5902"/>
                    <a:pt x="7201" y="5887"/>
                  </a:cubicBezTo>
                  <a:cubicBezTo>
                    <a:pt x="7315" y="5682"/>
                    <a:pt x="7407" y="5463"/>
                    <a:pt x="7476" y="5238"/>
                  </a:cubicBezTo>
                  <a:cubicBezTo>
                    <a:pt x="7480" y="5223"/>
                    <a:pt x="7495" y="5212"/>
                    <a:pt x="7512" y="5211"/>
                  </a:cubicBezTo>
                  <a:lnTo>
                    <a:pt x="8029" y="5179"/>
                  </a:lnTo>
                  <a:cubicBezTo>
                    <a:pt x="8303" y="5163"/>
                    <a:pt x="8517" y="4935"/>
                    <a:pt x="8517" y="4661"/>
                  </a:cubicBezTo>
                  <a:lnTo>
                    <a:pt x="8517" y="3915"/>
                  </a:lnTo>
                  <a:cubicBezTo>
                    <a:pt x="8517" y="3645"/>
                    <a:pt x="8306" y="3418"/>
                    <a:pt x="8037" y="3397"/>
                  </a:cubicBezTo>
                  <a:close/>
                  <a:moveTo>
                    <a:pt x="3784" y="4184"/>
                  </a:moveTo>
                  <a:lnTo>
                    <a:pt x="3016" y="3937"/>
                  </a:lnTo>
                  <a:cubicBezTo>
                    <a:pt x="2984" y="3927"/>
                    <a:pt x="2949" y="3930"/>
                    <a:pt x="2920" y="3945"/>
                  </a:cubicBezTo>
                  <a:lnTo>
                    <a:pt x="2629" y="4097"/>
                  </a:lnTo>
                  <a:lnTo>
                    <a:pt x="2629" y="3950"/>
                  </a:lnTo>
                  <a:cubicBezTo>
                    <a:pt x="2629" y="3780"/>
                    <a:pt x="2768" y="3641"/>
                    <a:pt x="2938" y="3641"/>
                  </a:cubicBezTo>
                  <a:lnTo>
                    <a:pt x="3475" y="3641"/>
                  </a:lnTo>
                  <a:cubicBezTo>
                    <a:pt x="3645" y="3641"/>
                    <a:pt x="3784" y="3780"/>
                    <a:pt x="3784" y="3950"/>
                  </a:cubicBezTo>
                  <a:lnTo>
                    <a:pt x="3784" y="4184"/>
                  </a:lnTo>
                  <a:close/>
                  <a:moveTo>
                    <a:pt x="2629" y="4378"/>
                  </a:moveTo>
                  <a:lnTo>
                    <a:pt x="2989" y="4190"/>
                  </a:lnTo>
                  <a:lnTo>
                    <a:pt x="3784" y="4446"/>
                  </a:lnTo>
                  <a:lnTo>
                    <a:pt x="3784" y="4822"/>
                  </a:lnTo>
                  <a:cubicBezTo>
                    <a:pt x="3784" y="4910"/>
                    <a:pt x="3737" y="4992"/>
                    <a:pt x="3663" y="5038"/>
                  </a:cubicBezTo>
                  <a:lnTo>
                    <a:pt x="3337" y="5236"/>
                  </a:lnTo>
                  <a:cubicBezTo>
                    <a:pt x="3257" y="5285"/>
                    <a:pt x="3156" y="5285"/>
                    <a:pt x="3076" y="5236"/>
                  </a:cubicBezTo>
                  <a:lnTo>
                    <a:pt x="2750" y="5038"/>
                  </a:lnTo>
                  <a:cubicBezTo>
                    <a:pt x="2676" y="4992"/>
                    <a:pt x="2629" y="4910"/>
                    <a:pt x="2629" y="4822"/>
                  </a:cubicBezTo>
                  <a:lnTo>
                    <a:pt x="2629" y="4378"/>
                  </a:lnTo>
                  <a:close/>
                  <a:moveTo>
                    <a:pt x="3201" y="5884"/>
                  </a:moveTo>
                  <a:cubicBezTo>
                    <a:pt x="3104" y="5886"/>
                    <a:pt x="3009" y="5876"/>
                    <a:pt x="2915" y="5856"/>
                  </a:cubicBezTo>
                  <a:cubicBezTo>
                    <a:pt x="2952" y="5781"/>
                    <a:pt x="2972" y="5697"/>
                    <a:pt x="2972" y="5611"/>
                  </a:cubicBezTo>
                  <a:lnTo>
                    <a:pt x="2972" y="5464"/>
                  </a:lnTo>
                  <a:cubicBezTo>
                    <a:pt x="3046" y="5503"/>
                    <a:pt x="3126" y="5523"/>
                    <a:pt x="3206" y="5523"/>
                  </a:cubicBezTo>
                  <a:cubicBezTo>
                    <a:pt x="3287" y="5523"/>
                    <a:pt x="3367" y="5503"/>
                    <a:pt x="3441" y="5464"/>
                  </a:cubicBezTo>
                  <a:lnTo>
                    <a:pt x="3441" y="5611"/>
                  </a:lnTo>
                  <a:cubicBezTo>
                    <a:pt x="3441" y="5692"/>
                    <a:pt x="3458" y="5771"/>
                    <a:pt x="3491" y="5842"/>
                  </a:cubicBezTo>
                  <a:cubicBezTo>
                    <a:pt x="3396" y="5867"/>
                    <a:pt x="3299" y="5881"/>
                    <a:pt x="3201" y="5884"/>
                  </a:cubicBezTo>
                  <a:close/>
                  <a:moveTo>
                    <a:pt x="3194" y="7321"/>
                  </a:moveTo>
                  <a:lnTo>
                    <a:pt x="3007" y="7113"/>
                  </a:lnTo>
                  <a:lnTo>
                    <a:pt x="3196" y="6448"/>
                  </a:lnTo>
                  <a:lnTo>
                    <a:pt x="3403" y="7111"/>
                  </a:lnTo>
                  <a:lnTo>
                    <a:pt x="3194" y="7321"/>
                  </a:lnTo>
                  <a:close/>
                  <a:moveTo>
                    <a:pt x="6031" y="4794"/>
                  </a:moveTo>
                  <a:lnTo>
                    <a:pt x="5438" y="4603"/>
                  </a:lnTo>
                  <a:cubicBezTo>
                    <a:pt x="5406" y="4593"/>
                    <a:pt x="5372" y="4596"/>
                    <a:pt x="5342" y="4611"/>
                  </a:cubicBezTo>
                  <a:lnTo>
                    <a:pt x="5141" y="4717"/>
                  </a:lnTo>
                  <a:lnTo>
                    <a:pt x="5141" y="4636"/>
                  </a:lnTo>
                  <a:cubicBezTo>
                    <a:pt x="5141" y="4511"/>
                    <a:pt x="5242" y="4408"/>
                    <a:pt x="5368" y="4408"/>
                  </a:cubicBezTo>
                  <a:lnTo>
                    <a:pt x="5804" y="4408"/>
                  </a:lnTo>
                  <a:cubicBezTo>
                    <a:pt x="5929" y="4408"/>
                    <a:pt x="6031" y="4511"/>
                    <a:pt x="6031" y="4636"/>
                  </a:cubicBezTo>
                  <a:lnTo>
                    <a:pt x="6031" y="4794"/>
                  </a:lnTo>
                  <a:close/>
                  <a:moveTo>
                    <a:pt x="5141" y="4998"/>
                  </a:moveTo>
                  <a:lnTo>
                    <a:pt x="5411" y="4857"/>
                  </a:lnTo>
                  <a:lnTo>
                    <a:pt x="6031" y="5056"/>
                  </a:lnTo>
                  <a:lnTo>
                    <a:pt x="6031" y="5345"/>
                  </a:lnTo>
                  <a:cubicBezTo>
                    <a:pt x="6031" y="5408"/>
                    <a:pt x="5998" y="5467"/>
                    <a:pt x="5944" y="5500"/>
                  </a:cubicBezTo>
                  <a:lnTo>
                    <a:pt x="5680" y="5661"/>
                  </a:lnTo>
                  <a:cubicBezTo>
                    <a:pt x="5622" y="5696"/>
                    <a:pt x="5550" y="5696"/>
                    <a:pt x="5492" y="5661"/>
                  </a:cubicBezTo>
                  <a:lnTo>
                    <a:pt x="5227" y="5500"/>
                  </a:lnTo>
                  <a:cubicBezTo>
                    <a:pt x="5174" y="5467"/>
                    <a:pt x="5141" y="5408"/>
                    <a:pt x="5141" y="5345"/>
                  </a:cubicBezTo>
                  <a:lnTo>
                    <a:pt x="5141" y="4998"/>
                  </a:lnTo>
                  <a:close/>
                  <a:moveTo>
                    <a:pt x="5581" y="6183"/>
                  </a:moveTo>
                  <a:cubicBezTo>
                    <a:pt x="5514" y="6185"/>
                    <a:pt x="5448" y="6179"/>
                    <a:pt x="5382" y="6167"/>
                  </a:cubicBezTo>
                  <a:cubicBezTo>
                    <a:pt x="5406" y="6110"/>
                    <a:pt x="5419" y="6048"/>
                    <a:pt x="5419" y="5985"/>
                  </a:cubicBezTo>
                  <a:lnTo>
                    <a:pt x="5419" y="5903"/>
                  </a:lnTo>
                  <a:cubicBezTo>
                    <a:pt x="5472" y="5926"/>
                    <a:pt x="5529" y="5937"/>
                    <a:pt x="5586" y="5937"/>
                  </a:cubicBezTo>
                  <a:cubicBezTo>
                    <a:pt x="5643" y="5937"/>
                    <a:pt x="5699" y="5926"/>
                    <a:pt x="5753" y="5903"/>
                  </a:cubicBezTo>
                  <a:lnTo>
                    <a:pt x="5753" y="5985"/>
                  </a:lnTo>
                  <a:cubicBezTo>
                    <a:pt x="5753" y="6045"/>
                    <a:pt x="5764" y="6103"/>
                    <a:pt x="5785" y="6157"/>
                  </a:cubicBezTo>
                  <a:cubicBezTo>
                    <a:pt x="5718" y="6173"/>
                    <a:pt x="5650" y="6182"/>
                    <a:pt x="5581" y="6183"/>
                  </a:cubicBezTo>
                  <a:close/>
                  <a:moveTo>
                    <a:pt x="5577" y="7340"/>
                  </a:moveTo>
                  <a:lnTo>
                    <a:pt x="5450" y="7199"/>
                  </a:lnTo>
                  <a:lnTo>
                    <a:pt x="5578" y="6747"/>
                  </a:lnTo>
                  <a:lnTo>
                    <a:pt x="5719" y="7197"/>
                  </a:lnTo>
                  <a:lnTo>
                    <a:pt x="5577" y="7340"/>
                  </a:lnTo>
                  <a:close/>
                  <a:moveTo>
                    <a:pt x="8268" y="4661"/>
                  </a:moveTo>
                  <a:cubicBezTo>
                    <a:pt x="8268" y="4803"/>
                    <a:pt x="8156" y="4922"/>
                    <a:pt x="8014" y="4930"/>
                  </a:cubicBezTo>
                  <a:lnTo>
                    <a:pt x="7496" y="4962"/>
                  </a:lnTo>
                  <a:cubicBezTo>
                    <a:pt x="7376" y="4969"/>
                    <a:pt x="7272" y="5051"/>
                    <a:pt x="7237" y="5166"/>
                  </a:cubicBezTo>
                  <a:cubicBezTo>
                    <a:pt x="7174" y="5374"/>
                    <a:pt x="7088" y="5576"/>
                    <a:pt x="6983" y="5766"/>
                  </a:cubicBezTo>
                  <a:cubicBezTo>
                    <a:pt x="6924" y="5871"/>
                    <a:pt x="6938" y="6003"/>
                    <a:pt x="7017" y="6095"/>
                  </a:cubicBezTo>
                  <a:lnTo>
                    <a:pt x="7351" y="6484"/>
                  </a:lnTo>
                  <a:cubicBezTo>
                    <a:pt x="7442" y="6591"/>
                    <a:pt x="7436" y="6751"/>
                    <a:pt x="7337" y="6850"/>
                  </a:cubicBezTo>
                  <a:lnTo>
                    <a:pt x="6900" y="7287"/>
                  </a:lnTo>
                  <a:lnTo>
                    <a:pt x="6900" y="7012"/>
                  </a:lnTo>
                  <a:cubicBezTo>
                    <a:pt x="6900" y="6675"/>
                    <a:pt x="6686" y="6377"/>
                    <a:pt x="6368" y="6270"/>
                  </a:cubicBezTo>
                  <a:lnTo>
                    <a:pt x="6200" y="6214"/>
                  </a:lnTo>
                  <a:cubicBezTo>
                    <a:pt x="6685" y="5731"/>
                    <a:pt x="6979" y="5080"/>
                    <a:pt x="7013" y="4402"/>
                  </a:cubicBezTo>
                  <a:cubicBezTo>
                    <a:pt x="7017" y="4333"/>
                    <a:pt x="6964" y="4275"/>
                    <a:pt x="6895" y="4271"/>
                  </a:cubicBezTo>
                  <a:cubicBezTo>
                    <a:pt x="6826" y="4268"/>
                    <a:pt x="6768" y="4321"/>
                    <a:pt x="6764" y="4390"/>
                  </a:cubicBezTo>
                  <a:cubicBezTo>
                    <a:pt x="6733" y="5012"/>
                    <a:pt x="6460" y="5609"/>
                    <a:pt x="6011" y="6049"/>
                  </a:cubicBezTo>
                  <a:cubicBezTo>
                    <a:pt x="6005" y="6029"/>
                    <a:pt x="6002" y="6007"/>
                    <a:pt x="6002" y="5985"/>
                  </a:cubicBezTo>
                  <a:lnTo>
                    <a:pt x="6002" y="5756"/>
                  </a:lnTo>
                  <a:lnTo>
                    <a:pt x="6074" y="5713"/>
                  </a:lnTo>
                  <a:cubicBezTo>
                    <a:pt x="6202" y="5635"/>
                    <a:pt x="6281" y="5494"/>
                    <a:pt x="6281" y="5345"/>
                  </a:cubicBezTo>
                  <a:lnTo>
                    <a:pt x="6281" y="4967"/>
                  </a:lnTo>
                  <a:lnTo>
                    <a:pt x="6281" y="4966"/>
                  </a:lnTo>
                  <a:lnTo>
                    <a:pt x="6281" y="4636"/>
                  </a:lnTo>
                  <a:cubicBezTo>
                    <a:pt x="6281" y="4373"/>
                    <a:pt x="6067" y="4159"/>
                    <a:pt x="5804" y="4159"/>
                  </a:cubicBezTo>
                  <a:lnTo>
                    <a:pt x="5368" y="4159"/>
                  </a:lnTo>
                  <a:cubicBezTo>
                    <a:pt x="5105" y="4159"/>
                    <a:pt x="4891" y="4373"/>
                    <a:pt x="4891" y="4636"/>
                  </a:cubicBezTo>
                  <a:lnTo>
                    <a:pt x="4891" y="4920"/>
                  </a:lnTo>
                  <a:lnTo>
                    <a:pt x="4891" y="4921"/>
                  </a:lnTo>
                  <a:lnTo>
                    <a:pt x="4891" y="5345"/>
                  </a:lnTo>
                  <a:cubicBezTo>
                    <a:pt x="4891" y="5494"/>
                    <a:pt x="4970" y="5635"/>
                    <a:pt x="5097" y="5713"/>
                  </a:cubicBezTo>
                  <a:lnTo>
                    <a:pt x="5169" y="5756"/>
                  </a:lnTo>
                  <a:lnTo>
                    <a:pt x="5169" y="5985"/>
                  </a:lnTo>
                  <a:cubicBezTo>
                    <a:pt x="5169" y="6048"/>
                    <a:pt x="5143" y="6108"/>
                    <a:pt x="5098" y="6150"/>
                  </a:cubicBezTo>
                  <a:cubicBezTo>
                    <a:pt x="5074" y="6172"/>
                    <a:pt x="5047" y="6188"/>
                    <a:pt x="5017" y="6199"/>
                  </a:cubicBezTo>
                  <a:lnTo>
                    <a:pt x="4804" y="6270"/>
                  </a:lnTo>
                  <a:cubicBezTo>
                    <a:pt x="4744" y="6291"/>
                    <a:pt x="4687" y="6318"/>
                    <a:pt x="4635" y="6351"/>
                  </a:cubicBezTo>
                  <a:cubicBezTo>
                    <a:pt x="4521" y="6183"/>
                    <a:pt x="4354" y="6054"/>
                    <a:pt x="4160" y="5989"/>
                  </a:cubicBezTo>
                  <a:lnTo>
                    <a:pt x="3898" y="5901"/>
                  </a:lnTo>
                  <a:cubicBezTo>
                    <a:pt x="3851" y="5885"/>
                    <a:pt x="3810" y="5859"/>
                    <a:pt x="3775" y="5823"/>
                  </a:cubicBezTo>
                  <a:cubicBezTo>
                    <a:pt x="3720" y="5766"/>
                    <a:pt x="3690" y="5690"/>
                    <a:pt x="3690" y="5611"/>
                  </a:cubicBezTo>
                  <a:lnTo>
                    <a:pt x="3690" y="5313"/>
                  </a:lnTo>
                  <a:lnTo>
                    <a:pt x="3793" y="5251"/>
                  </a:lnTo>
                  <a:cubicBezTo>
                    <a:pt x="3941" y="5160"/>
                    <a:pt x="4033" y="4996"/>
                    <a:pt x="4033" y="4822"/>
                  </a:cubicBezTo>
                  <a:lnTo>
                    <a:pt x="4033" y="4357"/>
                  </a:lnTo>
                  <a:lnTo>
                    <a:pt x="4033" y="4356"/>
                  </a:lnTo>
                  <a:lnTo>
                    <a:pt x="4033" y="3950"/>
                  </a:lnTo>
                  <a:cubicBezTo>
                    <a:pt x="4033" y="3642"/>
                    <a:pt x="3783" y="3391"/>
                    <a:pt x="3475" y="3391"/>
                  </a:cubicBezTo>
                  <a:lnTo>
                    <a:pt x="2938" y="3391"/>
                  </a:lnTo>
                  <a:cubicBezTo>
                    <a:pt x="2630" y="3391"/>
                    <a:pt x="2380" y="3642"/>
                    <a:pt x="2380" y="3950"/>
                  </a:cubicBezTo>
                  <a:lnTo>
                    <a:pt x="2380" y="4301"/>
                  </a:lnTo>
                  <a:lnTo>
                    <a:pt x="2380" y="4301"/>
                  </a:lnTo>
                  <a:lnTo>
                    <a:pt x="2380" y="4822"/>
                  </a:lnTo>
                  <a:cubicBezTo>
                    <a:pt x="2380" y="4996"/>
                    <a:pt x="2472" y="5160"/>
                    <a:pt x="2620" y="5251"/>
                  </a:cubicBezTo>
                  <a:lnTo>
                    <a:pt x="2723" y="5313"/>
                  </a:lnTo>
                  <a:lnTo>
                    <a:pt x="2723" y="5611"/>
                  </a:lnTo>
                  <a:cubicBezTo>
                    <a:pt x="2723" y="5696"/>
                    <a:pt x="2687" y="5778"/>
                    <a:pt x="2625" y="5835"/>
                  </a:cubicBezTo>
                  <a:cubicBezTo>
                    <a:pt x="2593" y="5865"/>
                    <a:pt x="2556" y="5887"/>
                    <a:pt x="2515" y="5901"/>
                  </a:cubicBezTo>
                  <a:lnTo>
                    <a:pt x="2253" y="5989"/>
                  </a:lnTo>
                  <a:cubicBezTo>
                    <a:pt x="1873" y="6117"/>
                    <a:pt x="1617" y="6473"/>
                    <a:pt x="1617" y="6875"/>
                  </a:cubicBezTo>
                  <a:lnTo>
                    <a:pt x="1617" y="7287"/>
                  </a:lnTo>
                  <a:lnTo>
                    <a:pt x="1181" y="6850"/>
                  </a:lnTo>
                  <a:cubicBezTo>
                    <a:pt x="1082" y="6751"/>
                    <a:pt x="1076" y="6591"/>
                    <a:pt x="1167" y="6484"/>
                  </a:cubicBezTo>
                  <a:lnTo>
                    <a:pt x="1501" y="6095"/>
                  </a:lnTo>
                  <a:cubicBezTo>
                    <a:pt x="1579" y="6003"/>
                    <a:pt x="1593" y="5871"/>
                    <a:pt x="1535" y="5766"/>
                  </a:cubicBezTo>
                  <a:cubicBezTo>
                    <a:pt x="1429" y="5576"/>
                    <a:pt x="1344" y="5374"/>
                    <a:pt x="1280" y="5166"/>
                  </a:cubicBezTo>
                  <a:cubicBezTo>
                    <a:pt x="1246" y="5051"/>
                    <a:pt x="1141" y="4969"/>
                    <a:pt x="1021" y="4962"/>
                  </a:cubicBezTo>
                  <a:lnTo>
                    <a:pt x="503" y="4930"/>
                  </a:lnTo>
                  <a:cubicBezTo>
                    <a:pt x="361" y="4922"/>
                    <a:pt x="250" y="4803"/>
                    <a:pt x="250" y="4661"/>
                  </a:cubicBezTo>
                  <a:lnTo>
                    <a:pt x="250" y="3915"/>
                  </a:lnTo>
                  <a:cubicBezTo>
                    <a:pt x="250" y="3775"/>
                    <a:pt x="359" y="3657"/>
                    <a:pt x="499" y="3646"/>
                  </a:cubicBezTo>
                  <a:lnTo>
                    <a:pt x="1010" y="3607"/>
                  </a:lnTo>
                  <a:cubicBezTo>
                    <a:pt x="1130" y="3598"/>
                    <a:pt x="1233" y="3514"/>
                    <a:pt x="1266" y="3399"/>
                  </a:cubicBezTo>
                  <a:cubicBezTo>
                    <a:pt x="1326" y="3190"/>
                    <a:pt x="1409" y="2987"/>
                    <a:pt x="1512" y="2795"/>
                  </a:cubicBezTo>
                  <a:cubicBezTo>
                    <a:pt x="1568" y="2689"/>
                    <a:pt x="1553" y="2557"/>
                    <a:pt x="1473" y="2467"/>
                  </a:cubicBezTo>
                  <a:lnTo>
                    <a:pt x="1128" y="2078"/>
                  </a:lnTo>
                  <a:cubicBezTo>
                    <a:pt x="1034" y="1971"/>
                    <a:pt x="1039" y="1809"/>
                    <a:pt x="1140" y="1708"/>
                  </a:cubicBezTo>
                  <a:lnTo>
                    <a:pt x="1667" y="1181"/>
                  </a:lnTo>
                  <a:cubicBezTo>
                    <a:pt x="1766" y="1082"/>
                    <a:pt x="1927" y="1075"/>
                    <a:pt x="2033" y="1167"/>
                  </a:cubicBezTo>
                  <a:lnTo>
                    <a:pt x="2423" y="1501"/>
                  </a:lnTo>
                  <a:cubicBezTo>
                    <a:pt x="2514" y="1579"/>
                    <a:pt x="2646" y="1593"/>
                    <a:pt x="2751" y="1535"/>
                  </a:cubicBezTo>
                  <a:cubicBezTo>
                    <a:pt x="2956" y="1421"/>
                    <a:pt x="3174" y="1331"/>
                    <a:pt x="3399" y="1266"/>
                  </a:cubicBezTo>
                  <a:cubicBezTo>
                    <a:pt x="3514" y="1233"/>
                    <a:pt x="3598" y="1130"/>
                    <a:pt x="3607" y="1010"/>
                  </a:cubicBezTo>
                  <a:lnTo>
                    <a:pt x="3646" y="499"/>
                  </a:lnTo>
                  <a:cubicBezTo>
                    <a:pt x="3657" y="359"/>
                    <a:pt x="3775" y="250"/>
                    <a:pt x="3915" y="250"/>
                  </a:cubicBezTo>
                  <a:lnTo>
                    <a:pt x="4661" y="250"/>
                  </a:lnTo>
                  <a:cubicBezTo>
                    <a:pt x="4803" y="250"/>
                    <a:pt x="4921" y="361"/>
                    <a:pt x="4930" y="503"/>
                  </a:cubicBezTo>
                  <a:lnTo>
                    <a:pt x="4962" y="1021"/>
                  </a:lnTo>
                  <a:cubicBezTo>
                    <a:pt x="4969" y="1141"/>
                    <a:pt x="5051" y="1245"/>
                    <a:pt x="5166" y="1280"/>
                  </a:cubicBezTo>
                  <a:cubicBezTo>
                    <a:pt x="5374" y="1344"/>
                    <a:pt x="5576" y="1429"/>
                    <a:pt x="5766" y="1535"/>
                  </a:cubicBezTo>
                  <a:cubicBezTo>
                    <a:pt x="5871" y="1593"/>
                    <a:pt x="6003" y="1579"/>
                    <a:pt x="6095" y="1501"/>
                  </a:cubicBezTo>
                  <a:lnTo>
                    <a:pt x="6484" y="1167"/>
                  </a:lnTo>
                  <a:cubicBezTo>
                    <a:pt x="6590" y="1076"/>
                    <a:pt x="6751" y="1082"/>
                    <a:pt x="6850" y="1181"/>
                  </a:cubicBezTo>
                  <a:lnTo>
                    <a:pt x="7378" y="1708"/>
                  </a:lnTo>
                  <a:cubicBezTo>
                    <a:pt x="7478" y="1809"/>
                    <a:pt x="7483" y="1971"/>
                    <a:pt x="7389" y="2078"/>
                  </a:cubicBezTo>
                  <a:lnTo>
                    <a:pt x="7045" y="2467"/>
                  </a:lnTo>
                  <a:cubicBezTo>
                    <a:pt x="6965" y="2557"/>
                    <a:pt x="6949" y="2689"/>
                    <a:pt x="7006" y="2795"/>
                  </a:cubicBezTo>
                  <a:cubicBezTo>
                    <a:pt x="7109" y="2987"/>
                    <a:pt x="7191" y="3190"/>
                    <a:pt x="7251" y="3399"/>
                  </a:cubicBezTo>
                  <a:cubicBezTo>
                    <a:pt x="7284" y="3514"/>
                    <a:pt x="7387" y="3598"/>
                    <a:pt x="7507" y="3607"/>
                  </a:cubicBezTo>
                  <a:lnTo>
                    <a:pt x="8018" y="3646"/>
                  </a:lnTo>
                  <a:cubicBezTo>
                    <a:pt x="8158" y="3657"/>
                    <a:pt x="8268" y="3775"/>
                    <a:pt x="8268" y="3915"/>
                  </a:cubicBezTo>
                  <a:lnTo>
                    <a:pt x="8268" y="4661"/>
                  </a:lnTo>
                  <a:close/>
                  <a:moveTo>
                    <a:pt x="8268" y="466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50">
              <a:extLst>
                <a:ext uri="{FF2B5EF4-FFF2-40B4-BE49-F238E27FC236}">
                  <a16:creationId xmlns:a16="http://schemas.microsoft.com/office/drawing/2014/main" id="{A330A9BA-763B-4653-986A-312F6055D4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987"/>
              <a:ext cx="2648" cy="2103"/>
            </a:xfrm>
            <a:custGeom>
              <a:avLst/>
              <a:gdLst>
                <a:gd name="T0" fmla="*/ 2641 w 5517"/>
                <a:gd name="T1" fmla="*/ 71 h 4381"/>
                <a:gd name="T2" fmla="*/ 837 w 5517"/>
                <a:gd name="T3" fmla="*/ 877 h 4381"/>
                <a:gd name="T4" fmla="*/ 30 w 5517"/>
                <a:gd name="T5" fmla="*/ 2682 h 4381"/>
                <a:gd name="T6" fmla="*/ 468 w 5517"/>
                <a:gd name="T7" fmla="*/ 4324 h 4381"/>
                <a:gd name="T8" fmla="*/ 573 w 5517"/>
                <a:gd name="T9" fmla="*/ 4381 h 4381"/>
                <a:gd name="T10" fmla="*/ 641 w 5517"/>
                <a:gd name="T11" fmla="*/ 4361 h 4381"/>
                <a:gd name="T12" fmla="*/ 678 w 5517"/>
                <a:gd name="T13" fmla="*/ 4188 h 4381"/>
                <a:gd name="T14" fmla="*/ 279 w 5517"/>
                <a:gd name="T15" fmla="*/ 2695 h 4381"/>
                <a:gd name="T16" fmla="*/ 1013 w 5517"/>
                <a:gd name="T17" fmla="*/ 1054 h 4381"/>
                <a:gd name="T18" fmla="*/ 2654 w 5517"/>
                <a:gd name="T19" fmla="*/ 320 h 4381"/>
                <a:gd name="T20" fmla="*/ 5260 w 5517"/>
                <a:gd name="T21" fmla="*/ 2412 h 4381"/>
                <a:gd name="T22" fmla="*/ 5403 w 5517"/>
                <a:gd name="T23" fmla="*/ 2515 h 4381"/>
                <a:gd name="T24" fmla="*/ 5506 w 5517"/>
                <a:gd name="T25" fmla="*/ 2372 h 4381"/>
                <a:gd name="T26" fmla="*/ 2641 w 5517"/>
                <a:gd name="T27" fmla="*/ 71 h 4381"/>
                <a:gd name="T28" fmla="*/ 2641 w 5517"/>
                <a:gd name="T29" fmla="*/ 71 h 4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17" h="4381">
                  <a:moveTo>
                    <a:pt x="2641" y="71"/>
                  </a:moveTo>
                  <a:cubicBezTo>
                    <a:pt x="1963" y="105"/>
                    <a:pt x="1322" y="392"/>
                    <a:pt x="837" y="877"/>
                  </a:cubicBezTo>
                  <a:cubicBezTo>
                    <a:pt x="351" y="1363"/>
                    <a:pt x="64" y="2004"/>
                    <a:pt x="30" y="2682"/>
                  </a:cubicBezTo>
                  <a:cubicBezTo>
                    <a:pt x="0" y="3268"/>
                    <a:pt x="152" y="3836"/>
                    <a:pt x="468" y="4324"/>
                  </a:cubicBezTo>
                  <a:cubicBezTo>
                    <a:pt x="492" y="4361"/>
                    <a:pt x="532" y="4381"/>
                    <a:pt x="573" y="4381"/>
                  </a:cubicBezTo>
                  <a:cubicBezTo>
                    <a:pt x="596" y="4381"/>
                    <a:pt x="620" y="4374"/>
                    <a:pt x="641" y="4361"/>
                  </a:cubicBezTo>
                  <a:cubicBezTo>
                    <a:pt x="699" y="4323"/>
                    <a:pt x="715" y="4246"/>
                    <a:pt x="678" y="4188"/>
                  </a:cubicBezTo>
                  <a:cubicBezTo>
                    <a:pt x="390" y="3744"/>
                    <a:pt x="252" y="3228"/>
                    <a:pt x="279" y="2695"/>
                  </a:cubicBezTo>
                  <a:cubicBezTo>
                    <a:pt x="310" y="2079"/>
                    <a:pt x="571" y="1496"/>
                    <a:pt x="1013" y="1054"/>
                  </a:cubicBezTo>
                  <a:cubicBezTo>
                    <a:pt x="1455" y="612"/>
                    <a:pt x="2038" y="351"/>
                    <a:pt x="2654" y="320"/>
                  </a:cubicBezTo>
                  <a:cubicBezTo>
                    <a:pt x="3932" y="255"/>
                    <a:pt x="5051" y="1155"/>
                    <a:pt x="5260" y="2412"/>
                  </a:cubicBezTo>
                  <a:cubicBezTo>
                    <a:pt x="5271" y="2480"/>
                    <a:pt x="5335" y="2526"/>
                    <a:pt x="5403" y="2515"/>
                  </a:cubicBezTo>
                  <a:cubicBezTo>
                    <a:pt x="5471" y="2504"/>
                    <a:pt x="5517" y="2440"/>
                    <a:pt x="5506" y="2372"/>
                  </a:cubicBezTo>
                  <a:cubicBezTo>
                    <a:pt x="5277" y="989"/>
                    <a:pt x="4045" y="0"/>
                    <a:pt x="2641" y="71"/>
                  </a:cubicBezTo>
                  <a:close/>
                  <a:moveTo>
                    <a:pt x="2641" y="71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object 12">
            <a:extLst>
              <a:ext uri="{FF2B5EF4-FFF2-40B4-BE49-F238E27FC236}">
                <a16:creationId xmlns:a16="http://schemas.microsoft.com/office/drawing/2014/main" id="{41795BAE-9A62-430F-B501-5FCEFAB90E46}"/>
              </a:ext>
            </a:extLst>
          </p:cNvPr>
          <p:cNvSpPr/>
          <p:nvPr/>
        </p:nvSpPr>
        <p:spPr>
          <a:xfrm>
            <a:off x="8831738" y="469440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6" name="Group 978">
            <a:extLst>
              <a:ext uri="{FF2B5EF4-FFF2-40B4-BE49-F238E27FC236}">
                <a16:creationId xmlns:a16="http://schemas.microsoft.com/office/drawing/2014/main" id="{27D2D69B-265C-4B29-8C9A-35E054770EF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815880" y="4694409"/>
            <a:ext cx="568940" cy="630941"/>
            <a:chOff x="1683" y="2579"/>
            <a:chExt cx="156" cy="173"/>
          </a:xfrm>
          <a:solidFill>
            <a:schemeClr val="bg2">
              <a:lumMod val="25000"/>
            </a:schemeClr>
          </a:solidFill>
        </p:grpSpPr>
        <p:sp>
          <p:nvSpPr>
            <p:cNvPr id="57" name="Freeform 979">
              <a:extLst>
                <a:ext uri="{FF2B5EF4-FFF2-40B4-BE49-F238E27FC236}">
                  <a16:creationId xmlns:a16="http://schemas.microsoft.com/office/drawing/2014/main" id="{6B7CFE78-0487-47AF-B9CF-05E025C01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3" y="2579"/>
              <a:ext cx="99" cy="160"/>
            </a:xfrm>
            <a:custGeom>
              <a:avLst/>
              <a:gdLst>
                <a:gd name="T0" fmla="*/ 2842 w 3666"/>
                <a:gd name="T1" fmla="*/ 2815 h 5920"/>
                <a:gd name="T2" fmla="*/ 3036 w 3666"/>
                <a:gd name="T3" fmla="*/ 2054 h 5920"/>
                <a:gd name="T4" fmla="*/ 3330 w 3666"/>
                <a:gd name="T5" fmla="*/ 1764 h 5920"/>
                <a:gd name="T6" fmla="*/ 3037 w 3666"/>
                <a:gd name="T7" fmla="*/ 367 h 5920"/>
                <a:gd name="T8" fmla="*/ 840 w 3666"/>
                <a:gd name="T9" fmla="*/ 855 h 5920"/>
                <a:gd name="T10" fmla="*/ 748 w 3666"/>
                <a:gd name="T11" fmla="*/ 1764 h 5920"/>
                <a:gd name="T12" fmla="*/ 1042 w 3666"/>
                <a:gd name="T13" fmla="*/ 2054 h 5920"/>
                <a:gd name="T14" fmla="*/ 1236 w 3666"/>
                <a:gd name="T15" fmla="*/ 2815 h 5920"/>
                <a:gd name="T16" fmla="*/ 11 w 3666"/>
                <a:gd name="T17" fmla="*/ 3925 h 5920"/>
                <a:gd name="T18" fmla="*/ 185 w 3666"/>
                <a:gd name="T19" fmla="*/ 5920 h 5920"/>
                <a:gd name="T20" fmla="*/ 217 w 3666"/>
                <a:gd name="T21" fmla="*/ 3771 h 5920"/>
                <a:gd name="T22" fmla="*/ 655 w 3666"/>
                <a:gd name="T23" fmla="*/ 5826 h 5920"/>
                <a:gd name="T24" fmla="*/ 843 w 3666"/>
                <a:gd name="T25" fmla="*/ 4400 h 5920"/>
                <a:gd name="T26" fmla="*/ 492 w 3666"/>
                <a:gd name="T27" fmla="*/ 3471 h 5920"/>
                <a:gd name="T28" fmla="*/ 1580 w 3666"/>
                <a:gd name="T29" fmla="*/ 3974 h 5920"/>
                <a:gd name="T30" fmla="*/ 1669 w 3666"/>
                <a:gd name="T31" fmla="*/ 5822 h 5920"/>
                <a:gd name="T32" fmla="*/ 1856 w 3666"/>
                <a:gd name="T33" fmla="*/ 5830 h 5920"/>
                <a:gd name="T34" fmla="*/ 2222 w 3666"/>
                <a:gd name="T35" fmla="*/ 5830 h 5920"/>
                <a:gd name="T36" fmla="*/ 2409 w 3666"/>
                <a:gd name="T37" fmla="*/ 5822 h 5920"/>
                <a:gd name="T38" fmla="*/ 2498 w 3666"/>
                <a:gd name="T39" fmla="*/ 3974 h 5920"/>
                <a:gd name="T40" fmla="*/ 3526 w 3666"/>
                <a:gd name="T41" fmla="*/ 3448 h 5920"/>
                <a:gd name="T42" fmla="*/ 3594 w 3666"/>
                <a:gd name="T43" fmla="*/ 3273 h 5920"/>
                <a:gd name="T44" fmla="*/ 1007 w 3666"/>
                <a:gd name="T45" fmla="*/ 1864 h 5920"/>
                <a:gd name="T46" fmla="*/ 1008 w 3666"/>
                <a:gd name="T47" fmla="*/ 1595 h 5920"/>
                <a:gd name="T48" fmla="*/ 1280 w 3666"/>
                <a:gd name="T49" fmla="*/ 1657 h 5920"/>
                <a:gd name="T50" fmla="*/ 1313 w 3666"/>
                <a:gd name="T51" fmla="*/ 1354 h 5920"/>
                <a:gd name="T52" fmla="*/ 1027 w 3666"/>
                <a:gd name="T53" fmla="*/ 855 h 5920"/>
                <a:gd name="T54" fmla="*/ 1382 w 3666"/>
                <a:gd name="T55" fmla="*/ 462 h 5920"/>
                <a:gd name="T56" fmla="*/ 3066 w 3666"/>
                <a:gd name="T57" fmla="*/ 1406 h 5920"/>
                <a:gd name="T58" fmla="*/ 2771 w 3666"/>
                <a:gd name="T59" fmla="*/ 1132 h 5920"/>
                <a:gd name="T60" fmla="*/ 1321 w 3666"/>
                <a:gd name="T61" fmla="*/ 1006 h 5920"/>
                <a:gd name="T62" fmla="*/ 2993 w 3666"/>
                <a:gd name="T63" fmla="*/ 1600 h 5920"/>
                <a:gd name="T64" fmla="*/ 3143 w 3666"/>
                <a:gd name="T65" fmla="*/ 1764 h 5920"/>
                <a:gd name="T66" fmla="*/ 2852 w 3666"/>
                <a:gd name="T67" fmla="*/ 2018 h 5920"/>
                <a:gd name="T68" fmla="*/ 1671 w 3666"/>
                <a:gd name="T69" fmla="*/ 3762 h 5920"/>
                <a:gd name="T70" fmla="*/ 1146 w 3666"/>
                <a:gd name="T71" fmla="*/ 3170 h 5920"/>
                <a:gd name="T72" fmla="*/ 1671 w 3666"/>
                <a:gd name="T73" fmla="*/ 3762 h 5920"/>
                <a:gd name="T74" fmla="*/ 2039 w 3666"/>
                <a:gd name="T75" fmla="*/ 3659 h 5920"/>
                <a:gd name="T76" fmla="*/ 1941 w 3666"/>
                <a:gd name="T77" fmla="*/ 3893 h 5920"/>
                <a:gd name="T78" fmla="*/ 1488 w 3666"/>
                <a:gd name="T79" fmla="*/ 2720 h 5920"/>
                <a:gd name="T80" fmla="*/ 2590 w 3666"/>
                <a:gd name="T81" fmla="*/ 2919 h 5920"/>
                <a:gd name="T82" fmla="*/ 2480 w 3666"/>
                <a:gd name="T83" fmla="*/ 3788 h 5920"/>
                <a:gd name="T84" fmla="*/ 2772 w 3666"/>
                <a:gd name="T85" fmla="*/ 3010 h 5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66" h="5920">
                  <a:moveTo>
                    <a:pt x="3594" y="3273"/>
                  </a:moveTo>
                  <a:lnTo>
                    <a:pt x="3116" y="3089"/>
                  </a:lnTo>
                  <a:lnTo>
                    <a:pt x="2842" y="2815"/>
                  </a:lnTo>
                  <a:cubicBezTo>
                    <a:pt x="2824" y="2797"/>
                    <a:pt x="2801" y="2788"/>
                    <a:pt x="2777" y="2788"/>
                  </a:cubicBezTo>
                  <a:lnTo>
                    <a:pt x="2777" y="2564"/>
                  </a:lnTo>
                  <a:cubicBezTo>
                    <a:pt x="2907" y="2426"/>
                    <a:pt x="2999" y="2251"/>
                    <a:pt x="3036" y="2054"/>
                  </a:cubicBezTo>
                  <a:cubicBezTo>
                    <a:pt x="3036" y="2053"/>
                    <a:pt x="3036" y="2053"/>
                    <a:pt x="3036" y="2053"/>
                  </a:cubicBezTo>
                  <a:cubicBezTo>
                    <a:pt x="3060" y="2055"/>
                    <a:pt x="3084" y="2053"/>
                    <a:pt x="3108" y="2048"/>
                  </a:cubicBezTo>
                  <a:cubicBezTo>
                    <a:pt x="3237" y="2022"/>
                    <a:pt x="3330" y="1902"/>
                    <a:pt x="3330" y="1764"/>
                  </a:cubicBezTo>
                  <a:lnTo>
                    <a:pt x="3330" y="1692"/>
                  </a:lnTo>
                  <a:cubicBezTo>
                    <a:pt x="3330" y="1611"/>
                    <a:pt x="3297" y="1536"/>
                    <a:pt x="3243" y="1484"/>
                  </a:cubicBezTo>
                  <a:cubicBezTo>
                    <a:pt x="3331" y="1010"/>
                    <a:pt x="3260" y="625"/>
                    <a:pt x="3037" y="367"/>
                  </a:cubicBezTo>
                  <a:cubicBezTo>
                    <a:pt x="2822" y="119"/>
                    <a:pt x="2475" y="0"/>
                    <a:pt x="2034" y="24"/>
                  </a:cubicBezTo>
                  <a:cubicBezTo>
                    <a:pt x="1623" y="46"/>
                    <a:pt x="1359" y="236"/>
                    <a:pt x="1278" y="303"/>
                  </a:cubicBezTo>
                  <a:cubicBezTo>
                    <a:pt x="1165" y="318"/>
                    <a:pt x="840" y="400"/>
                    <a:pt x="840" y="855"/>
                  </a:cubicBezTo>
                  <a:cubicBezTo>
                    <a:pt x="840" y="1106"/>
                    <a:pt x="881" y="1315"/>
                    <a:pt x="909" y="1431"/>
                  </a:cubicBezTo>
                  <a:cubicBezTo>
                    <a:pt x="813" y="1476"/>
                    <a:pt x="748" y="1577"/>
                    <a:pt x="748" y="1693"/>
                  </a:cubicBezTo>
                  <a:lnTo>
                    <a:pt x="748" y="1764"/>
                  </a:lnTo>
                  <a:cubicBezTo>
                    <a:pt x="748" y="1902"/>
                    <a:pt x="841" y="2022"/>
                    <a:pt x="970" y="2048"/>
                  </a:cubicBezTo>
                  <a:cubicBezTo>
                    <a:pt x="994" y="2053"/>
                    <a:pt x="1018" y="2055"/>
                    <a:pt x="1042" y="2053"/>
                  </a:cubicBezTo>
                  <a:cubicBezTo>
                    <a:pt x="1042" y="2053"/>
                    <a:pt x="1042" y="2053"/>
                    <a:pt x="1042" y="2054"/>
                  </a:cubicBezTo>
                  <a:cubicBezTo>
                    <a:pt x="1078" y="2251"/>
                    <a:pt x="1171" y="2426"/>
                    <a:pt x="1300" y="2564"/>
                  </a:cubicBezTo>
                  <a:lnTo>
                    <a:pt x="1300" y="2788"/>
                  </a:lnTo>
                  <a:cubicBezTo>
                    <a:pt x="1277" y="2788"/>
                    <a:pt x="1253" y="2797"/>
                    <a:pt x="1236" y="2815"/>
                  </a:cubicBezTo>
                  <a:lnTo>
                    <a:pt x="962" y="3089"/>
                  </a:lnTo>
                  <a:lnTo>
                    <a:pt x="424" y="3296"/>
                  </a:lnTo>
                  <a:cubicBezTo>
                    <a:pt x="166" y="3396"/>
                    <a:pt x="0" y="3649"/>
                    <a:pt x="11" y="3925"/>
                  </a:cubicBezTo>
                  <a:lnTo>
                    <a:pt x="87" y="5830"/>
                  </a:lnTo>
                  <a:cubicBezTo>
                    <a:pt x="89" y="5880"/>
                    <a:pt x="131" y="5920"/>
                    <a:pt x="181" y="5920"/>
                  </a:cubicBezTo>
                  <a:cubicBezTo>
                    <a:pt x="182" y="5920"/>
                    <a:pt x="184" y="5920"/>
                    <a:pt x="185" y="5920"/>
                  </a:cubicBezTo>
                  <a:cubicBezTo>
                    <a:pt x="237" y="5918"/>
                    <a:pt x="277" y="5874"/>
                    <a:pt x="275" y="5822"/>
                  </a:cubicBezTo>
                  <a:lnTo>
                    <a:pt x="198" y="3918"/>
                  </a:lnTo>
                  <a:cubicBezTo>
                    <a:pt x="196" y="3867"/>
                    <a:pt x="203" y="3818"/>
                    <a:pt x="217" y="3771"/>
                  </a:cubicBezTo>
                  <a:lnTo>
                    <a:pt x="521" y="4075"/>
                  </a:lnTo>
                  <a:cubicBezTo>
                    <a:pt x="608" y="4162"/>
                    <a:pt x="655" y="4277"/>
                    <a:pt x="655" y="4400"/>
                  </a:cubicBezTo>
                  <a:lnTo>
                    <a:pt x="655" y="5826"/>
                  </a:lnTo>
                  <a:cubicBezTo>
                    <a:pt x="655" y="5878"/>
                    <a:pt x="697" y="5920"/>
                    <a:pt x="749" y="5920"/>
                  </a:cubicBezTo>
                  <a:cubicBezTo>
                    <a:pt x="801" y="5920"/>
                    <a:pt x="843" y="5878"/>
                    <a:pt x="843" y="5826"/>
                  </a:cubicBezTo>
                  <a:lnTo>
                    <a:pt x="843" y="4400"/>
                  </a:lnTo>
                  <a:cubicBezTo>
                    <a:pt x="843" y="4227"/>
                    <a:pt x="776" y="4065"/>
                    <a:pt x="654" y="3943"/>
                  </a:cubicBezTo>
                  <a:lnTo>
                    <a:pt x="310" y="3599"/>
                  </a:lnTo>
                  <a:cubicBezTo>
                    <a:pt x="358" y="3543"/>
                    <a:pt x="420" y="3499"/>
                    <a:pt x="492" y="3471"/>
                  </a:cubicBezTo>
                  <a:lnTo>
                    <a:pt x="993" y="3278"/>
                  </a:lnTo>
                  <a:lnTo>
                    <a:pt x="1376" y="3852"/>
                  </a:lnTo>
                  <a:cubicBezTo>
                    <a:pt x="1422" y="3921"/>
                    <a:pt x="1496" y="3966"/>
                    <a:pt x="1580" y="3974"/>
                  </a:cubicBezTo>
                  <a:cubicBezTo>
                    <a:pt x="1589" y="3975"/>
                    <a:pt x="1598" y="3976"/>
                    <a:pt x="1607" y="3976"/>
                  </a:cubicBezTo>
                  <a:cubicBezTo>
                    <a:pt x="1658" y="3976"/>
                    <a:pt x="1708" y="3961"/>
                    <a:pt x="1751" y="3935"/>
                  </a:cubicBezTo>
                  <a:lnTo>
                    <a:pt x="1669" y="5822"/>
                  </a:lnTo>
                  <a:cubicBezTo>
                    <a:pt x="1667" y="5874"/>
                    <a:pt x="1707" y="5918"/>
                    <a:pt x="1758" y="5920"/>
                  </a:cubicBezTo>
                  <a:cubicBezTo>
                    <a:pt x="1760" y="5920"/>
                    <a:pt x="1761" y="5920"/>
                    <a:pt x="1763" y="5920"/>
                  </a:cubicBezTo>
                  <a:cubicBezTo>
                    <a:pt x="1813" y="5920"/>
                    <a:pt x="1854" y="5881"/>
                    <a:pt x="1856" y="5830"/>
                  </a:cubicBezTo>
                  <a:lnTo>
                    <a:pt x="1932" y="4080"/>
                  </a:lnTo>
                  <a:lnTo>
                    <a:pt x="2145" y="4080"/>
                  </a:lnTo>
                  <a:lnTo>
                    <a:pt x="2222" y="5830"/>
                  </a:lnTo>
                  <a:cubicBezTo>
                    <a:pt x="2224" y="5881"/>
                    <a:pt x="2265" y="5920"/>
                    <a:pt x="2315" y="5920"/>
                  </a:cubicBezTo>
                  <a:cubicBezTo>
                    <a:pt x="2317" y="5920"/>
                    <a:pt x="2318" y="5920"/>
                    <a:pt x="2319" y="5920"/>
                  </a:cubicBezTo>
                  <a:cubicBezTo>
                    <a:pt x="2371" y="5918"/>
                    <a:pt x="2411" y="5874"/>
                    <a:pt x="2409" y="5822"/>
                  </a:cubicBezTo>
                  <a:lnTo>
                    <a:pt x="2327" y="3935"/>
                  </a:lnTo>
                  <a:cubicBezTo>
                    <a:pt x="2370" y="3961"/>
                    <a:pt x="2419" y="3975"/>
                    <a:pt x="2471" y="3975"/>
                  </a:cubicBezTo>
                  <a:cubicBezTo>
                    <a:pt x="2480" y="3975"/>
                    <a:pt x="2489" y="3975"/>
                    <a:pt x="2498" y="3974"/>
                  </a:cubicBezTo>
                  <a:cubicBezTo>
                    <a:pt x="2581" y="3966"/>
                    <a:pt x="2656" y="3921"/>
                    <a:pt x="2702" y="3852"/>
                  </a:cubicBezTo>
                  <a:lnTo>
                    <a:pt x="3085" y="3278"/>
                  </a:lnTo>
                  <a:lnTo>
                    <a:pt x="3526" y="3448"/>
                  </a:lnTo>
                  <a:cubicBezTo>
                    <a:pt x="3537" y="3452"/>
                    <a:pt x="3549" y="3454"/>
                    <a:pt x="3560" y="3454"/>
                  </a:cubicBezTo>
                  <a:cubicBezTo>
                    <a:pt x="3598" y="3454"/>
                    <a:pt x="3633" y="3432"/>
                    <a:pt x="3647" y="3394"/>
                  </a:cubicBezTo>
                  <a:cubicBezTo>
                    <a:pt x="3666" y="3346"/>
                    <a:pt x="3642" y="3292"/>
                    <a:pt x="3594" y="3273"/>
                  </a:cubicBezTo>
                  <a:close/>
                  <a:moveTo>
                    <a:pt x="1226" y="2018"/>
                  </a:moveTo>
                  <a:cubicBezTo>
                    <a:pt x="1209" y="1926"/>
                    <a:pt x="1124" y="1859"/>
                    <a:pt x="1032" y="1866"/>
                  </a:cubicBezTo>
                  <a:cubicBezTo>
                    <a:pt x="1024" y="1867"/>
                    <a:pt x="1016" y="1866"/>
                    <a:pt x="1007" y="1864"/>
                  </a:cubicBezTo>
                  <a:cubicBezTo>
                    <a:pt x="966" y="1856"/>
                    <a:pt x="935" y="1813"/>
                    <a:pt x="935" y="1764"/>
                  </a:cubicBezTo>
                  <a:lnTo>
                    <a:pt x="935" y="1693"/>
                  </a:lnTo>
                  <a:cubicBezTo>
                    <a:pt x="935" y="1645"/>
                    <a:pt x="967" y="1602"/>
                    <a:pt x="1008" y="1595"/>
                  </a:cubicBezTo>
                  <a:cubicBezTo>
                    <a:pt x="1043" y="1589"/>
                    <a:pt x="1076" y="1601"/>
                    <a:pt x="1097" y="1629"/>
                  </a:cubicBezTo>
                  <a:cubicBezTo>
                    <a:pt x="1115" y="1652"/>
                    <a:pt x="1138" y="1668"/>
                    <a:pt x="1165" y="1676"/>
                  </a:cubicBezTo>
                  <a:cubicBezTo>
                    <a:pt x="1204" y="1688"/>
                    <a:pt x="1247" y="1681"/>
                    <a:pt x="1280" y="1657"/>
                  </a:cubicBezTo>
                  <a:cubicBezTo>
                    <a:pt x="1356" y="1604"/>
                    <a:pt x="1420" y="1535"/>
                    <a:pt x="1471" y="1455"/>
                  </a:cubicBezTo>
                  <a:cubicBezTo>
                    <a:pt x="1499" y="1411"/>
                    <a:pt x="1486" y="1353"/>
                    <a:pt x="1442" y="1325"/>
                  </a:cubicBezTo>
                  <a:cubicBezTo>
                    <a:pt x="1399" y="1298"/>
                    <a:pt x="1341" y="1311"/>
                    <a:pt x="1313" y="1354"/>
                  </a:cubicBezTo>
                  <a:cubicBezTo>
                    <a:pt x="1284" y="1400"/>
                    <a:pt x="1249" y="1441"/>
                    <a:pt x="1209" y="1475"/>
                  </a:cubicBezTo>
                  <a:cubicBezTo>
                    <a:pt x="1177" y="1447"/>
                    <a:pt x="1139" y="1427"/>
                    <a:pt x="1099" y="1416"/>
                  </a:cubicBezTo>
                  <a:cubicBezTo>
                    <a:pt x="1074" y="1321"/>
                    <a:pt x="1027" y="1111"/>
                    <a:pt x="1027" y="855"/>
                  </a:cubicBezTo>
                  <a:cubicBezTo>
                    <a:pt x="1027" y="702"/>
                    <a:pt x="1074" y="594"/>
                    <a:pt x="1168" y="535"/>
                  </a:cubicBezTo>
                  <a:cubicBezTo>
                    <a:pt x="1241" y="489"/>
                    <a:pt x="1317" y="488"/>
                    <a:pt x="1317" y="488"/>
                  </a:cubicBezTo>
                  <a:cubicBezTo>
                    <a:pt x="1341" y="488"/>
                    <a:pt x="1365" y="478"/>
                    <a:pt x="1382" y="462"/>
                  </a:cubicBezTo>
                  <a:cubicBezTo>
                    <a:pt x="1384" y="460"/>
                    <a:pt x="1627" y="234"/>
                    <a:pt x="2044" y="211"/>
                  </a:cubicBezTo>
                  <a:cubicBezTo>
                    <a:pt x="2425" y="191"/>
                    <a:pt x="2719" y="287"/>
                    <a:pt x="2895" y="490"/>
                  </a:cubicBezTo>
                  <a:cubicBezTo>
                    <a:pt x="3073" y="695"/>
                    <a:pt x="3132" y="1011"/>
                    <a:pt x="3066" y="1406"/>
                  </a:cubicBezTo>
                  <a:cubicBezTo>
                    <a:pt x="3038" y="1405"/>
                    <a:pt x="3007" y="1407"/>
                    <a:pt x="2976" y="1413"/>
                  </a:cubicBezTo>
                  <a:lnTo>
                    <a:pt x="2882" y="1187"/>
                  </a:lnTo>
                  <a:cubicBezTo>
                    <a:pt x="2864" y="1144"/>
                    <a:pt x="2816" y="1120"/>
                    <a:pt x="2771" y="1132"/>
                  </a:cubicBezTo>
                  <a:cubicBezTo>
                    <a:pt x="2762" y="1135"/>
                    <a:pt x="1851" y="1367"/>
                    <a:pt x="1467" y="889"/>
                  </a:cubicBezTo>
                  <a:cubicBezTo>
                    <a:pt x="1434" y="849"/>
                    <a:pt x="1375" y="842"/>
                    <a:pt x="1335" y="875"/>
                  </a:cubicBezTo>
                  <a:cubicBezTo>
                    <a:pt x="1295" y="907"/>
                    <a:pt x="1288" y="966"/>
                    <a:pt x="1321" y="1006"/>
                  </a:cubicBezTo>
                  <a:cubicBezTo>
                    <a:pt x="1710" y="1492"/>
                    <a:pt x="2486" y="1383"/>
                    <a:pt x="2739" y="1332"/>
                  </a:cubicBezTo>
                  <a:lnTo>
                    <a:pt x="2812" y="1507"/>
                  </a:lnTo>
                  <a:cubicBezTo>
                    <a:pt x="2842" y="1579"/>
                    <a:pt x="2918" y="1618"/>
                    <a:pt x="2993" y="1600"/>
                  </a:cubicBezTo>
                  <a:cubicBezTo>
                    <a:pt x="3023" y="1593"/>
                    <a:pt x="3055" y="1592"/>
                    <a:pt x="3069" y="1595"/>
                  </a:cubicBezTo>
                  <a:cubicBezTo>
                    <a:pt x="3111" y="1603"/>
                    <a:pt x="3143" y="1645"/>
                    <a:pt x="3143" y="1692"/>
                  </a:cubicBezTo>
                  <a:lnTo>
                    <a:pt x="3143" y="1764"/>
                  </a:lnTo>
                  <a:cubicBezTo>
                    <a:pt x="3143" y="1813"/>
                    <a:pt x="3112" y="1856"/>
                    <a:pt x="3070" y="1864"/>
                  </a:cubicBezTo>
                  <a:cubicBezTo>
                    <a:pt x="3062" y="1866"/>
                    <a:pt x="3054" y="1867"/>
                    <a:pt x="3046" y="1866"/>
                  </a:cubicBezTo>
                  <a:cubicBezTo>
                    <a:pt x="2954" y="1859"/>
                    <a:pt x="2869" y="1926"/>
                    <a:pt x="2852" y="2018"/>
                  </a:cubicBezTo>
                  <a:cubicBezTo>
                    <a:pt x="2780" y="2411"/>
                    <a:pt x="2438" y="2695"/>
                    <a:pt x="2039" y="2695"/>
                  </a:cubicBezTo>
                  <a:cubicBezTo>
                    <a:pt x="1640" y="2695"/>
                    <a:pt x="1298" y="2411"/>
                    <a:pt x="1226" y="2018"/>
                  </a:cubicBezTo>
                  <a:close/>
                  <a:moveTo>
                    <a:pt x="1671" y="3762"/>
                  </a:moveTo>
                  <a:cubicBezTo>
                    <a:pt x="1652" y="3781"/>
                    <a:pt x="1625" y="3790"/>
                    <a:pt x="1598" y="3788"/>
                  </a:cubicBezTo>
                  <a:cubicBezTo>
                    <a:pt x="1571" y="3785"/>
                    <a:pt x="1547" y="3770"/>
                    <a:pt x="1532" y="3748"/>
                  </a:cubicBezTo>
                  <a:lnTo>
                    <a:pt x="1146" y="3170"/>
                  </a:lnTo>
                  <a:lnTo>
                    <a:pt x="1306" y="3010"/>
                  </a:lnTo>
                  <a:lnTo>
                    <a:pt x="1902" y="3531"/>
                  </a:lnTo>
                  <a:lnTo>
                    <a:pt x="1671" y="3762"/>
                  </a:lnTo>
                  <a:close/>
                  <a:moveTo>
                    <a:pt x="1941" y="3893"/>
                  </a:moveTo>
                  <a:lnTo>
                    <a:pt x="1947" y="3751"/>
                  </a:lnTo>
                  <a:lnTo>
                    <a:pt x="2039" y="3659"/>
                  </a:lnTo>
                  <a:lnTo>
                    <a:pt x="2131" y="3751"/>
                  </a:lnTo>
                  <a:lnTo>
                    <a:pt x="2137" y="3893"/>
                  </a:lnTo>
                  <a:lnTo>
                    <a:pt x="1941" y="3893"/>
                  </a:lnTo>
                  <a:close/>
                  <a:moveTo>
                    <a:pt x="2039" y="3402"/>
                  </a:moveTo>
                  <a:lnTo>
                    <a:pt x="1488" y="2919"/>
                  </a:lnTo>
                  <a:lnTo>
                    <a:pt x="1488" y="2720"/>
                  </a:lnTo>
                  <a:cubicBezTo>
                    <a:pt x="1647" y="2823"/>
                    <a:pt x="1837" y="2883"/>
                    <a:pt x="2039" y="2883"/>
                  </a:cubicBezTo>
                  <a:cubicBezTo>
                    <a:pt x="2241" y="2883"/>
                    <a:pt x="2430" y="2823"/>
                    <a:pt x="2590" y="2720"/>
                  </a:cubicBezTo>
                  <a:lnTo>
                    <a:pt x="2590" y="2919"/>
                  </a:lnTo>
                  <a:lnTo>
                    <a:pt x="2039" y="3402"/>
                  </a:lnTo>
                  <a:close/>
                  <a:moveTo>
                    <a:pt x="2546" y="3748"/>
                  </a:moveTo>
                  <a:cubicBezTo>
                    <a:pt x="2531" y="3770"/>
                    <a:pt x="2507" y="3785"/>
                    <a:pt x="2480" y="3788"/>
                  </a:cubicBezTo>
                  <a:cubicBezTo>
                    <a:pt x="2464" y="3789"/>
                    <a:pt x="2433" y="3788"/>
                    <a:pt x="2407" y="3762"/>
                  </a:cubicBezTo>
                  <a:lnTo>
                    <a:pt x="2176" y="3531"/>
                  </a:lnTo>
                  <a:lnTo>
                    <a:pt x="2772" y="3010"/>
                  </a:lnTo>
                  <a:lnTo>
                    <a:pt x="2932" y="3170"/>
                  </a:lnTo>
                  <a:lnTo>
                    <a:pt x="2546" y="374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980">
              <a:extLst>
                <a:ext uri="{FF2B5EF4-FFF2-40B4-BE49-F238E27FC236}">
                  <a16:creationId xmlns:a16="http://schemas.microsoft.com/office/drawing/2014/main" id="{C5528BB9-C6AC-492A-905F-142507DAEE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3" y="2674"/>
              <a:ext cx="86" cy="78"/>
            </a:xfrm>
            <a:custGeom>
              <a:avLst/>
              <a:gdLst>
                <a:gd name="T0" fmla="*/ 2799 w 3193"/>
                <a:gd name="T1" fmla="*/ 501 h 2893"/>
                <a:gd name="T2" fmla="*/ 2191 w 3193"/>
                <a:gd name="T3" fmla="*/ 294 h 2893"/>
                <a:gd name="T4" fmla="*/ 1296 w 3193"/>
                <a:gd name="T5" fmla="*/ 0 h 2893"/>
                <a:gd name="T6" fmla="*/ 1002 w 3193"/>
                <a:gd name="T7" fmla="*/ 501 h 2893"/>
                <a:gd name="T8" fmla="*/ 0 w 3193"/>
                <a:gd name="T9" fmla="*/ 895 h 2893"/>
                <a:gd name="T10" fmla="*/ 100 w 3193"/>
                <a:gd name="T11" fmla="*/ 1466 h 2893"/>
                <a:gd name="T12" fmla="*/ 484 w 3193"/>
                <a:gd name="T13" fmla="*/ 2893 h 2893"/>
                <a:gd name="T14" fmla="*/ 3093 w 3193"/>
                <a:gd name="T15" fmla="*/ 2509 h 2893"/>
                <a:gd name="T16" fmla="*/ 3193 w 3193"/>
                <a:gd name="T17" fmla="*/ 1174 h 2893"/>
                <a:gd name="T18" fmla="*/ 1189 w 3193"/>
                <a:gd name="T19" fmla="*/ 294 h 2893"/>
                <a:gd name="T20" fmla="*/ 1296 w 3193"/>
                <a:gd name="T21" fmla="*/ 188 h 2893"/>
                <a:gd name="T22" fmla="*/ 2004 w 3193"/>
                <a:gd name="T23" fmla="*/ 294 h 2893"/>
                <a:gd name="T24" fmla="*/ 1189 w 3193"/>
                <a:gd name="T25" fmla="*/ 501 h 2893"/>
                <a:gd name="T26" fmla="*/ 3006 w 3193"/>
                <a:gd name="T27" fmla="*/ 1174 h 2893"/>
                <a:gd name="T28" fmla="*/ 2592 w 3193"/>
                <a:gd name="T29" fmla="*/ 1597 h 2893"/>
                <a:gd name="T30" fmla="*/ 2098 w 3193"/>
                <a:gd name="T31" fmla="*/ 1503 h 2893"/>
                <a:gd name="T32" fmla="*/ 2004 w 3193"/>
                <a:gd name="T33" fmla="*/ 1897 h 2893"/>
                <a:gd name="T34" fmla="*/ 2592 w 3193"/>
                <a:gd name="T35" fmla="*/ 1897 h 2893"/>
                <a:gd name="T36" fmla="*/ 2906 w 3193"/>
                <a:gd name="T37" fmla="*/ 1649 h 2893"/>
                <a:gd name="T38" fmla="*/ 2709 w 3193"/>
                <a:gd name="T39" fmla="*/ 2705 h 2893"/>
                <a:gd name="T40" fmla="*/ 288 w 3193"/>
                <a:gd name="T41" fmla="*/ 2509 h 2893"/>
                <a:gd name="T42" fmla="*/ 601 w 3193"/>
                <a:gd name="T43" fmla="*/ 1817 h 2893"/>
                <a:gd name="T44" fmla="*/ 895 w 3193"/>
                <a:gd name="T45" fmla="*/ 2192 h 2893"/>
                <a:gd name="T46" fmla="*/ 1597 w 3193"/>
                <a:gd name="T47" fmla="*/ 1991 h 2893"/>
                <a:gd name="T48" fmla="*/ 1791 w 3193"/>
                <a:gd name="T49" fmla="*/ 1893 h 2893"/>
                <a:gd name="T50" fmla="*/ 1597 w 3193"/>
                <a:gd name="T51" fmla="*/ 1804 h 2893"/>
                <a:gd name="T52" fmla="*/ 1189 w 3193"/>
                <a:gd name="T53" fmla="*/ 1597 h 2893"/>
                <a:gd name="T54" fmla="*/ 695 w 3193"/>
                <a:gd name="T55" fmla="*/ 1503 h 2893"/>
                <a:gd name="T56" fmla="*/ 601 w 3193"/>
                <a:gd name="T57" fmla="*/ 1613 h 2893"/>
                <a:gd name="T58" fmla="*/ 187 w 3193"/>
                <a:gd name="T59" fmla="*/ 895 h 2893"/>
                <a:gd name="T60" fmla="*/ 2799 w 3193"/>
                <a:gd name="T61" fmla="*/ 689 h 2893"/>
                <a:gd name="T62" fmla="*/ 3006 w 3193"/>
                <a:gd name="T63" fmla="*/ 1174 h 2893"/>
                <a:gd name="T64" fmla="*/ 2405 w 3193"/>
                <a:gd name="T65" fmla="*/ 1897 h 2893"/>
                <a:gd name="T66" fmla="*/ 2191 w 3193"/>
                <a:gd name="T67" fmla="*/ 1897 h 2893"/>
                <a:gd name="T68" fmla="*/ 2405 w 3193"/>
                <a:gd name="T69" fmla="*/ 1691 h 2893"/>
                <a:gd name="T70" fmla="*/ 789 w 3193"/>
                <a:gd name="T71" fmla="*/ 1691 h 2893"/>
                <a:gd name="T72" fmla="*/ 1002 w 3193"/>
                <a:gd name="T73" fmla="*/ 1897 h 2893"/>
                <a:gd name="T74" fmla="*/ 789 w 3193"/>
                <a:gd name="T75" fmla="*/ 1897 h 2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93" h="2893">
                  <a:moveTo>
                    <a:pt x="3193" y="895"/>
                  </a:moveTo>
                  <a:cubicBezTo>
                    <a:pt x="3193" y="678"/>
                    <a:pt x="3016" y="501"/>
                    <a:pt x="2799" y="501"/>
                  </a:cubicBezTo>
                  <a:lnTo>
                    <a:pt x="2191" y="501"/>
                  </a:lnTo>
                  <a:lnTo>
                    <a:pt x="2191" y="294"/>
                  </a:lnTo>
                  <a:cubicBezTo>
                    <a:pt x="2191" y="132"/>
                    <a:pt x="2059" y="0"/>
                    <a:pt x="1897" y="0"/>
                  </a:cubicBezTo>
                  <a:lnTo>
                    <a:pt x="1296" y="0"/>
                  </a:lnTo>
                  <a:cubicBezTo>
                    <a:pt x="1134" y="0"/>
                    <a:pt x="1002" y="132"/>
                    <a:pt x="1002" y="294"/>
                  </a:cubicBezTo>
                  <a:lnTo>
                    <a:pt x="1002" y="501"/>
                  </a:lnTo>
                  <a:lnTo>
                    <a:pt x="394" y="501"/>
                  </a:lnTo>
                  <a:cubicBezTo>
                    <a:pt x="177" y="501"/>
                    <a:pt x="0" y="678"/>
                    <a:pt x="0" y="895"/>
                  </a:cubicBezTo>
                  <a:lnTo>
                    <a:pt x="0" y="1174"/>
                  </a:lnTo>
                  <a:cubicBezTo>
                    <a:pt x="0" y="1276"/>
                    <a:pt x="34" y="1375"/>
                    <a:pt x="100" y="1466"/>
                  </a:cubicBezTo>
                  <a:lnTo>
                    <a:pt x="100" y="2509"/>
                  </a:lnTo>
                  <a:cubicBezTo>
                    <a:pt x="100" y="2721"/>
                    <a:pt x="272" y="2893"/>
                    <a:pt x="484" y="2893"/>
                  </a:cubicBezTo>
                  <a:lnTo>
                    <a:pt x="2709" y="2893"/>
                  </a:lnTo>
                  <a:cubicBezTo>
                    <a:pt x="2921" y="2893"/>
                    <a:pt x="3093" y="2721"/>
                    <a:pt x="3093" y="2509"/>
                  </a:cubicBezTo>
                  <a:lnTo>
                    <a:pt x="3093" y="1466"/>
                  </a:lnTo>
                  <a:cubicBezTo>
                    <a:pt x="3159" y="1375"/>
                    <a:pt x="3193" y="1276"/>
                    <a:pt x="3193" y="1174"/>
                  </a:cubicBezTo>
                  <a:lnTo>
                    <a:pt x="3193" y="895"/>
                  </a:lnTo>
                  <a:close/>
                  <a:moveTo>
                    <a:pt x="1189" y="294"/>
                  </a:moveTo>
                  <a:lnTo>
                    <a:pt x="1189" y="294"/>
                  </a:lnTo>
                  <a:cubicBezTo>
                    <a:pt x="1189" y="235"/>
                    <a:pt x="1237" y="188"/>
                    <a:pt x="1296" y="188"/>
                  </a:cubicBezTo>
                  <a:lnTo>
                    <a:pt x="1897" y="188"/>
                  </a:lnTo>
                  <a:cubicBezTo>
                    <a:pt x="1956" y="188"/>
                    <a:pt x="2004" y="235"/>
                    <a:pt x="2004" y="294"/>
                  </a:cubicBezTo>
                  <a:lnTo>
                    <a:pt x="2004" y="501"/>
                  </a:lnTo>
                  <a:lnTo>
                    <a:pt x="1189" y="501"/>
                  </a:lnTo>
                  <a:lnTo>
                    <a:pt x="1189" y="294"/>
                  </a:lnTo>
                  <a:close/>
                  <a:moveTo>
                    <a:pt x="3006" y="1174"/>
                  </a:moveTo>
                  <a:cubicBezTo>
                    <a:pt x="3006" y="1335"/>
                    <a:pt x="2854" y="1494"/>
                    <a:pt x="2592" y="1613"/>
                  </a:cubicBezTo>
                  <a:lnTo>
                    <a:pt x="2592" y="1597"/>
                  </a:lnTo>
                  <a:cubicBezTo>
                    <a:pt x="2592" y="1545"/>
                    <a:pt x="2550" y="1503"/>
                    <a:pt x="2498" y="1503"/>
                  </a:cubicBezTo>
                  <a:lnTo>
                    <a:pt x="2098" y="1503"/>
                  </a:lnTo>
                  <a:cubicBezTo>
                    <a:pt x="2046" y="1503"/>
                    <a:pt x="2004" y="1545"/>
                    <a:pt x="2004" y="1597"/>
                  </a:cubicBezTo>
                  <a:lnTo>
                    <a:pt x="2004" y="1897"/>
                  </a:lnTo>
                  <a:cubicBezTo>
                    <a:pt x="2004" y="2060"/>
                    <a:pt x="2136" y="2192"/>
                    <a:pt x="2298" y="2192"/>
                  </a:cubicBezTo>
                  <a:cubicBezTo>
                    <a:pt x="2460" y="2192"/>
                    <a:pt x="2592" y="2060"/>
                    <a:pt x="2592" y="1897"/>
                  </a:cubicBezTo>
                  <a:lnTo>
                    <a:pt x="2592" y="1817"/>
                  </a:lnTo>
                  <a:cubicBezTo>
                    <a:pt x="2714" y="1769"/>
                    <a:pt x="2819" y="1712"/>
                    <a:pt x="2906" y="1649"/>
                  </a:cubicBezTo>
                  <a:lnTo>
                    <a:pt x="2906" y="2509"/>
                  </a:lnTo>
                  <a:cubicBezTo>
                    <a:pt x="2906" y="2617"/>
                    <a:pt x="2817" y="2705"/>
                    <a:pt x="2709" y="2705"/>
                  </a:cubicBezTo>
                  <a:lnTo>
                    <a:pt x="484" y="2705"/>
                  </a:lnTo>
                  <a:cubicBezTo>
                    <a:pt x="376" y="2705"/>
                    <a:pt x="288" y="2617"/>
                    <a:pt x="288" y="2509"/>
                  </a:cubicBezTo>
                  <a:lnTo>
                    <a:pt x="288" y="1649"/>
                  </a:lnTo>
                  <a:cubicBezTo>
                    <a:pt x="374" y="1712"/>
                    <a:pt x="479" y="1769"/>
                    <a:pt x="601" y="1817"/>
                  </a:cubicBezTo>
                  <a:lnTo>
                    <a:pt x="601" y="1897"/>
                  </a:lnTo>
                  <a:cubicBezTo>
                    <a:pt x="601" y="2060"/>
                    <a:pt x="733" y="2192"/>
                    <a:pt x="895" y="2192"/>
                  </a:cubicBezTo>
                  <a:cubicBezTo>
                    <a:pt x="1035" y="2192"/>
                    <a:pt x="1151" y="2094"/>
                    <a:pt x="1182" y="1964"/>
                  </a:cubicBezTo>
                  <a:cubicBezTo>
                    <a:pt x="1316" y="1982"/>
                    <a:pt x="1455" y="1991"/>
                    <a:pt x="1597" y="1991"/>
                  </a:cubicBezTo>
                  <a:cubicBezTo>
                    <a:pt x="1631" y="1991"/>
                    <a:pt x="1666" y="1991"/>
                    <a:pt x="1700" y="1990"/>
                  </a:cubicBezTo>
                  <a:cubicBezTo>
                    <a:pt x="1752" y="1988"/>
                    <a:pt x="1792" y="1945"/>
                    <a:pt x="1791" y="1893"/>
                  </a:cubicBezTo>
                  <a:cubicBezTo>
                    <a:pt x="1789" y="1841"/>
                    <a:pt x="1746" y="1800"/>
                    <a:pt x="1694" y="1802"/>
                  </a:cubicBezTo>
                  <a:cubicBezTo>
                    <a:pt x="1662" y="1803"/>
                    <a:pt x="1629" y="1804"/>
                    <a:pt x="1597" y="1804"/>
                  </a:cubicBezTo>
                  <a:cubicBezTo>
                    <a:pt x="1458" y="1804"/>
                    <a:pt x="1321" y="1794"/>
                    <a:pt x="1189" y="1776"/>
                  </a:cubicBezTo>
                  <a:lnTo>
                    <a:pt x="1189" y="1597"/>
                  </a:lnTo>
                  <a:cubicBezTo>
                    <a:pt x="1189" y="1545"/>
                    <a:pt x="1147" y="1503"/>
                    <a:pt x="1096" y="1503"/>
                  </a:cubicBezTo>
                  <a:lnTo>
                    <a:pt x="695" y="1503"/>
                  </a:lnTo>
                  <a:cubicBezTo>
                    <a:pt x="643" y="1503"/>
                    <a:pt x="601" y="1545"/>
                    <a:pt x="601" y="1597"/>
                  </a:cubicBezTo>
                  <a:lnTo>
                    <a:pt x="601" y="1613"/>
                  </a:lnTo>
                  <a:cubicBezTo>
                    <a:pt x="340" y="1494"/>
                    <a:pt x="187" y="1335"/>
                    <a:pt x="187" y="1174"/>
                  </a:cubicBezTo>
                  <a:lnTo>
                    <a:pt x="187" y="895"/>
                  </a:lnTo>
                  <a:cubicBezTo>
                    <a:pt x="187" y="781"/>
                    <a:pt x="280" y="689"/>
                    <a:pt x="394" y="689"/>
                  </a:cubicBezTo>
                  <a:lnTo>
                    <a:pt x="2799" y="689"/>
                  </a:lnTo>
                  <a:cubicBezTo>
                    <a:pt x="2913" y="689"/>
                    <a:pt x="3006" y="781"/>
                    <a:pt x="3006" y="895"/>
                  </a:cubicBezTo>
                  <a:lnTo>
                    <a:pt x="3006" y="1174"/>
                  </a:lnTo>
                  <a:close/>
                  <a:moveTo>
                    <a:pt x="2405" y="1691"/>
                  </a:moveTo>
                  <a:lnTo>
                    <a:pt x="2405" y="1897"/>
                  </a:lnTo>
                  <a:cubicBezTo>
                    <a:pt x="2405" y="1956"/>
                    <a:pt x="2357" y="2004"/>
                    <a:pt x="2298" y="2004"/>
                  </a:cubicBezTo>
                  <a:cubicBezTo>
                    <a:pt x="2239" y="2004"/>
                    <a:pt x="2191" y="1956"/>
                    <a:pt x="2191" y="1897"/>
                  </a:cubicBezTo>
                  <a:lnTo>
                    <a:pt x="2191" y="1691"/>
                  </a:lnTo>
                  <a:lnTo>
                    <a:pt x="2405" y="1691"/>
                  </a:lnTo>
                  <a:close/>
                  <a:moveTo>
                    <a:pt x="789" y="1897"/>
                  </a:moveTo>
                  <a:lnTo>
                    <a:pt x="789" y="1691"/>
                  </a:lnTo>
                  <a:lnTo>
                    <a:pt x="1002" y="1691"/>
                  </a:lnTo>
                  <a:lnTo>
                    <a:pt x="1002" y="1897"/>
                  </a:lnTo>
                  <a:cubicBezTo>
                    <a:pt x="1002" y="1956"/>
                    <a:pt x="954" y="2004"/>
                    <a:pt x="895" y="2004"/>
                  </a:cubicBezTo>
                  <a:cubicBezTo>
                    <a:pt x="836" y="2004"/>
                    <a:pt x="789" y="1956"/>
                    <a:pt x="789" y="18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075335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itle 1">
            <a:extLst>
              <a:ext uri="{FF2B5EF4-FFF2-40B4-BE49-F238E27FC236}">
                <a16:creationId xmlns:a16="http://schemas.microsoft.com/office/drawing/2014/main" id="{0F34C3D2-3092-4BB3-AFA3-BF67D3FFC216}"/>
              </a:ext>
            </a:extLst>
          </p:cNvPr>
          <p:cNvSpPr txBox="1">
            <a:spLocks/>
          </p:cNvSpPr>
          <p:nvPr/>
        </p:nvSpPr>
        <p:spPr>
          <a:xfrm>
            <a:off x="1132491" y="6276056"/>
            <a:ext cx="10515600" cy="3129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57DEE0-9126-48B2-B176-C93915EF8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Комплаенс </a:t>
            </a:r>
            <a:r>
              <a:rPr lang="ru-RU" sz="2200" dirty="0" err="1"/>
              <a:t>бўлинманинг</a:t>
            </a:r>
            <a:r>
              <a:rPr lang="ru-RU" sz="2200" dirty="0"/>
              <a:t> </a:t>
            </a:r>
            <a:r>
              <a:rPr lang="ru-RU" sz="2200" dirty="0" err="1"/>
              <a:t>ўрни</a:t>
            </a:r>
            <a:r>
              <a:rPr lang="ru-RU" sz="2200" dirty="0"/>
              <a:t> </a:t>
            </a:r>
            <a:r>
              <a:rPr lang="ru-RU" sz="2200" dirty="0" err="1"/>
              <a:t>ва</a:t>
            </a:r>
            <a:r>
              <a:rPr lang="ru-RU" sz="2200" dirty="0"/>
              <a:t> роли: </a:t>
            </a:r>
            <a:br>
              <a:rPr lang="ru-RU" sz="2200" dirty="0"/>
            </a:br>
            <a:r>
              <a:rPr lang="ru-RU" sz="2200" dirty="0"/>
              <a:t>Ўзбекистон </a:t>
            </a:r>
            <a:r>
              <a:rPr lang="ru-RU" sz="2200" dirty="0" err="1"/>
              <a:t>Республикасида</a:t>
            </a:r>
            <a:r>
              <a:rPr lang="ru-RU" sz="2200" dirty="0"/>
              <a:t> комплаенс </a:t>
            </a:r>
            <a:r>
              <a:rPr lang="ru-RU" sz="2200" dirty="0" err="1"/>
              <a:t>функцияларини</a:t>
            </a:r>
            <a:r>
              <a:rPr lang="ru-RU" sz="2200" dirty="0"/>
              <a:t> </a:t>
            </a:r>
            <a:r>
              <a:rPr lang="ru-RU" sz="2200" dirty="0" err="1"/>
              <a:t>ташкил</a:t>
            </a:r>
            <a:r>
              <a:rPr lang="ru-RU" sz="2200" dirty="0"/>
              <a:t> </a:t>
            </a:r>
            <a:r>
              <a:rPr lang="ru-RU" sz="2200" dirty="0" err="1"/>
              <a:t>этиш</a:t>
            </a:r>
            <a:r>
              <a:rPr lang="ru-RU" sz="2200" dirty="0"/>
              <a:t> </a:t>
            </a:r>
            <a:r>
              <a:rPr lang="ru-RU" sz="2200" dirty="0" err="1"/>
              <a:t>амалиёти</a:t>
            </a:r>
            <a:r>
              <a:rPr lang="en-US" sz="2200" dirty="0"/>
              <a:t> </a:t>
            </a:r>
            <a:r>
              <a:rPr lang="ru-RU" sz="2200" dirty="0"/>
              <a:t>(2/9)</a:t>
            </a:r>
            <a:endParaRPr lang="en-US" sz="22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5EB35AA-560E-4EE2-9FA8-669CC8EFF7F3}"/>
              </a:ext>
            </a:extLst>
          </p:cNvPr>
          <p:cNvGrpSpPr/>
          <p:nvPr/>
        </p:nvGrpSpPr>
        <p:grpSpPr>
          <a:xfrm>
            <a:off x="438150" y="1289769"/>
            <a:ext cx="5586413" cy="460375"/>
            <a:chOff x="431998" y="1497505"/>
            <a:chExt cx="7042690" cy="630869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C821063-F354-4612-BDFF-F85EF64BF064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2E3F1BB-C2BA-4C29-878C-216372753EFB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uz-Cyrl-UZ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мплаенс-бўлинмаларини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uz-Cyrl-UZ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зифалар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: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7223B97-13D3-4234-9C5D-E7047FA8CBC6}"/>
              </a:ext>
            </a:extLst>
          </p:cNvPr>
          <p:cNvGrpSpPr/>
          <p:nvPr/>
        </p:nvGrpSpPr>
        <p:grpSpPr>
          <a:xfrm>
            <a:off x="431998" y="1970335"/>
            <a:ext cx="5592565" cy="690385"/>
            <a:chOff x="388801" y="1374227"/>
            <a:chExt cx="5592565" cy="690385"/>
          </a:xfrm>
        </p:grpSpPr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99018DFE-447C-4485-8355-CA6D9E46F2AD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3494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0</a:t>
              </a:r>
              <a:r>
                <a:rPr lang="en-US" sz="5400" b="1" dirty="0">
                  <a:solidFill>
                    <a:srgbClr val="B1C7F7">
                      <a:alpha val="55000"/>
                    </a:srgbClr>
                  </a:solidFill>
                </a:rPr>
                <a:t>1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D2608D23-CA2F-42D0-8D8A-B1762B7E9BDC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фаолият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акомиллаштириш</a:t>
              </a:r>
              <a:endParaRPr lang="ru-RU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F63849-519D-4469-B5CC-FBC5B71C7897}"/>
              </a:ext>
            </a:extLst>
          </p:cNvPr>
          <p:cNvGrpSpPr/>
          <p:nvPr/>
        </p:nvGrpSpPr>
        <p:grpSpPr>
          <a:xfrm>
            <a:off x="431998" y="2884205"/>
            <a:ext cx="5592565" cy="690385"/>
            <a:chOff x="388801" y="1374227"/>
            <a:chExt cx="5592565" cy="690385"/>
          </a:xfrm>
        </p:grpSpPr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A9F33FAD-C4F5-4A7E-A5BF-BDA8D318E58A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3494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02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5" name="Title 1">
              <a:extLst>
                <a:ext uri="{FF2B5EF4-FFF2-40B4-BE49-F238E27FC236}">
                  <a16:creationId xmlns:a16="http://schemas.microsoft.com/office/drawing/2014/main" id="{2E390A84-E21D-4416-9EDA-B79717318002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Коррупциявий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ҳуқуқбузарликлар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профилактикас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уларг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қарши курашиш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3CBE40-FA6F-4D0A-BE1F-B50566C77A51}"/>
              </a:ext>
            </a:extLst>
          </p:cNvPr>
          <p:cNvGrpSpPr/>
          <p:nvPr/>
        </p:nvGrpSpPr>
        <p:grpSpPr>
          <a:xfrm>
            <a:off x="431998" y="3841011"/>
            <a:ext cx="5592565" cy="690385"/>
            <a:chOff x="388801" y="1374227"/>
            <a:chExt cx="5592565" cy="690385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094726B9-475D-40CE-A4EF-7DCE9EB1A111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3494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03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480B5267-73B8-4E00-B1AF-68924975D561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изим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назорат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унинг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самарал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ишлаш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аъминлаш</a:t>
              </a:r>
              <a:endParaRPr lang="ru-RU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B140768D-8980-4A41-AA84-080B507CD5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7438" y="1650504"/>
            <a:ext cx="5581650" cy="463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8843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81A134B-D779-4C58-9AB9-86DDF887CD6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7438" y="1648002"/>
            <a:ext cx="5592564" cy="4637621"/>
          </a:xfrm>
          <a:prstGeom prst="rect">
            <a:avLst/>
          </a:prstGeom>
        </p:spPr>
      </p:pic>
      <p:sp>
        <p:nvSpPr>
          <p:cNvPr id="78" name="Title 1">
            <a:extLst>
              <a:ext uri="{FF2B5EF4-FFF2-40B4-BE49-F238E27FC236}">
                <a16:creationId xmlns:a16="http://schemas.microsoft.com/office/drawing/2014/main" id="{0F34C3D2-3092-4BB3-AFA3-BF67D3FFC216}"/>
              </a:ext>
            </a:extLst>
          </p:cNvPr>
          <p:cNvSpPr txBox="1">
            <a:spLocks/>
          </p:cNvSpPr>
          <p:nvPr/>
        </p:nvSpPr>
        <p:spPr>
          <a:xfrm>
            <a:off x="1132491" y="6276056"/>
            <a:ext cx="10515600" cy="3129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57DEE0-9126-48B2-B176-C93915EF8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Комплаенс </a:t>
            </a:r>
            <a:r>
              <a:rPr lang="ru-RU" sz="2200" dirty="0" err="1"/>
              <a:t>бўлинманинг</a:t>
            </a:r>
            <a:r>
              <a:rPr lang="ru-RU" sz="2200" dirty="0"/>
              <a:t> </a:t>
            </a:r>
            <a:r>
              <a:rPr lang="ru-RU" sz="2200" dirty="0" err="1"/>
              <a:t>ўрни</a:t>
            </a:r>
            <a:r>
              <a:rPr lang="ru-RU" sz="2200" dirty="0"/>
              <a:t> </a:t>
            </a:r>
            <a:r>
              <a:rPr lang="ru-RU" sz="2200" dirty="0" err="1"/>
              <a:t>ва</a:t>
            </a:r>
            <a:r>
              <a:rPr lang="ru-RU" sz="2200" dirty="0"/>
              <a:t> роли: </a:t>
            </a:r>
            <a:br>
              <a:rPr lang="ru-RU" sz="2200" dirty="0"/>
            </a:br>
            <a:r>
              <a:rPr lang="ru-RU" sz="2200" dirty="0"/>
              <a:t>Ўзбекистон </a:t>
            </a:r>
            <a:r>
              <a:rPr lang="ru-RU" sz="2200" dirty="0" err="1"/>
              <a:t>Республикасида</a:t>
            </a:r>
            <a:r>
              <a:rPr lang="ru-RU" sz="2200" dirty="0"/>
              <a:t> комплаенс </a:t>
            </a:r>
            <a:r>
              <a:rPr lang="ru-RU" sz="2200" dirty="0" err="1"/>
              <a:t>функцияларини</a:t>
            </a:r>
            <a:r>
              <a:rPr lang="ru-RU" sz="2200" dirty="0"/>
              <a:t> </a:t>
            </a:r>
            <a:r>
              <a:rPr lang="ru-RU" sz="2200" dirty="0" err="1"/>
              <a:t>ташкил</a:t>
            </a:r>
            <a:r>
              <a:rPr lang="ru-RU" sz="2200" dirty="0"/>
              <a:t> </a:t>
            </a:r>
            <a:r>
              <a:rPr lang="ru-RU" sz="2200" dirty="0" err="1"/>
              <a:t>этиш</a:t>
            </a:r>
            <a:r>
              <a:rPr lang="ru-RU" sz="2200" dirty="0"/>
              <a:t> </a:t>
            </a:r>
            <a:r>
              <a:rPr lang="ru-RU" sz="2200" dirty="0" err="1"/>
              <a:t>амалиёти</a:t>
            </a:r>
            <a:r>
              <a:rPr lang="ru-RU" sz="2200" dirty="0"/>
              <a:t> (3/9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5EB35AA-560E-4EE2-9FA8-669CC8EFF7F3}"/>
              </a:ext>
            </a:extLst>
          </p:cNvPr>
          <p:cNvGrpSpPr/>
          <p:nvPr/>
        </p:nvGrpSpPr>
        <p:grpSpPr>
          <a:xfrm>
            <a:off x="438150" y="1289770"/>
            <a:ext cx="5586413" cy="996328"/>
            <a:chOff x="431998" y="1497505"/>
            <a:chExt cx="7042690" cy="607420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C821063-F354-4612-BDFF-F85EF64BF064}"/>
                </a:ext>
              </a:extLst>
            </p:cNvPr>
            <p:cNvSpPr/>
            <p:nvPr/>
          </p:nvSpPr>
          <p:spPr>
            <a:xfrm>
              <a:off x="552610" y="1606814"/>
              <a:ext cx="6922078" cy="498111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2E3F1BB-C2BA-4C29-878C-216372753EFB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мплаенс-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инмаларини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ррупцияга қарши курашиш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фаолиятин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комиллаштири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оҳасидаг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зифалар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7223B97-13D3-4234-9C5D-E7047FA8CBC6}"/>
              </a:ext>
            </a:extLst>
          </p:cNvPr>
          <p:cNvGrpSpPr/>
          <p:nvPr/>
        </p:nvGrpSpPr>
        <p:grpSpPr>
          <a:xfrm>
            <a:off x="431998" y="2470190"/>
            <a:ext cx="5592565" cy="690385"/>
            <a:chOff x="388801" y="1374227"/>
            <a:chExt cx="5592565" cy="690385"/>
          </a:xfrm>
        </p:grpSpPr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99018DFE-447C-4485-8355-CA6D9E46F2AD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3494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0</a:t>
              </a:r>
              <a:r>
                <a:rPr lang="en-US" sz="5400" b="1" dirty="0">
                  <a:solidFill>
                    <a:srgbClr val="B1C7F7">
                      <a:alpha val="55000"/>
                    </a:srgbClr>
                  </a:solidFill>
                </a:rPr>
                <a:t>1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D2608D23-CA2F-42D0-8D8A-B1762B7E9BDC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чора-тадбирлар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амалг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оширишг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қаратилган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ички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ҳужжатлар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лойиҳалар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ишлаб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чиқиш</a:t>
              </a:r>
              <a:endParaRPr lang="ru-RU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F63849-519D-4469-B5CC-FBC5B71C7897}"/>
              </a:ext>
            </a:extLst>
          </p:cNvPr>
          <p:cNvGrpSpPr/>
          <p:nvPr/>
        </p:nvGrpSpPr>
        <p:grpSpPr>
          <a:xfrm>
            <a:off x="431998" y="3611760"/>
            <a:ext cx="5640084" cy="608658"/>
            <a:chOff x="388801" y="1362469"/>
            <a:chExt cx="5640084" cy="608658"/>
          </a:xfrm>
        </p:grpSpPr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A9F33FAD-C4F5-4A7E-A5BF-BDA8D318E58A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3494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02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5" name="Title 1">
              <a:extLst>
                <a:ext uri="{FF2B5EF4-FFF2-40B4-BE49-F238E27FC236}">
                  <a16:creationId xmlns:a16="http://schemas.microsoft.com/office/drawing/2014/main" id="{2E390A84-E21D-4416-9EDA-B79717318002}"/>
                </a:ext>
              </a:extLst>
            </p:cNvPr>
            <p:cNvSpPr txBox="1">
              <a:spLocks/>
            </p:cNvSpPr>
            <p:nvPr/>
          </p:nvSpPr>
          <p:spPr>
            <a:xfrm>
              <a:off x="672999" y="1362469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чора-тадбирлари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режас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ишлаб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чиқи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асдиқла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учун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раҳбарг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ақдим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этиш</a:t>
              </a:r>
              <a:endParaRPr lang="ru-RU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3CBE40-FA6F-4D0A-BE1F-B50566C77A51}"/>
              </a:ext>
            </a:extLst>
          </p:cNvPr>
          <p:cNvGrpSpPr/>
          <p:nvPr/>
        </p:nvGrpSpPr>
        <p:grpSpPr>
          <a:xfrm>
            <a:off x="431998" y="4811115"/>
            <a:ext cx="5592565" cy="690385"/>
            <a:chOff x="388801" y="1374227"/>
            <a:chExt cx="5592565" cy="690385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094726B9-475D-40CE-A4EF-7DCE9EB1A111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3494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03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480B5267-73B8-4E00-B1AF-68924975D561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Давлат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ашкилот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фаолият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илан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оғлиқ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норматив-</a:t>
              </a:r>
              <a:r>
                <a:rPr lang="uz-Cyrl-UZ" sz="1600" b="1" dirty="0">
                  <a:solidFill>
                    <a:schemeClr val="bg2">
                      <a:lumMod val="25000"/>
                    </a:schemeClr>
                  </a:solidFill>
                </a:rPr>
                <a:t>ҳуқуқий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идоравий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ички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ҳужжатлард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аниқланган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коррупциявий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нормалар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амалг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оширишг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й</a:t>
              </a:r>
              <a:r>
                <a:rPr lang="uz-Cyrl-UZ" sz="1600" b="1" dirty="0">
                  <a:solidFill>
                    <a:schemeClr val="bg2">
                      <a:lumMod val="25000"/>
                    </a:schemeClr>
                  </a:solidFill>
                </a:rPr>
                <a:t>ўл қўймаслик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аклифлар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ишлаб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чиқиш</a:t>
              </a:r>
              <a:endParaRPr lang="ru-RU" sz="1600" b="1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09365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itle 1">
            <a:extLst>
              <a:ext uri="{FF2B5EF4-FFF2-40B4-BE49-F238E27FC236}">
                <a16:creationId xmlns:a16="http://schemas.microsoft.com/office/drawing/2014/main" id="{0F34C3D2-3092-4BB3-AFA3-BF67D3FFC216}"/>
              </a:ext>
            </a:extLst>
          </p:cNvPr>
          <p:cNvSpPr txBox="1">
            <a:spLocks/>
          </p:cNvSpPr>
          <p:nvPr/>
        </p:nvSpPr>
        <p:spPr>
          <a:xfrm>
            <a:off x="1132491" y="6276056"/>
            <a:ext cx="10515600" cy="3129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57DEE0-9126-48B2-B176-C93915EF87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Комплаенс </a:t>
            </a:r>
            <a:r>
              <a:rPr lang="ru-RU" sz="2200" dirty="0" err="1"/>
              <a:t>бўлинманинг</a:t>
            </a:r>
            <a:r>
              <a:rPr lang="ru-RU" sz="2200" dirty="0"/>
              <a:t> </a:t>
            </a:r>
            <a:r>
              <a:rPr lang="ru-RU" sz="2200" dirty="0" err="1"/>
              <a:t>ўрни</a:t>
            </a:r>
            <a:r>
              <a:rPr lang="ru-RU" sz="2200" dirty="0"/>
              <a:t> </a:t>
            </a:r>
            <a:r>
              <a:rPr lang="ru-RU" sz="2200" dirty="0" err="1"/>
              <a:t>ва</a:t>
            </a:r>
            <a:r>
              <a:rPr lang="ru-RU" sz="2200" dirty="0"/>
              <a:t> роли: </a:t>
            </a:r>
            <a:br>
              <a:rPr lang="ru-RU" sz="2200" dirty="0"/>
            </a:br>
            <a:r>
              <a:rPr lang="ru-RU" sz="2200" dirty="0"/>
              <a:t>Ўзбекистон </a:t>
            </a:r>
            <a:r>
              <a:rPr lang="ru-RU" sz="2200" dirty="0" err="1"/>
              <a:t>Республикасида</a:t>
            </a:r>
            <a:r>
              <a:rPr lang="ru-RU" sz="2200" dirty="0"/>
              <a:t> комплаенс </a:t>
            </a:r>
            <a:r>
              <a:rPr lang="ru-RU" sz="2200" dirty="0" err="1"/>
              <a:t>функцияларини</a:t>
            </a:r>
            <a:r>
              <a:rPr lang="ru-RU" sz="2200" dirty="0"/>
              <a:t> </a:t>
            </a:r>
            <a:r>
              <a:rPr lang="ru-RU" sz="2200" dirty="0" err="1"/>
              <a:t>ташкил</a:t>
            </a:r>
            <a:r>
              <a:rPr lang="ru-RU" sz="2200" dirty="0"/>
              <a:t> </a:t>
            </a:r>
            <a:r>
              <a:rPr lang="ru-RU" sz="2200" dirty="0" err="1"/>
              <a:t>этиш</a:t>
            </a:r>
            <a:r>
              <a:rPr lang="ru-RU" sz="2200" dirty="0"/>
              <a:t> </a:t>
            </a:r>
            <a:r>
              <a:rPr lang="ru-RU" sz="2200" dirty="0" err="1"/>
              <a:t>амалиёти</a:t>
            </a:r>
            <a:r>
              <a:rPr lang="ru-RU" sz="2200" dirty="0"/>
              <a:t> (4/9)</a:t>
            </a:r>
            <a:endParaRPr lang="en-US" sz="22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5EB35AA-560E-4EE2-9FA8-669CC8EFF7F3}"/>
              </a:ext>
            </a:extLst>
          </p:cNvPr>
          <p:cNvGrpSpPr/>
          <p:nvPr/>
        </p:nvGrpSpPr>
        <p:grpSpPr>
          <a:xfrm>
            <a:off x="438150" y="1289770"/>
            <a:ext cx="11310938" cy="637849"/>
            <a:chOff x="431998" y="1497505"/>
            <a:chExt cx="7042690" cy="591271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C821063-F354-4612-BDFF-F85EF64BF064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42E3F1BB-C2BA-4C29-878C-216372753EFB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мплаенс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инма</a:t>
              </a:r>
              <a:r>
                <a:rPr lang="uz-Cyrl-UZ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и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вий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ҳуқуқбузарликлар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профилактикас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ларг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қарши курашиш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оҳасидаг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зифалар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7223B97-13D3-4234-9C5D-E7047FA8CBC6}"/>
              </a:ext>
            </a:extLst>
          </p:cNvPr>
          <p:cNvGrpSpPr/>
          <p:nvPr/>
        </p:nvGrpSpPr>
        <p:grpSpPr>
          <a:xfrm>
            <a:off x="431998" y="1970335"/>
            <a:ext cx="5592565" cy="690385"/>
            <a:chOff x="388801" y="1374227"/>
            <a:chExt cx="5592565" cy="690385"/>
          </a:xfrm>
        </p:grpSpPr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99018DFE-447C-4485-8355-CA6D9E46F2AD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</a:t>
              </a:r>
              <a:r>
                <a:rPr lang="en-US" sz="4800" b="1" dirty="0">
                  <a:solidFill>
                    <a:srgbClr val="B1C7F7">
                      <a:alpha val="55000"/>
                    </a:srgbClr>
                  </a:solidFill>
                </a:rPr>
                <a:t>1</a:t>
              </a:r>
              <a:endParaRPr lang="en-US" sz="32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D2608D23-CA2F-42D0-8D8A-B1762B7E9BDC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авф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-х</a:t>
              </a:r>
              <a:r>
                <a:rPr lang="uz-Cyrl-UZ" sz="1400" dirty="0">
                  <a:solidFill>
                    <a:schemeClr val="bg2">
                      <a:lumMod val="25000"/>
                    </a:schemeClr>
                  </a:solidFill>
                </a:rPr>
                <a:t>атар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ни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аҳола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F63849-519D-4469-B5CC-FBC5B71C7897}"/>
              </a:ext>
            </a:extLst>
          </p:cNvPr>
          <p:cNvGrpSpPr/>
          <p:nvPr/>
        </p:nvGrpSpPr>
        <p:grpSpPr>
          <a:xfrm>
            <a:off x="431998" y="2616958"/>
            <a:ext cx="5592565" cy="690385"/>
            <a:chOff x="388801" y="1374227"/>
            <a:chExt cx="5592565" cy="690385"/>
          </a:xfrm>
        </p:grpSpPr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A9F33FAD-C4F5-4A7E-A5BF-BDA8D318E58A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2</a:t>
              </a:r>
              <a:endParaRPr lang="en-US" sz="32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5" name="Title 1">
              <a:extLst>
                <a:ext uri="{FF2B5EF4-FFF2-40B4-BE49-F238E27FC236}">
                  <a16:creationId xmlns:a16="http://schemas.microsoft.com/office/drawing/2014/main" id="{2E390A84-E21D-4416-9EDA-B79717318002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Аниқланган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авф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-х</a:t>
              </a:r>
              <a:r>
                <a:rPr lang="uz-Cyrl-UZ" sz="1400" dirty="0">
                  <a:solidFill>
                    <a:schemeClr val="bg2">
                      <a:lumMod val="25000"/>
                    </a:schemeClr>
                  </a:solidFill>
                </a:rPr>
                <a:t>атар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ни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инималлаштир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чора-тадбирлар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шлаб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чиқ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3CBE40-FA6F-4D0A-BE1F-B50566C77A51}"/>
              </a:ext>
            </a:extLst>
          </p:cNvPr>
          <p:cNvGrpSpPr/>
          <p:nvPr/>
        </p:nvGrpSpPr>
        <p:grpSpPr>
          <a:xfrm>
            <a:off x="431998" y="3263581"/>
            <a:ext cx="5592565" cy="690385"/>
            <a:chOff x="388801" y="1374227"/>
            <a:chExt cx="5592565" cy="690385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094726B9-475D-40CE-A4EF-7DCE9EB1A111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3</a:t>
              </a:r>
              <a:endParaRPr lang="en-US" sz="32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480B5267-73B8-4E00-B1AF-68924975D561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одим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омонида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уқуқбузарлик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соди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этилиш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эҳтимол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аҳола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қсад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коррупциявий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уқуқбузарликлар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олат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енденция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ғрис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ълумо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пла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6010CD8-C06C-4962-BCE0-9C22D9FB3F7A}"/>
              </a:ext>
            </a:extLst>
          </p:cNvPr>
          <p:cNvGrpSpPr/>
          <p:nvPr/>
        </p:nvGrpSpPr>
        <p:grpSpPr>
          <a:xfrm>
            <a:off x="431998" y="4192878"/>
            <a:ext cx="5592565" cy="690385"/>
            <a:chOff x="388801" y="1374227"/>
            <a:chExt cx="5592565" cy="690385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CF36CA9C-3040-4350-B9B2-4FB107247426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4</a:t>
              </a:r>
              <a:endParaRPr lang="en-US" sz="32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22" name="Title 1">
              <a:extLst>
                <a:ext uri="{FF2B5EF4-FFF2-40B4-BE49-F238E27FC236}">
                  <a16:creationId xmlns:a16="http://schemas.microsoft.com/office/drawing/2014/main" id="{E69361FB-A83F-4A58-9FE4-FBEE1CE2EE3C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олат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коррупциявий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авф-хатарлар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аниқла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қсад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аҳол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одим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ўртас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сўров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ўтказ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0DF9BD-C845-4114-A0F4-2111F5DEFB4B}"/>
              </a:ext>
            </a:extLst>
          </p:cNvPr>
          <p:cNvGrpSpPr/>
          <p:nvPr/>
        </p:nvGrpSpPr>
        <p:grpSpPr>
          <a:xfrm>
            <a:off x="431998" y="4917014"/>
            <a:ext cx="5592565" cy="690385"/>
            <a:chOff x="388801" y="1374227"/>
            <a:chExt cx="5592565" cy="690385"/>
          </a:xfrm>
        </p:grpSpPr>
        <p:sp>
          <p:nvSpPr>
            <p:cNvPr id="24" name="Title 1">
              <a:extLst>
                <a:ext uri="{FF2B5EF4-FFF2-40B4-BE49-F238E27FC236}">
                  <a16:creationId xmlns:a16="http://schemas.microsoft.com/office/drawing/2014/main" id="{5832360D-0BEF-4958-A4AD-B70B24C6A6B8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5</a:t>
              </a:r>
              <a:endParaRPr lang="en-US" sz="32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25" name="Title 1">
              <a:extLst>
                <a:ext uri="{FF2B5EF4-FFF2-40B4-BE49-F238E27FC236}">
                  <a16:creationId xmlns:a16="http://schemas.microsoft.com/office/drawing/2014/main" id="{543919E7-449A-479B-B0D5-134316659DAF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нфаат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қнашув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ҳлил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давл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аридлар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контрагентлар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шончлилиг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екшир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жараён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штирок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эт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B7038E4-484F-4D9A-8386-77C1BD6A5FAC}"/>
              </a:ext>
            </a:extLst>
          </p:cNvPr>
          <p:cNvGrpSpPr/>
          <p:nvPr/>
        </p:nvGrpSpPr>
        <p:grpSpPr>
          <a:xfrm>
            <a:off x="431998" y="5834977"/>
            <a:ext cx="5592565" cy="690385"/>
            <a:chOff x="388801" y="1374227"/>
            <a:chExt cx="5592565" cy="690385"/>
          </a:xfrm>
        </p:grpSpPr>
        <p:sp>
          <p:nvSpPr>
            <p:cNvPr id="27" name="Title 1">
              <a:extLst>
                <a:ext uri="{FF2B5EF4-FFF2-40B4-BE49-F238E27FC236}">
                  <a16:creationId xmlns:a16="http://schemas.microsoft.com/office/drawing/2014/main" id="{09577AC0-55D1-4FF6-BA17-3472A5B15953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6</a:t>
              </a:r>
              <a:endParaRPr lang="en-US" sz="32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28" name="Title 1">
              <a:extLst>
                <a:ext uri="{FF2B5EF4-FFF2-40B4-BE49-F238E27FC236}">
                  <a16:creationId xmlns:a16="http://schemas.microsoft.com/office/drawing/2014/main" id="{110025D8-C2C7-4ED4-8314-E9422C4A2FAA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сала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одимларг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ушунтир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всия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ер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6076205-9D91-4B0A-8C54-475A3516BAAF}"/>
              </a:ext>
            </a:extLst>
          </p:cNvPr>
          <p:cNvGrpSpPr/>
          <p:nvPr/>
        </p:nvGrpSpPr>
        <p:grpSpPr>
          <a:xfrm>
            <a:off x="6167438" y="1970335"/>
            <a:ext cx="5592565" cy="690385"/>
            <a:chOff x="388801" y="1374227"/>
            <a:chExt cx="5592565" cy="690385"/>
          </a:xfrm>
        </p:grpSpPr>
        <p:sp>
          <p:nvSpPr>
            <p:cNvPr id="30" name="Title 1">
              <a:extLst>
                <a:ext uri="{FF2B5EF4-FFF2-40B4-BE49-F238E27FC236}">
                  <a16:creationId xmlns:a16="http://schemas.microsoft.com/office/drawing/2014/main" id="{CD6E9370-A063-478D-BBBC-68B7B32F604D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7</a:t>
              </a:r>
              <a:endParaRPr lang="en-US" sz="32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31" name="Title 1">
              <a:extLst>
                <a:ext uri="{FF2B5EF4-FFF2-40B4-BE49-F238E27FC236}">
                  <a16:creationId xmlns:a16="http://schemas.microsoft.com/office/drawing/2014/main" id="{99E54D03-39F7-4B08-B3C4-8AE3C9E30A32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вий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авф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-</a:t>
              </a:r>
              <a:r>
                <a:rPr lang="uz-Cyrl-UZ" sz="1400" dirty="0">
                  <a:solidFill>
                    <a:schemeClr val="bg2">
                      <a:lumMod val="25000"/>
                    </a:schemeClr>
                  </a:solidFill>
                </a:rPr>
                <a:t>ҳатар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уқуқбузарлик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ғрисидаг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урожаатларг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уносаб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илдир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6D66C97-9799-4D41-A7D1-305FC1C76624}"/>
              </a:ext>
            </a:extLst>
          </p:cNvPr>
          <p:cNvGrpSpPr/>
          <p:nvPr/>
        </p:nvGrpSpPr>
        <p:grpSpPr>
          <a:xfrm>
            <a:off x="6167438" y="2616958"/>
            <a:ext cx="5592565" cy="690385"/>
            <a:chOff x="388801" y="1374227"/>
            <a:chExt cx="5592565" cy="690385"/>
          </a:xfrm>
        </p:grpSpPr>
        <p:sp>
          <p:nvSpPr>
            <p:cNvPr id="33" name="Title 1">
              <a:extLst>
                <a:ext uri="{FF2B5EF4-FFF2-40B4-BE49-F238E27FC236}">
                  <a16:creationId xmlns:a16="http://schemas.microsoft.com/office/drawing/2014/main" id="{AD0E0875-6BDD-496D-B194-88FDBF24A959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8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34" name="Title 1">
              <a:extLst>
                <a:ext uri="{FF2B5EF4-FFF2-40B4-BE49-F238E27FC236}">
                  <a16:creationId xmlns:a16="http://schemas.microsoft.com/office/drawing/2014/main" id="{DA5F7217-89B3-4C0A-87FB-A3B0A5C32556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факт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ғрис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хабар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ер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учу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алоқ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каналлари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атижалар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ҳлил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,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ҳлилий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териаллар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нфаатдо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ша</a:t>
              </a:r>
              <a:r>
                <a:rPr lang="uz-Cyrl-UZ" sz="1400" dirty="0">
                  <a:solidFill>
                    <a:schemeClr val="bg2">
                      <a:lumMod val="25000"/>
                    </a:schemeClr>
                  </a:solidFill>
                </a:rPr>
                <a:t>ҳ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с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эътибориг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етказ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EA579EB-F342-45B8-A93E-C68A68F9AC38}"/>
              </a:ext>
            </a:extLst>
          </p:cNvPr>
          <p:cNvGrpSpPr/>
          <p:nvPr/>
        </p:nvGrpSpPr>
        <p:grpSpPr>
          <a:xfrm>
            <a:off x="6167438" y="3453963"/>
            <a:ext cx="5592565" cy="690385"/>
            <a:chOff x="388801" y="1374227"/>
            <a:chExt cx="5592565" cy="690385"/>
          </a:xfrm>
        </p:grpSpPr>
        <p:sp>
          <p:nvSpPr>
            <p:cNvPr id="36" name="Title 1">
              <a:extLst>
                <a:ext uri="{FF2B5EF4-FFF2-40B4-BE49-F238E27FC236}">
                  <a16:creationId xmlns:a16="http://schemas.microsoft.com/office/drawing/2014/main" id="{60CF1CB1-0485-4995-A163-4F02E2C03DEC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28273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9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37" name="Title 1">
              <a:extLst>
                <a:ext uri="{FF2B5EF4-FFF2-40B4-BE49-F238E27FC236}">
                  <a16:creationId xmlns:a16="http://schemas.microsoft.com/office/drawing/2014/main" id="{53265BE0-AA64-4346-A996-5D6B82DDD234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лаб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ормалар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узганлик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учу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ўлланиладига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жавобгарлик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чоралари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утаносиблиг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етарлилиг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азор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A11D33B-CFCF-42BD-B510-1102FEB14637}"/>
              </a:ext>
            </a:extLst>
          </p:cNvPr>
          <p:cNvGrpSpPr/>
          <p:nvPr/>
        </p:nvGrpSpPr>
        <p:grpSpPr>
          <a:xfrm>
            <a:off x="6167438" y="4340557"/>
            <a:ext cx="5592565" cy="621503"/>
            <a:chOff x="388801" y="1374227"/>
            <a:chExt cx="5592565" cy="621503"/>
          </a:xfrm>
        </p:grpSpPr>
        <p:sp>
          <p:nvSpPr>
            <p:cNvPr id="39" name="Title 1">
              <a:extLst>
                <a:ext uri="{FF2B5EF4-FFF2-40B4-BE49-F238E27FC236}">
                  <a16:creationId xmlns:a16="http://schemas.microsoft.com/office/drawing/2014/main" id="{59278CB4-28D6-4490-8C34-44F0C149227E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28273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10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40" name="Title 1">
              <a:extLst>
                <a:ext uri="{FF2B5EF4-FFF2-40B4-BE49-F238E27FC236}">
                  <a16:creationId xmlns:a16="http://schemas.microsoft.com/office/drawing/2014/main" id="{8FB0BF01-8F38-4E95-97C6-857322F273AE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398831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изим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яна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комиллаштир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қсад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коррупция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факт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ўтказилга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изм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екширувлари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атижа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ғрисидаг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ълумотлар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ҳлил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uz-Cyrl-UZ" sz="1400" dirty="0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5D95151-E574-4F23-AD36-94C6F64427D2}"/>
              </a:ext>
            </a:extLst>
          </p:cNvPr>
          <p:cNvGrpSpPr/>
          <p:nvPr/>
        </p:nvGrpSpPr>
        <p:grpSpPr>
          <a:xfrm>
            <a:off x="6167438" y="5223038"/>
            <a:ext cx="5592565" cy="704813"/>
            <a:chOff x="388801" y="1374227"/>
            <a:chExt cx="5592565" cy="704813"/>
          </a:xfrm>
        </p:grpSpPr>
        <p:sp>
          <p:nvSpPr>
            <p:cNvPr id="42" name="Title 1">
              <a:extLst>
                <a:ext uri="{FF2B5EF4-FFF2-40B4-BE49-F238E27FC236}">
                  <a16:creationId xmlns:a16="http://schemas.microsoft.com/office/drawing/2014/main" id="{11A90D37-E71E-4FC5-9E16-976966CA515D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28273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11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43" name="Title 1">
              <a:extLst>
                <a:ext uri="{FF2B5EF4-FFF2-40B4-BE49-F238E27FC236}">
                  <a16:creationId xmlns:a16="http://schemas.microsoft.com/office/drawing/2014/main" id="{56B556D5-3649-4014-B1CD-07CC3801A87E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61132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факт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ўтказилга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изм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екширув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ғрисидаг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ълумотлар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изм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екширув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реестрида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ғ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лиқ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акс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эттирилаган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азор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FA00752-1B85-4434-A137-F2CAB78FE9C7}"/>
              </a:ext>
            </a:extLst>
          </p:cNvPr>
          <p:cNvGrpSpPr/>
          <p:nvPr/>
        </p:nvGrpSpPr>
        <p:grpSpPr>
          <a:xfrm>
            <a:off x="6167438" y="6074657"/>
            <a:ext cx="5592565" cy="690385"/>
            <a:chOff x="388801" y="1374227"/>
            <a:chExt cx="5592565" cy="690385"/>
          </a:xfrm>
        </p:grpSpPr>
        <p:sp>
          <p:nvSpPr>
            <p:cNvPr id="45" name="Title 1">
              <a:extLst>
                <a:ext uri="{FF2B5EF4-FFF2-40B4-BE49-F238E27FC236}">
                  <a16:creationId xmlns:a16="http://schemas.microsoft.com/office/drawing/2014/main" id="{EBDAFC45-24DC-4DC4-AC4E-260EDD93F46F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28273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12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46" name="Title 1">
              <a:extLst>
                <a:ext uri="{FF2B5EF4-FFF2-40B4-BE49-F238E27FC236}">
                  <a16:creationId xmlns:a16="http://schemas.microsoft.com/office/drawing/2014/main" id="{6E0DCF0B-5F9E-4B59-BBC8-ABC573AD987F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олиб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орилга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ш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ғрис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раҳбариятг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унтазам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исобо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ер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16389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7DEE0-9126-48B2-B176-C93915EF8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60197"/>
            <a:ext cx="11317089" cy="434975"/>
          </a:xfrm>
        </p:spPr>
        <p:txBody>
          <a:bodyPr/>
          <a:lstStyle/>
          <a:p>
            <a:r>
              <a:rPr lang="ru-RU" sz="2200" dirty="0"/>
              <a:t>Комплаенс </a:t>
            </a:r>
            <a:r>
              <a:rPr lang="ru-RU" sz="2200" dirty="0" err="1"/>
              <a:t>бўлинманинг</a:t>
            </a:r>
            <a:r>
              <a:rPr lang="ru-RU" sz="2200" dirty="0"/>
              <a:t> </a:t>
            </a:r>
            <a:r>
              <a:rPr lang="ru-RU" sz="2200" dirty="0" err="1"/>
              <a:t>ўрни</a:t>
            </a:r>
            <a:r>
              <a:rPr lang="ru-RU" sz="2200" dirty="0"/>
              <a:t> </a:t>
            </a:r>
            <a:r>
              <a:rPr lang="ru-RU" sz="2200" dirty="0" err="1"/>
              <a:t>ва</a:t>
            </a:r>
            <a:r>
              <a:rPr lang="ru-RU" sz="2200" dirty="0"/>
              <a:t> роли: </a:t>
            </a:r>
            <a:br>
              <a:rPr lang="ru-RU" sz="2200" dirty="0"/>
            </a:br>
            <a:r>
              <a:rPr lang="ru-RU" sz="2200" dirty="0"/>
              <a:t>Ўзбекистон </a:t>
            </a:r>
            <a:r>
              <a:rPr lang="ru-RU" sz="2200" dirty="0" err="1"/>
              <a:t>Республикасида</a:t>
            </a:r>
            <a:r>
              <a:rPr lang="ru-RU" sz="2200" dirty="0"/>
              <a:t> комплаенс </a:t>
            </a:r>
            <a:r>
              <a:rPr lang="ru-RU" sz="2200" dirty="0" err="1"/>
              <a:t>функцияларини</a:t>
            </a:r>
            <a:r>
              <a:rPr lang="ru-RU" sz="2200" dirty="0"/>
              <a:t> </a:t>
            </a:r>
            <a:r>
              <a:rPr lang="ru-RU" sz="2200" dirty="0" err="1"/>
              <a:t>ташкил</a:t>
            </a:r>
            <a:r>
              <a:rPr lang="ru-RU" sz="2200" dirty="0"/>
              <a:t> </a:t>
            </a:r>
            <a:r>
              <a:rPr lang="ru-RU" sz="2200" dirty="0" err="1"/>
              <a:t>этиш</a:t>
            </a:r>
            <a:r>
              <a:rPr lang="ru-RU" sz="2200" dirty="0"/>
              <a:t> </a:t>
            </a:r>
            <a:r>
              <a:rPr lang="ru-RU" sz="2200" dirty="0" err="1"/>
              <a:t>амалиёти</a:t>
            </a:r>
            <a:r>
              <a:rPr lang="en-US" sz="2200" dirty="0"/>
              <a:t> </a:t>
            </a:r>
            <a:r>
              <a:rPr lang="ru-RU" sz="2200" dirty="0"/>
              <a:t>(5/9)</a:t>
            </a:r>
            <a:endParaRPr lang="en-US" sz="22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7223B97-13D3-4234-9C5D-E7047FA8CBC6}"/>
              </a:ext>
            </a:extLst>
          </p:cNvPr>
          <p:cNvGrpSpPr/>
          <p:nvPr/>
        </p:nvGrpSpPr>
        <p:grpSpPr>
          <a:xfrm>
            <a:off x="431998" y="1970335"/>
            <a:ext cx="5592565" cy="690385"/>
            <a:chOff x="388801" y="1374227"/>
            <a:chExt cx="5592565" cy="690385"/>
          </a:xfrm>
        </p:grpSpPr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99018DFE-447C-4485-8355-CA6D9E46F2AD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</a:t>
              </a:r>
              <a:r>
                <a:rPr lang="en-US" sz="4800" b="1" dirty="0">
                  <a:solidFill>
                    <a:srgbClr val="B1C7F7">
                      <a:alpha val="55000"/>
                    </a:srgbClr>
                  </a:solidFill>
                </a:rPr>
                <a:t>1</a:t>
              </a:r>
              <a:endParaRPr lang="en-US" sz="32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D2608D23-CA2F-42D0-8D8A-B1762B7E9BDC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Давлат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шкилот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коррупцияга қарши курашиш б</a:t>
              </a:r>
              <a:r>
                <a:rPr lang="uz-Cyrl-UZ" sz="1400" dirty="0">
                  <a:solidFill>
                    <a:schemeClr val="bg2">
                      <a:lumMod val="25000"/>
                    </a:schemeClr>
                  </a:solidFill>
                </a:rPr>
                <a:t>ў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юклатилга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зифа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жрос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мониторинг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азор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BF63849-519D-4469-B5CC-FBC5B71C7897}"/>
              </a:ext>
            </a:extLst>
          </p:cNvPr>
          <p:cNvGrpSpPr/>
          <p:nvPr/>
        </p:nvGrpSpPr>
        <p:grpSpPr>
          <a:xfrm>
            <a:off x="431998" y="2873605"/>
            <a:ext cx="5592565" cy="690385"/>
            <a:chOff x="388801" y="1374227"/>
            <a:chExt cx="5592565" cy="690385"/>
          </a:xfrm>
        </p:grpSpPr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A9F33FAD-C4F5-4A7E-A5BF-BDA8D318E58A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2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5" name="Title 1">
              <a:extLst>
                <a:ext uri="{FF2B5EF4-FFF2-40B4-BE49-F238E27FC236}">
                  <a16:creationId xmlns:a16="http://schemas.microsoft.com/office/drawing/2014/main" id="{2E390A84-E21D-4416-9EDA-B79717318002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орма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одимлар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ўқит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режалар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йёрлаш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штирок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эт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3CBE40-FA6F-4D0A-BE1F-B50566C77A51}"/>
              </a:ext>
            </a:extLst>
          </p:cNvPr>
          <p:cNvGrpSpPr/>
          <p:nvPr/>
        </p:nvGrpSpPr>
        <p:grpSpPr>
          <a:xfrm>
            <a:off x="431998" y="3776875"/>
            <a:ext cx="5592565" cy="690385"/>
            <a:chOff x="388801" y="1374227"/>
            <a:chExt cx="5592565" cy="690385"/>
          </a:xfrm>
        </p:grpSpPr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094726B9-475D-40CE-A4EF-7DCE9EB1A111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3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480B5267-73B8-4E00-B1AF-68924975D561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одим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учу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коррупция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олд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ол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ўқув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териаллар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шлаб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чиқ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6010CD8-C06C-4962-BCE0-9C22D9FB3F7A}"/>
              </a:ext>
            </a:extLst>
          </p:cNvPr>
          <p:cNvGrpSpPr/>
          <p:nvPr/>
        </p:nvGrpSpPr>
        <p:grpSpPr>
          <a:xfrm>
            <a:off x="431998" y="4680145"/>
            <a:ext cx="5592565" cy="690385"/>
            <a:chOff x="388801" y="1374227"/>
            <a:chExt cx="5592565" cy="690385"/>
          </a:xfrm>
        </p:grpSpPr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CF36CA9C-3040-4350-B9B2-4FB107247426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4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22" name="Title 1">
              <a:extLst>
                <a:ext uri="{FF2B5EF4-FFF2-40B4-BE49-F238E27FC236}">
                  <a16:creationId xmlns:a16="http://schemas.microsoft.com/office/drawing/2014/main" id="{E69361FB-A83F-4A58-9FE4-FBEE1CE2EE3C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Коррупцияга қарши курашиш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ар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одимлар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ўқув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дастуриг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увофиқ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ўқиш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азор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C0DF9BD-C845-4114-A0F4-2111F5DEFB4B}"/>
              </a:ext>
            </a:extLst>
          </p:cNvPr>
          <p:cNvGrpSpPr/>
          <p:nvPr/>
        </p:nvGrpSpPr>
        <p:grpSpPr>
          <a:xfrm>
            <a:off x="431998" y="5583415"/>
            <a:ext cx="5592565" cy="690385"/>
            <a:chOff x="388801" y="1374227"/>
            <a:chExt cx="5592565" cy="690385"/>
          </a:xfrm>
        </p:grpSpPr>
        <p:sp>
          <p:nvSpPr>
            <p:cNvPr id="24" name="Title 1">
              <a:extLst>
                <a:ext uri="{FF2B5EF4-FFF2-40B4-BE49-F238E27FC236}">
                  <a16:creationId xmlns:a16="http://schemas.microsoft.com/office/drawing/2014/main" id="{5832360D-0BEF-4958-A4AD-B70B24C6A6B8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5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25" name="Title 1">
              <a:extLst>
                <a:ext uri="{FF2B5EF4-FFF2-40B4-BE49-F238E27FC236}">
                  <a16:creationId xmlns:a16="http://schemas.microsoft.com/office/drawing/2014/main" id="{543919E7-449A-479B-B0D5-134316659DAF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одим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фуқаро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ўртас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коррупцияга қарши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атти-ҳаракатлар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рғиб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штирок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эт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6076205-9D91-4B0A-8C54-475A3516BAAF}"/>
              </a:ext>
            </a:extLst>
          </p:cNvPr>
          <p:cNvGrpSpPr/>
          <p:nvPr/>
        </p:nvGrpSpPr>
        <p:grpSpPr>
          <a:xfrm>
            <a:off x="6167438" y="1970335"/>
            <a:ext cx="5592565" cy="690385"/>
            <a:chOff x="388801" y="1374227"/>
            <a:chExt cx="5592565" cy="690385"/>
          </a:xfrm>
        </p:grpSpPr>
        <p:sp>
          <p:nvSpPr>
            <p:cNvPr id="30" name="Title 1">
              <a:extLst>
                <a:ext uri="{FF2B5EF4-FFF2-40B4-BE49-F238E27FC236}">
                  <a16:creationId xmlns:a16="http://schemas.microsoft.com/office/drawing/2014/main" id="{CD6E9370-A063-478D-BBBC-68B7B32F604D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6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31" name="Title 1">
              <a:extLst>
                <a:ext uri="{FF2B5EF4-FFF2-40B4-BE49-F238E27FC236}">
                  <a16:creationId xmlns:a16="http://schemas.microsoft.com/office/drawing/2014/main" id="{99E54D03-39F7-4B08-B3C4-8AE3C9E30A32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Давлат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шкилоти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расмий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веб-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сайт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ижтимоий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рмоқ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саҳифалар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«Коррупцияга қарши курашиш»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лим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ълумотлар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янгиланиш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ъминла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6D66C97-9799-4D41-A7D1-305FC1C76624}"/>
              </a:ext>
            </a:extLst>
          </p:cNvPr>
          <p:cNvGrpSpPr/>
          <p:nvPr/>
        </p:nvGrpSpPr>
        <p:grpSpPr>
          <a:xfrm>
            <a:off x="6167438" y="2873605"/>
            <a:ext cx="5592565" cy="690385"/>
            <a:chOff x="388801" y="1374227"/>
            <a:chExt cx="5592565" cy="690385"/>
          </a:xfrm>
        </p:grpSpPr>
        <p:sp>
          <p:nvSpPr>
            <p:cNvPr id="33" name="Title 1">
              <a:extLst>
                <a:ext uri="{FF2B5EF4-FFF2-40B4-BE49-F238E27FC236}">
                  <a16:creationId xmlns:a16="http://schemas.microsoft.com/office/drawing/2014/main" id="{AD0E0875-6BDD-496D-B194-88FDBF24A959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777422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7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34" name="Title 1">
              <a:extLst>
                <a:ext uri="{FF2B5EF4-FFF2-40B4-BE49-F238E27FC236}">
                  <a16:creationId xmlns:a16="http://schemas.microsoft.com/office/drawing/2014/main" id="{DA5F7217-89B3-4C0A-87FB-A3B0A5C32556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одимлар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коррупцияга қарши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сиёс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ртиб-таомилларг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,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шунингдек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юқо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хавфл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функциялар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одоб-ахлоқ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еъёрлариг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риоя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лар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мониторинг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азор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EA579EB-F342-45B8-A93E-C68A68F9AC38}"/>
              </a:ext>
            </a:extLst>
          </p:cNvPr>
          <p:cNvGrpSpPr/>
          <p:nvPr/>
        </p:nvGrpSpPr>
        <p:grpSpPr>
          <a:xfrm>
            <a:off x="6167438" y="3776875"/>
            <a:ext cx="5592565" cy="690385"/>
            <a:chOff x="388801" y="1374227"/>
            <a:chExt cx="5592565" cy="690385"/>
          </a:xfrm>
        </p:grpSpPr>
        <p:sp>
          <p:nvSpPr>
            <p:cNvPr id="36" name="Title 1">
              <a:extLst>
                <a:ext uri="{FF2B5EF4-FFF2-40B4-BE49-F238E27FC236}">
                  <a16:creationId xmlns:a16="http://schemas.microsoft.com/office/drawing/2014/main" id="{60CF1CB1-0485-4995-A163-4F02E2C03DEC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28273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8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37" name="Title 1">
              <a:extLst>
                <a:ext uri="{FF2B5EF4-FFF2-40B4-BE49-F238E27FC236}">
                  <a16:creationId xmlns:a16="http://schemas.microsoft.com/office/drawing/2014/main" id="{53265BE0-AA64-4346-A996-5D6B82DDD234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Манфаат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ўқнашув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ҳал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учу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абул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илинга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қарорларнинг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объективлиг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етарлилиг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жиҳатидан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Одоб-ахлоқ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комиссия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фаолият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екшири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A11D33B-CFCF-42BD-B510-1102FEB14637}"/>
              </a:ext>
            </a:extLst>
          </p:cNvPr>
          <p:cNvGrpSpPr/>
          <p:nvPr/>
        </p:nvGrpSpPr>
        <p:grpSpPr>
          <a:xfrm>
            <a:off x="6167438" y="4680145"/>
            <a:ext cx="5592565" cy="690385"/>
            <a:chOff x="388801" y="1374227"/>
            <a:chExt cx="5592565" cy="690385"/>
          </a:xfrm>
        </p:grpSpPr>
        <p:sp>
          <p:nvSpPr>
            <p:cNvPr id="39" name="Title 1">
              <a:extLst>
                <a:ext uri="{FF2B5EF4-FFF2-40B4-BE49-F238E27FC236}">
                  <a16:creationId xmlns:a16="http://schemas.microsoft.com/office/drawing/2014/main" id="{59278CB4-28D6-4490-8C34-44F0C149227E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28273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4800" b="1" dirty="0">
                  <a:solidFill>
                    <a:srgbClr val="B1C7F7">
                      <a:alpha val="55000"/>
                    </a:srgbClr>
                  </a:solidFill>
                </a:rPr>
                <a:t>09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40" name="Title 1">
              <a:extLst>
                <a:ext uri="{FF2B5EF4-FFF2-40B4-BE49-F238E27FC236}">
                  <a16:creationId xmlns:a16="http://schemas.microsoft.com/office/drawing/2014/main" id="{8FB0BF01-8F38-4E95-97C6-857322F273AE}"/>
                </a:ext>
              </a:extLst>
            </p:cNvPr>
            <p:cNvSpPr txBox="1">
              <a:spLocks/>
            </p:cNvSpPr>
            <p:nvPr/>
          </p:nvSpPr>
          <p:spPr>
            <a:xfrm>
              <a:off x="625480" y="1467713"/>
              <a:ext cx="5355886" cy="5968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600"/>
                </a:spcAft>
              </a:pPr>
              <a:r>
                <a:rPr lang="uz-Cyrl-UZ" sz="1400" dirty="0">
                  <a:solidFill>
                    <a:schemeClr val="bg2">
                      <a:lumMod val="25000"/>
                    </a:schemeClr>
                  </a:solidFill>
                </a:rPr>
                <a:t>Ўтказилган мониторинг</a:t>
              </a:r>
              <a:r>
                <a:rPr lang="en-US" sz="1400" dirty="0">
                  <a:solidFill>
                    <a:schemeClr val="bg2">
                      <a:lumMod val="25000"/>
                    </a:schemeClr>
                  </a:solidFill>
                </a:rPr>
                <a:t>,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азорат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дбир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ички аудит</a:t>
              </a:r>
              <a:r>
                <a:rPr lang="en-US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натижалар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асосид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коррупцияга қарши курашиш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изимини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комиллаштириш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бўйича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всиялар</a:t>
              </a:r>
              <a:r>
                <a:rPr lang="ru-RU" sz="14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400" dirty="0" err="1">
                  <a:solidFill>
                    <a:schemeClr val="bg2">
                      <a:lumMod val="25000"/>
                    </a:schemeClr>
                  </a:solidFill>
                </a:rPr>
                <a:t>тайёрлаш</a:t>
              </a:r>
              <a:endParaRPr lang="ru-RU" sz="1400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E8E42A1-A36D-417C-9207-F78A6A61941D}"/>
              </a:ext>
            </a:extLst>
          </p:cNvPr>
          <p:cNvGrpSpPr/>
          <p:nvPr/>
        </p:nvGrpSpPr>
        <p:grpSpPr>
          <a:xfrm>
            <a:off x="438150" y="1289770"/>
            <a:ext cx="11310938" cy="637849"/>
            <a:chOff x="431998" y="1497505"/>
            <a:chExt cx="7042690" cy="591271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DBFCCB87-65C8-4369-95AF-64A2EFB95689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BA3411EC-D86F-4B84-9446-781AC0C18012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га қарши курашиш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изимин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зорат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или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амарал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ишлашин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ъминла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оҳасидаг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мплаенс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инмани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зифалар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5345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3C30727-BB83-4339-9887-C9477C52CC80}"/>
              </a:ext>
            </a:extLst>
          </p:cNvPr>
          <p:cNvGrpSpPr/>
          <p:nvPr/>
        </p:nvGrpSpPr>
        <p:grpSpPr>
          <a:xfrm flipH="1">
            <a:off x="4631700" y="2411988"/>
            <a:ext cx="698193" cy="3385462"/>
            <a:chOff x="5731849" y="2411988"/>
            <a:chExt cx="698193" cy="3385462"/>
          </a:xfrm>
          <a:solidFill>
            <a:schemeClr val="bg1">
              <a:lumMod val="95000"/>
            </a:schemeClr>
          </a:solidFill>
        </p:grpSpPr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197DBED3-95F1-4A67-AC66-FEF60B1E4319}"/>
                </a:ext>
              </a:extLst>
            </p:cNvPr>
            <p:cNvSpPr/>
            <p:nvPr/>
          </p:nvSpPr>
          <p:spPr>
            <a:xfrm rot="15127384">
              <a:off x="6290430" y="3396730"/>
              <a:ext cx="137457" cy="1417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A0F7AF73-C58A-4E62-93C4-E0410CF4C8D3}"/>
                </a:ext>
              </a:extLst>
            </p:cNvPr>
            <p:cNvSpPr/>
            <p:nvPr/>
          </p:nvSpPr>
          <p:spPr>
            <a:xfrm rot="13371320">
              <a:off x="5731850" y="2411988"/>
              <a:ext cx="184907" cy="46794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Isosceles Triangle 5">
              <a:extLst>
                <a:ext uri="{FF2B5EF4-FFF2-40B4-BE49-F238E27FC236}">
                  <a16:creationId xmlns:a16="http://schemas.microsoft.com/office/drawing/2014/main" id="{412B025A-5BB6-43DC-9FDF-8A163F87EAA8}"/>
                </a:ext>
              </a:extLst>
            </p:cNvPr>
            <p:cNvSpPr/>
            <p:nvPr/>
          </p:nvSpPr>
          <p:spPr>
            <a:xfrm rot="8228680" flipV="1">
              <a:off x="5731849" y="5329510"/>
              <a:ext cx="184907" cy="46794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Isosceles Triangle 6">
              <a:extLst>
                <a:ext uri="{FF2B5EF4-FFF2-40B4-BE49-F238E27FC236}">
                  <a16:creationId xmlns:a16="http://schemas.microsoft.com/office/drawing/2014/main" id="{201CA032-8979-499A-A204-E3380425F924}"/>
                </a:ext>
              </a:extLst>
            </p:cNvPr>
            <p:cNvSpPr/>
            <p:nvPr/>
          </p:nvSpPr>
          <p:spPr>
            <a:xfrm rot="6472616" flipV="1">
              <a:off x="6290430" y="4642218"/>
              <a:ext cx="137457" cy="141767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3389B75E-97B7-4E5A-A378-56D3770D0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қарши </a:t>
            </a:r>
            <a:r>
              <a:rPr lang="ru-RU" dirty="0" err="1"/>
              <a:t>тизим</a:t>
            </a:r>
            <a:r>
              <a:rPr lang="ru-RU" dirty="0"/>
              <a:t> (8 та элемент</a:t>
            </a:r>
            <a:r>
              <a:rPr lang="en-US" dirty="0"/>
              <a:t>)</a:t>
            </a:r>
            <a:endParaRPr lang="ru-RU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5833A39-91E8-4BB7-8268-6D570D69718E}"/>
              </a:ext>
            </a:extLst>
          </p:cNvPr>
          <p:cNvGrpSpPr/>
          <p:nvPr/>
        </p:nvGrpSpPr>
        <p:grpSpPr>
          <a:xfrm>
            <a:off x="4809289" y="2807291"/>
            <a:ext cx="2573422" cy="2573422"/>
            <a:chOff x="3666289" y="2253686"/>
            <a:chExt cx="2573422" cy="2573422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58C24CA-E7D0-4418-BCA5-F99427630441}"/>
                </a:ext>
              </a:extLst>
            </p:cNvPr>
            <p:cNvGrpSpPr/>
            <p:nvPr/>
          </p:nvGrpSpPr>
          <p:grpSpPr>
            <a:xfrm>
              <a:off x="3809939" y="2392326"/>
              <a:ext cx="2286000" cy="2286000"/>
              <a:chOff x="3809939" y="2392326"/>
              <a:chExt cx="2286000" cy="2286000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66F07C83-6AC8-43E7-BB23-D2EEDA5BB311}"/>
                  </a:ext>
                </a:extLst>
              </p:cNvPr>
              <p:cNvSpPr/>
              <p:nvPr/>
            </p:nvSpPr>
            <p:spPr>
              <a:xfrm>
                <a:off x="3809939" y="2392326"/>
                <a:ext cx="2286000" cy="2286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rgbClr val="E4E4EF"/>
                  </a:gs>
                </a:gsLst>
                <a:lin ang="2700000" scaled="1"/>
                <a:tileRect/>
              </a:gradFill>
              <a:ln>
                <a:solidFill>
                  <a:srgbClr val="1BD7D3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>
                  <a:spcAft>
                    <a:spcPts val="1200"/>
                  </a:spcAft>
                </a:pPr>
                <a:endParaRPr lang="en-US" sz="1400" b="1" dirty="0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0A2A15BC-500E-4B21-9B18-3FB1005EFF03}"/>
                  </a:ext>
                </a:extLst>
              </p:cNvPr>
              <p:cNvSpPr/>
              <p:nvPr/>
            </p:nvSpPr>
            <p:spPr>
              <a:xfrm>
                <a:off x="4040908" y="2801567"/>
                <a:ext cx="1824062" cy="523220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rIns="0" anchor="ctr">
                <a:spAutoFit/>
              </a:bodyPr>
              <a:lstStyle/>
              <a:p>
                <a:pPr algn="ctr"/>
                <a:r>
                  <a:rPr lang="ru-RU" sz="1400" b="1" dirty="0">
                    <a:solidFill>
                      <a:srgbClr val="3A07DF"/>
                    </a:solidFill>
                  </a:rPr>
                  <a:t>Коррупцияга қарши </a:t>
                </a:r>
                <a:r>
                  <a:rPr lang="ru-RU" sz="1400" b="1" dirty="0" err="1">
                    <a:solidFill>
                      <a:srgbClr val="3A07DF"/>
                    </a:solidFill>
                  </a:rPr>
                  <a:t>тизим</a:t>
                </a:r>
                <a:r>
                  <a:rPr lang="ru-RU" sz="1400" b="1" dirty="0">
                    <a:solidFill>
                      <a:srgbClr val="3A07DF"/>
                    </a:solidFill>
                  </a:rPr>
                  <a:t> </a:t>
                </a:r>
              </a:p>
            </p:txBody>
          </p:sp>
        </p:grp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49A8223-24CA-454F-AAE8-946B36101013}"/>
                </a:ext>
              </a:extLst>
            </p:cNvPr>
            <p:cNvSpPr/>
            <p:nvPr/>
          </p:nvSpPr>
          <p:spPr>
            <a:xfrm>
              <a:off x="3666289" y="2253686"/>
              <a:ext cx="2573422" cy="2573422"/>
            </a:xfrm>
            <a:prstGeom prst="ellipse">
              <a:avLst/>
            </a:prstGeom>
            <a:noFill/>
            <a:ln>
              <a:solidFill>
                <a:srgbClr val="1BD7D3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999AA9A-A4E0-42E1-9608-568EF2A3CD6C}"/>
              </a:ext>
            </a:extLst>
          </p:cNvPr>
          <p:cNvSpPr/>
          <p:nvPr/>
        </p:nvSpPr>
        <p:spPr>
          <a:xfrm>
            <a:off x="6996114" y="5546948"/>
            <a:ext cx="4752974" cy="726853"/>
          </a:xfrm>
          <a:prstGeom prst="roundRect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54000" rIns="0" bIns="54000" rtlCol="0" anchor="ctr"/>
          <a:lstStyle/>
          <a:p>
            <a:r>
              <a:rPr lang="ru-RU" sz="1400" b="1" dirty="0">
                <a:solidFill>
                  <a:schemeClr val="tx2"/>
                </a:solidFill>
              </a:rPr>
              <a:t>Коррупцияга қарши курашиш </a:t>
            </a:r>
            <a:r>
              <a:rPr lang="ru-RU" sz="1400" b="1" dirty="0" err="1">
                <a:solidFill>
                  <a:schemeClr val="tx2"/>
                </a:solidFill>
              </a:rPr>
              <a:t>дастурин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амалг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ошириш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учун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асъул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шахслар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в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бўлинмаларнинг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авжудлиги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C996DB-533B-4528-9FEB-E6A2FAA8276C}"/>
              </a:ext>
            </a:extLst>
          </p:cNvPr>
          <p:cNvSpPr/>
          <p:nvPr/>
        </p:nvSpPr>
        <p:spPr>
          <a:xfrm>
            <a:off x="7087344" y="5597748"/>
            <a:ext cx="625250" cy="62525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E4E4EF"/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spcAft>
                <a:spcPts val="1200"/>
              </a:spcAft>
            </a:pPr>
            <a:endParaRPr lang="en-US" sz="1400" b="1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70720F9-83C5-468A-95FF-8F4A1821F849}"/>
              </a:ext>
            </a:extLst>
          </p:cNvPr>
          <p:cNvGrpSpPr/>
          <p:nvPr/>
        </p:nvGrpSpPr>
        <p:grpSpPr>
          <a:xfrm>
            <a:off x="7526362" y="4389571"/>
            <a:ext cx="4222726" cy="726853"/>
            <a:chOff x="6383361" y="3873386"/>
            <a:chExt cx="4222726" cy="726853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C5234F7-BD37-43C3-B8DE-9675F33A5AFC}"/>
                </a:ext>
              </a:extLst>
            </p:cNvPr>
            <p:cNvSpPr/>
            <p:nvPr/>
          </p:nvSpPr>
          <p:spPr>
            <a:xfrm>
              <a:off x="6383361" y="3873386"/>
              <a:ext cx="4222726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9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Коррупциявий </a:t>
              </a:r>
              <a:r>
                <a:rPr lang="ru-RU" sz="1400" dirty="0" err="1">
                  <a:solidFill>
                    <a:schemeClr val="tx2"/>
                  </a:solidFill>
                </a:rPr>
                <a:t>хавф-хатарлар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идентификацияла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аҳолаш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57CF644-259E-4F04-9CBD-4B9010A3F0A6}"/>
                </a:ext>
              </a:extLst>
            </p:cNvPr>
            <p:cNvSpPr/>
            <p:nvPr/>
          </p:nvSpPr>
          <p:spPr>
            <a:xfrm>
              <a:off x="6474592" y="3924187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6387BE8-BD29-49C4-8028-7B1D733118EE}"/>
              </a:ext>
            </a:extLst>
          </p:cNvPr>
          <p:cNvGrpSpPr/>
          <p:nvPr/>
        </p:nvGrpSpPr>
        <p:grpSpPr>
          <a:xfrm>
            <a:off x="7526362" y="3071580"/>
            <a:ext cx="4215773" cy="726853"/>
            <a:chOff x="6383361" y="2484207"/>
            <a:chExt cx="4215773" cy="726853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35D989E0-2784-4BB4-B9F5-7AC048CF5F52}"/>
                </a:ext>
              </a:extLst>
            </p:cNvPr>
            <p:cNvSpPr/>
            <p:nvPr/>
          </p:nvSpPr>
          <p:spPr>
            <a:xfrm>
              <a:off x="6383361" y="2484207"/>
              <a:ext cx="4215773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9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«</a:t>
              </a:r>
              <a:r>
                <a:rPr lang="ru-RU" sz="1400" dirty="0" err="1">
                  <a:solidFill>
                    <a:schemeClr val="tx2"/>
                  </a:solidFill>
                </a:rPr>
                <a:t>Юқорида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оҳанг</a:t>
              </a:r>
              <a:r>
                <a:rPr lang="ru-RU" sz="1400" dirty="0">
                  <a:solidFill>
                    <a:schemeClr val="tx2"/>
                  </a:solidFill>
                </a:rPr>
                <a:t>» 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7682EE27-9EE7-4B93-AA36-EE3BEFDBA8DC}"/>
                </a:ext>
              </a:extLst>
            </p:cNvPr>
            <p:cNvSpPr/>
            <p:nvPr/>
          </p:nvSpPr>
          <p:spPr>
            <a:xfrm>
              <a:off x="6474592" y="2535008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5AE1E40-9EEA-41EA-A92F-66DAEA7B76CA}"/>
              </a:ext>
            </a:extLst>
          </p:cNvPr>
          <p:cNvGrpSpPr/>
          <p:nvPr/>
        </p:nvGrpSpPr>
        <p:grpSpPr>
          <a:xfrm>
            <a:off x="6400524" y="2750870"/>
            <a:ext cx="1013076" cy="2728941"/>
            <a:chOff x="5257523" y="2288456"/>
            <a:chExt cx="1013076" cy="2728941"/>
          </a:xfrm>
          <a:solidFill>
            <a:srgbClr val="1BD7D3"/>
          </a:solidFill>
        </p:grpSpPr>
        <p:sp>
          <p:nvSpPr>
            <p:cNvPr id="26" name="Oval 13">
              <a:extLst>
                <a:ext uri="{FF2B5EF4-FFF2-40B4-BE49-F238E27FC236}">
                  <a16:creationId xmlns:a16="http://schemas.microsoft.com/office/drawing/2014/main" id="{9BA35BB3-E47A-406A-9C65-B66C8598839A}"/>
                </a:ext>
              </a:extLst>
            </p:cNvPr>
            <p:cNvSpPr/>
            <p:nvPr/>
          </p:nvSpPr>
          <p:spPr>
            <a:xfrm>
              <a:off x="5330742" y="2288456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1</a:t>
              </a:r>
              <a:endParaRPr lang="en-US" sz="1400" b="1" dirty="0"/>
            </a:p>
          </p:txBody>
        </p:sp>
        <p:sp>
          <p:nvSpPr>
            <p:cNvPr id="27" name="Oval 13">
              <a:extLst>
                <a:ext uri="{FF2B5EF4-FFF2-40B4-BE49-F238E27FC236}">
                  <a16:creationId xmlns:a16="http://schemas.microsoft.com/office/drawing/2014/main" id="{7B201014-A033-4567-93CB-1F547C3F816B}"/>
                </a:ext>
              </a:extLst>
            </p:cNvPr>
            <p:cNvSpPr/>
            <p:nvPr/>
          </p:nvSpPr>
          <p:spPr>
            <a:xfrm>
              <a:off x="5921278" y="2874538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2</a:t>
              </a:r>
              <a:endParaRPr lang="en-US" sz="1400" b="1" dirty="0"/>
            </a:p>
          </p:txBody>
        </p:sp>
        <p:sp>
          <p:nvSpPr>
            <p:cNvPr id="28" name="Oval 13">
              <a:extLst>
                <a:ext uri="{FF2B5EF4-FFF2-40B4-BE49-F238E27FC236}">
                  <a16:creationId xmlns:a16="http://schemas.microsoft.com/office/drawing/2014/main" id="{8F88BBB0-B159-4067-9798-4C35D5CEC9A6}"/>
                </a:ext>
              </a:extLst>
            </p:cNvPr>
            <p:cNvSpPr/>
            <p:nvPr/>
          </p:nvSpPr>
          <p:spPr>
            <a:xfrm>
              <a:off x="5921278" y="4022783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3</a:t>
              </a:r>
              <a:endParaRPr lang="en-US" sz="1400" b="1" dirty="0"/>
            </a:p>
          </p:txBody>
        </p:sp>
        <p:sp>
          <p:nvSpPr>
            <p:cNvPr id="29" name="Oval 13">
              <a:extLst>
                <a:ext uri="{FF2B5EF4-FFF2-40B4-BE49-F238E27FC236}">
                  <a16:creationId xmlns:a16="http://schemas.microsoft.com/office/drawing/2014/main" id="{6DC3126B-2D22-4CCB-9CB6-3A6E574ECDE1}"/>
                </a:ext>
              </a:extLst>
            </p:cNvPr>
            <p:cNvSpPr/>
            <p:nvPr/>
          </p:nvSpPr>
          <p:spPr>
            <a:xfrm>
              <a:off x="5257523" y="4521639"/>
              <a:ext cx="495760" cy="495758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4</a:t>
              </a:r>
              <a:endParaRPr lang="en-US" sz="1400" b="1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E25E16F-0389-485D-A0B6-4505F364098E}"/>
              </a:ext>
            </a:extLst>
          </p:cNvPr>
          <p:cNvGrpSpPr/>
          <p:nvPr/>
        </p:nvGrpSpPr>
        <p:grpSpPr>
          <a:xfrm flipH="1">
            <a:off x="200963" y="1938938"/>
            <a:ext cx="5254100" cy="726853"/>
            <a:chOff x="5944344" y="1332004"/>
            <a:chExt cx="5254100" cy="726853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6CE22EF8-A6D0-4756-BF55-932C53FF2674}"/>
                </a:ext>
              </a:extLst>
            </p:cNvPr>
            <p:cNvSpPr/>
            <p:nvPr/>
          </p:nvSpPr>
          <p:spPr>
            <a:xfrm>
              <a:off x="6445468" y="1332004"/>
              <a:ext cx="4752976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Идентификацияланган </a:t>
              </a:r>
              <a:r>
                <a:rPr lang="ru-RU" sz="1400" dirty="0" err="1">
                  <a:solidFill>
                    <a:schemeClr val="tx2"/>
                  </a:solidFill>
                </a:rPr>
                <a:t>ҳавф-хатарлар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инималлаштирувчи</a:t>
              </a:r>
              <a:r>
                <a:rPr lang="ru-RU" sz="1400" dirty="0">
                  <a:solidFill>
                    <a:schemeClr val="tx2"/>
                  </a:solidFill>
                </a:rPr>
                <a:t> коррупцияга қарши </a:t>
              </a:r>
              <a:r>
                <a:rPr lang="ru-RU" sz="1400" dirty="0" err="1">
                  <a:solidFill>
                    <a:schemeClr val="tx2"/>
                  </a:solidFill>
                </a:rPr>
                <a:t>чора-тадбирлар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F90019F-ECE4-48C6-A425-4EED29963E29}"/>
                </a:ext>
              </a:extLst>
            </p:cNvPr>
            <p:cNvSpPr/>
            <p:nvPr/>
          </p:nvSpPr>
          <p:spPr>
            <a:xfrm>
              <a:off x="5944344" y="1341975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A0EE731-3F1B-43B5-ACED-182D000CAD4B}"/>
              </a:ext>
            </a:extLst>
          </p:cNvPr>
          <p:cNvGrpSpPr/>
          <p:nvPr/>
        </p:nvGrpSpPr>
        <p:grpSpPr>
          <a:xfrm flipH="1">
            <a:off x="440617" y="5546948"/>
            <a:ext cx="4752975" cy="726853"/>
            <a:chOff x="5853114" y="5245148"/>
            <a:chExt cx="4752975" cy="726853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B486407-7A7B-484D-9FE5-24271B2F9DF1}"/>
                </a:ext>
              </a:extLst>
            </p:cNvPr>
            <p:cNvSpPr/>
            <p:nvPr/>
          </p:nvSpPr>
          <p:spPr>
            <a:xfrm>
              <a:off x="5853114" y="5245148"/>
              <a:ext cx="4752975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Ахборот </a:t>
              </a:r>
              <a:r>
                <a:rPr lang="ru-RU" sz="1400" dirty="0" err="1">
                  <a:solidFill>
                    <a:schemeClr val="tx2"/>
                  </a:solidFill>
                </a:rPr>
                <a:t>бериш</a:t>
              </a:r>
              <a:r>
                <a:rPr lang="ru-RU" sz="1400" dirty="0">
                  <a:solidFill>
                    <a:schemeClr val="tx2"/>
                  </a:solidFill>
                </a:rPr>
                <a:t>, коммуникация</a:t>
              </a:r>
            </a:p>
            <a:p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аслахат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7D93023-7355-4D38-ACEB-1652B16EA3BE}"/>
                </a:ext>
              </a:extLst>
            </p:cNvPr>
            <p:cNvSpPr/>
            <p:nvPr/>
          </p:nvSpPr>
          <p:spPr>
            <a:xfrm>
              <a:off x="5944344" y="5295949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9CF83EB-BD8B-494C-99D8-4CA49617FC25}"/>
              </a:ext>
            </a:extLst>
          </p:cNvPr>
          <p:cNvGrpSpPr/>
          <p:nvPr/>
        </p:nvGrpSpPr>
        <p:grpSpPr>
          <a:xfrm flipH="1">
            <a:off x="230219" y="4369276"/>
            <a:ext cx="4424663" cy="726853"/>
            <a:chOff x="6190044" y="3873386"/>
            <a:chExt cx="4424663" cy="726853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198BF46F-4173-4C6C-B9CC-BCA21B2B2D9B}"/>
                </a:ext>
              </a:extLst>
            </p:cNvPr>
            <p:cNvSpPr/>
            <p:nvPr/>
          </p:nvSpPr>
          <p:spPr>
            <a:xfrm>
              <a:off x="6383361" y="3873386"/>
              <a:ext cx="4231346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Коррупцияга қарши курашиш </a:t>
              </a:r>
            </a:p>
            <a:p>
              <a:r>
                <a:rPr lang="ru-RU" sz="1400" dirty="0" err="1">
                  <a:solidFill>
                    <a:schemeClr val="tx2"/>
                  </a:solidFill>
                </a:rPr>
                <a:t>масалалар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ўйича</a:t>
              </a:r>
              <a:r>
                <a:rPr lang="ru-RU" sz="1400" dirty="0">
                  <a:solidFill>
                    <a:schemeClr val="tx2"/>
                  </a:solidFill>
                </a:rPr>
                <a:t> мониторинг, </a:t>
              </a:r>
              <a:r>
                <a:rPr lang="ru-RU" sz="1400" dirty="0" err="1">
                  <a:solidFill>
                    <a:schemeClr val="tx2"/>
                  </a:solidFill>
                </a:rPr>
                <a:t>назорат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ҳисобот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E4587B9-F1EC-4737-AFE5-337C6EDCE71C}"/>
                </a:ext>
              </a:extLst>
            </p:cNvPr>
            <p:cNvSpPr/>
            <p:nvPr/>
          </p:nvSpPr>
          <p:spPr>
            <a:xfrm>
              <a:off x="6190044" y="3919855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D3754D5-6288-41DA-BB86-B35E50B8AB58}"/>
              </a:ext>
            </a:extLst>
          </p:cNvPr>
          <p:cNvGrpSpPr/>
          <p:nvPr/>
        </p:nvGrpSpPr>
        <p:grpSpPr>
          <a:xfrm flipH="1">
            <a:off x="185700" y="3025042"/>
            <a:ext cx="4231347" cy="726853"/>
            <a:chOff x="6383362" y="2484207"/>
            <a:chExt cx="4231347" cy="726853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C9341EDF-C46E-4DDF-B38C-01747878923C}"/>
                </a:ext>
              </a:extLst>
            </p:cNvPr>
            <p:cNvSpPr/>
            <p:nvPr/>
          </p:nvSpPr>
          <p:spPr>
            <a:xfrm>
              <a:off x="6383362" y="2484207"/>
              <a:ext cx="4231347" cy="726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Аниқланган </a:t>
              </a:r>
              <a:r>
                <a:rPr lang="uz-Cyrl-UZ" sz="1400" dirty="0">
                  <a:solidFill>
                    <a:schemeClr val="tx2"/>
                  </a:solidFill>
                </a:rPr>
                <a:t>ҳуқуқ</a:t>
              </a:r>
              <a:r>
                <a:rPr lang="ru-RU" sz="1400" dirty="0" err="1">
                  <a:solidFill>
                    <a:schemeClr val="tx2"/>
                  </a:solidFill>
                </a:rPr>
                <a:t>бузарликларг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</a:p>
            <a:p>
              <a:r>
                <a:rPr lang="ru-RU" sz="1400" dirty="0" err="1">
                  <a:solidFill>
                    <a:schemeClr val="tx2"/>
                  </a:solidFill>
                </a:rPr>
                <a:t>муносабат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илдир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жавобгарликка</a:t>
              </a:r>
              <a:r>
                <a:rPr lang="ru-RU" sz="1400" dirty="0">
                  <a:solidFill>
                    <a:schemeClr val="tx2"/>
                  </a:solidFill>
                </a:rPr>
                <a:t>  </a:t>
              </a:r>
              <a:r>
                <a:rPr lang="ru-RU" sz="1400" dirty="0" err="1">
                  <a:solidFill>
                    <a:schemeClr val="tx2"/>
                  </a:solidFill>
                </a:rPr>
                <a:t>тортиш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BA8B405-69CA-4333-95D5-33DB8E7DFAA4}"/>
                </a:ext>
              </a:extLst>
            </p:cNvPr>
            <p:cNvSpPr/>
            <p:nvPr/>
          </p:nvSpPr>
          <p:spPr>
            <a:xfrm>
              <a:off x="6474592" y="2535008"/>
              <a:ext cx="625250" cy="62525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100000">
                  <a:srgbClr val="E4E4EF"/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817B1D9-D060-49BD-9B79-E668538E0E12}"/>
              </a:ext>
            </a:extLst>
          </p:cNvPr>
          <p:cNvGrpSpPr/>
          <p:nvPr/>
        </p:nvGrpSpPr>
        <p:grpSpPr>
          <a:xfrm flipH="1">
            <a:off x="4776107" y="2750870"/>
            <a:ext cx="939857" cy="2655722"/>
            <a:chOff x="5330742" y="2288456"/>
            <a:chExt cx="939857" cy="2655722"/>
          </a:xfrm>
          <a:solidFill>
            <a:srgbClr val="1BD7D3"/>
          </a:solidFill>
        </p:grpSpPr>
        <p:sp>
          <p:nvSpPr>
            <p:cNvPr id="43" name="Oval 13">
              <a:extLst>
                <a:ext uri="{FF2B5EF4-FFF2-40B4-BE49-F238E27FC236}">
                  <a16:creationId xmlns:a16="http://schemas.microsoft.com/office/drawing/2014/main" id="{153F8834-026A-419A-AC3B-B195D079D2D7}"/>
                </a:ext>
              </a:extLst>
            </p:cNvPr>
            <p:cNvSpPr/>
            <p:nvPr/>
          </p:nvSpPr>
          <p:spPr>
            <a:xfrm>
              <a:off x="5330742" y="2288456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8</a:t>
              </a:r>
              <a:endParaRPr lang="en-US" sz="1400" b="1" dirty="0"/>
            </a:p>
          </p:txBody>
        </p:sp>
        <p:sp>
          <p:nvSpPr>
            <p:cNvPr id="44" name="Oval 13">
              <a:extLst>
                <a:ext uri="{FF2B5EF4-FFF2-40B4-BE49-F238E27FC236}">
                  <a16:creationId xmlns:a16="http://schemas.microsoft.com/office/drawing/2014/main" id="{41E2A964-1D66-4193-9F9F-7D2F18C43427}"/>
                </a:ext>
              </a:extLst>
            </p:cNvPr>
            <p:cNvSpPr/>
            <p:nvPr/>
          </p:nvSpPr>
          <p:spPr>
            <a:xfrm>
              <a:off x="5921278" y="2874538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7</a:t>
              </a:r>
              <a:endParaRPr lang="en-US" sz="1400" b="1" dirty="0"/>
            </a:p>
          </p:txBody>
        </p:sp>
        <p:sp>
          <p:nvSpPr>
            <p:cNvPr id="45" name="Oval 13">
              <a:extLst>
                <a:ext uri="{FF2B5EF4-FFF2-40B4-BE49-F238E27FC236}">
                  <a16:creationId xmlns:a16="http://schemas.microsoft.com/office/drawing/2014/main" id="{8A4D5384-F27E-4149-88A9-81990E97CDE6}"/>
                </a:ext>
              </a:extLst>
            </p:cNvPr>
            <p:cNvSpPr/>
            <p:nvPr/>
          </p:nvSpPr>
          <p:spPr>
            <a:xfrm>
              <a:off x="5921278" y="4022783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6</a:t>
              </a:r>
              <a:endParaRPr lang="en-US" sz="1400" b="1" dirty="0"/>
            </a:p>
          </p:txBody>
        </p:sp>
        <p:sp>
          <p:nvSpPr>
            <p:cNvPr id="46" name="Oval 13">
              <a:extLst>
                <a:ext uri="{FF2B5EF4-FFF2-40B4-BE49-F238E27FC236}">
                  <a16:creationId xmlns:a16="http://schemas.microsoft.com/office/drawing/2014/main" id="{59929642-FE58-4795-BA33-41CFB5324B5D}"/>
                </a:ext>
              </a:extLst>
            </p:cNvPr>
            <p:cNvSpPr/>
            <p:nvPr/>
          </p:nvSpPr>
          <p:spPr>
            <a:xfrm>
              <a:off x="5330742" y="4594857"/>
              <a:ext cx="349321" cy="349321"/>
            </a:xfrm>
            <a:prstGeom prst="ellipse">
              <a:avLst/>
            </a:prstGeom>
            <a:grpFill/>
            <a:ln w="3175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200" b="1" dirty="0"/>
                <a:t>05</a:t>
              </a:r>
              <a:endParaRPr lang="en-US" sz="1400" b="1" dirty="0"/>
            </a:p>
          </p:txBody>
        </p:sp>
      </p:grp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9ED761C6-513B-4068-B9FC-8C1CD6317F04}"/>
              </a:ext>
            </a:extLst>
          </p:cNvPr>
          <p:cNvSpPr/>
          <p:nvPr/>
        </p:nvSpPr>
        <p:spPr>
          <a:xfrm rot="15127384">
            <a:off x="7433431" y="3396730"/>
            <a:ext cx="137457" cy="14176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E110EDC6-9C24-4027-A576-C06F27277550}"/>
              </a:ext>
            </a:extLst>
          </p:cNvPr>
          <p:cNvSpPr/>
          <p:nvPr/>
        </p:nvSpPr>
        <p:spPr>
          <a:xfrm rot="8228680" flipV="1">
            <a:off x="6874850" y="5329510"/>
            <a:ext cx="184907" cy="46794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8EF73EAC-C2B0-4DEF-A542-338AF9C64128}"/>
              </a:ext>
            </a:extLst>
          </p:cNvPr>
          <p:cNvSpPr/>
          <p:nvPr/>
        </p:nvSpPr>
        <p:spPr>
          <a:xfrm rot="6472616" flipV="1">
            <a:off x="7433431" y="4642218"/>
            <a:ext cx="137457" cy="14176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7509B1D-12F4-4360-953A-7A83F3580437}"/>
              </a:ext>
            </a:extLst>
          </p:cNvPr>
          <p:cNvGrpSpPr/>
          <p:nvPr/>
        </p:nvGrpSpPr>
        <p:grpSpPr>
          <a:xfrm>
            <a:off x="7734369" y="3239461"/>
            <a:ext cx="378545" cy="379079"/>
            <a:chOff x="438380" y="1279248"/>
            <a:chExt cx="585128" cy="585954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FCD6B32-0E85-4C4E-80EC-8D41B4DF6833}"/>
                </a:ext>
              </a:extLst>
            </p:cNvPr>
            <p:cNvSpPr/>
            <p:nvPr/>
          </p:nvSpPr>
          <p:spPr>
            <a:xfrm>
              <a:off x="438380" y="1279248"/>
              <a:ext cx="306720" cy="306720"/>
            </a:xfrm>
            <a:custGeom>
              <a:avLst/>
              <a:gdLst>
                <a:gd name="connsiteX0" fmla="*/ 241959 w 247650"/>
                <a:gd name="connsiteY0" fmla="*/ 114038 h 247650"/>
                <a:gd name="connsiteX1" fmla="*/ 136422 w 247650"/>
                <a:gd name="connsiteY1" fmla="*/ 8501 h 247650"/>
                <a:gd name="connsiteX2" fmla="*/ 8501 w 247650"/>
                <a:gd name="connsiteY2" fmla="*/ 136422 h 247650"/>
                <a:gd name="connsiteX3" fmla="*/ 114038 w 247650"/>
                <a:gd name="connsiteY3" fmla="*/ 241959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247650">
                  <a:moveTo>
                    <a:pt x="241959" y="114038"/>
                  </a:moveTo>
                  <a:lnTo>
                    <a:pt x="136422" y="8501"/>
                  </a:lnTo>
                  <a:lnTo>
                    <a:pt x="8501" y="136422"/>
                  </a:lnTo>
                  <a:lnTo>
                    <a:pt x="114038" y="241959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A6058471-B0CD-48AE-989C-40935323181C}"/>
                </a:ext>
              </a:extLst>
            </p:cNvPr>
            <p:cNvSpPr/>
            <p:nvPr/>
          </p:nvSpPr>
          <p:spPr>
            <a:xfrm>
              <a:off x="716788" y="1558482"/>
              <a:ext cx="306720" cy="306720"/>
            </a:xfrm>
            <a:custGeom>
              <a:avLst/>
              <a:gdLst>
                <a:gd name="connsiteX0" fmla="*/ 135755 w 247650"/>
                <a:gd name="connsiteY0" fmla="*/ 8501 h 247650"/>
                <a:gd name="connsiteX1" fmla="*/ 242054 w 247650"/>
                <a:gd name="connsiteY1" fmla="*/ 114705 h 247650"/>
                <a:gd name="connsiteX2" fmla="*/ 114705 w 247650"/>
                <a:gd name="connsiteY2" fmla="*/ 241959 h 247650"/>
                <a:gd name="connsiteX3" fmla="*/ 8501 w 247650"/>
                <a:gd name="connsiteY3" fmla="*/ 135755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0" h="247650">
                  <a:moveTo>
                    <a:pt x="135755" y="8501"/>
                  </a:moveTo>
                  <a:lnTo>
                    <a:pt x="242054" y="114705"/>
                  </a:lnTo>
                  <a:lnTo>
                    <a:pt x="114705" y="241959"/>
                  </a:lnTo>
                  <a:lnTo>
                    <a:pt x="8501" y="135755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F480624-637A-46AF-96E5-A18808BC0F65}"/>
                </a:ext>
              </a:extLst>
            </p:cNvPr>
            <p:cNvSpPr/>
            <p:nvPr/>
          </p:nvSpPr>
          <p:spPr>
            <a:xfrm>
              <a:off x="895865" y="1650261"/>
              <a:ext cx="82578" cy="82578"/>
            </a:xfrm>
            <a:custGeom>
              <a:avLst/>
              <a:gdLst>
                <a:gd name="connsiteX0" fmla="*/ 59650 w 66675"/>
                <a:gd name="connsiteY0" fmla="*/ 8501 h 66675"/>
                <a:gd name="connsiteX1" fmla="*/ 8501 w 66675"/>
                <a:gd name="connsiteY1" fmla="*/ 5965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 h="66675">
                  <a:moveTo>
                    <a:pt x="59650" y="8501"/>
                  </a:moveTo>
                  <a:lnTo>
                    <a:pt x="8501" y="59650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95200DB-10E3-403F-A750-BD2610944202}"/>
                </a:ext>
              </a:extLst>
            </p:cNvPr>
            <p:cNvSpPr/>
            <p:nvPr/>
          </p:nvSpPr>
          <p:spPr>
            <a:xfrm>
              <a:off x="882534" y="1605315"/>
              <a:ext cx="47188" cy="47188"/>
            </a:xfrm>
            <a:custGeom>
              <a:avLst/>
              <a:gdLst>
                <a:gd name="connsiteX0" fmla="*/ 34028 w 38100"/>
                <a:gd name="connsiteY0" fmla="*/ 8501 h 38100"/>
                <a:gd name="connsiteX1" fmla="*/ 8501 w 38100"/>
                <a:gd name="connsiteY1" fmla="*/ 3402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4028" y="8501"/>
                  </a:moveTo>
                  <a:lnTo>
                    <a:pt x="8501" y="34028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EF22ADF-B3AF-47B0-AF2B-8F724DA61134}"/>
                </a:ext>
              </a:extLst>
            </p:cNvPr>
            <p:cNvSpPr/>
            <p:nvPr/>
          </p:nvSpPr>
          <p:spPr>
            <a:xfrm>
              <a:off x="571922" y="1326436"/>
              <a:ext cx="82578" cy="82578"/>
            </a:xfrm>
            <a:custGeom>
              <a:avLst/>
              <a:gdLst>
                <a:gd name="connsiteX0" fmla="*/ 59650 w 66675"/>
                <a:gd name="connsiteY0" fmla="*/ 8501 h 66675"/>
                <a:gd name="connsiteX1" fmla="*/ 8501 w 66675"/>
                <a:gd name="connsiteY1" fmla="*/ 5965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675" h="66675">
                  <a:moveTo>
                    <a:pt x="59650" y="8501"/>
                  </a:moveTo>
                  <a:lnTo>
                    <a:pt x="8501" y="59650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6F41AB22-85AF-4228-8BDB-ACC379548646}"/>
                </a:ext>
              </a:extLst>
            </p:cNvPr>
            <p:cNvSpPr/>
            <p:nvPr/>
          </p:nvSpPr>
          <p:spPr>
            <a:xfrm>
              <a:off x="648601" y="1371382"/>
              <a:ext cx="47188" cy="47188"/>
            </a:xfrm>
            <a:custGeom>
              <a:avLst/>
              <a:gdLst>
                <a:gd name="connsiteX0" fmla="*/ 34123 w 38100"/>
                <a:gd name="connsiteY0" fmla="*/ 8501 h 38100"/>
                <a:gd name="connsiteX1" fmla="*/ 8501 w 38100"/>
                <a:gd name="connsiteY1" fmla="*/ 3412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4123" y="8501"/>
                  </a:moveTo>
                  <a:lnTo>
                    <a:pt x="8501" y="34123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506352-7A5C-41D6-90B2-14B1E17DEC01}"/>
                </a:ext>
              </a:extLst>
            </p:cNvPr>
            <p:cNvSpPr/>
            <p:nvPr/>
          </p:nvSpPr>
          <p:spPr>
            <a:xfrm>
              <a:off x="495725" y="1410784"/>
              <a:ext cx="389298" cy="389298"/>
            </a:xfrm>
            <a:custGeom>
              <a:avLst/>
              <a:gdLst>
                <a:gd name="connsiteX0" fmla="*/ 314910 w 314325"/>
                <a:gd name="connsiteY0" fmla="*/ 127087 h 314325"/>
                <a:gd name="connsiteX1" fmla="*/ 127268 w 314325"/>
                <a:gd name="connsiteY1" fmla="*/ 314730 h 314325"/>
                <a:gd name="connsiteX2" fmla="*/ 55830 w 314325"/>
                <a:gd name="connsiteY2" fmla="*/ 271486 h 314325"/>
                <a:gd name="connsiteX3" fmla="*/ 8682 w 314325"/>
                <a:gd name="connsiteY3" fmla="*/ 196048 h 314325"/>
                <a:gd name="connsiteX4" fmla="*/ 196324 w 314325"/>
                <a:gd name="connsiteY4" fmla="*/ 8501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325" h="314325">
                  <a:moveTo>
                    <a:pt x="314910" y="127087"/>
                  </a:moveTo>
                  <a:lnTo>
                    <a:pt x="127268" y="314730"/>
                  </a:lnTo>
                  <a:cubicBezTo>
                    <a:pt x="127268" y="314730"/>
                    <a:pt x="104217" y="319969"/>
                    <a:pt x="55830" y="271486"/>
                  </a:cubicBezTo>
                  <a:cubicBezTo>
                    <a:pt x="2967" y="218623"/>
                    <a:pt x="8682" y="196048"/>
                    <a:pt x="8682" y="196048"/>
                  </a:cubicBezTo>
                  <a:lnTo>
                    <a:pt x="196324" y="8501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47EC1349-5FE7-4B42-BDB2-86F1CB5834AB}"/>
                </a:ext>
              </a:extLst>
            </p:cNvPr>
            <p:cNvSpPr/>
            <p:nvPr/>
          </p:nvSpPr>
          <p:spPr>
            <a:xfrm>
              <a:off x="495844" y="1282315"/>
              <a:ext cx="519065" cy="519065"/>
            </a:xfrm>
            <a:custGeom>
              <a:avLst/>
              <a:gdLst>
                <a:gd name="connsiteX0" fmla="*/ 418542 w 419100"/>
                <a:gd name="connsiteY0" fmla="*/ 127087 h 419100"/>
                <a:gd name="connsiteX1" fmla="*/ 127268 w 419100"/>
                <a:gd name="connsiteY1" fmla="*/ 418457 h 419100"/>
                <a:gd name="connsiteX2" fmla="*/ 55830 w 419100"/>
                <a:gd name="connsiteY2" fmla="*/ 375214 h 419100"/>
                <a:gd name="connsiteX3" fmla="*/ 8682 w 419100"/>
                <a:gd name="connsiteY3" fmla="*/ 299776 h 419100"/>
                <a:gd name="connsiteX4" fmla="*/ 299956 w 419100"/>
                <a:gd name="connsiteY4" fmla="*/ 8501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0" h="419100">
                  <a:moveTo>
                    <a:pt x="418542" y="127087"/>
                  </a:moveTo>
                  <a:lnTo>
                    <a:pt x="127268" y="418457"/>
                  </a:lnTo>
                  <a:cubicBezTo>
                    <a:pt x="127268" y="418457"/>
                    <a:pt x="104217" y="423696"/>
                    <a:pt x="55830" y="375214"/>
                  </a:cubicBezTo>
                  <a:cubicBezTo>
                    <a:pt x="2967" y="322350"/>
                    <a:pt x="8682" y="299776"/>
                    <a:pt x="8682" y="299776"/>
                  </a:cubicBezTo>
                  <a:lnTo>
                    <a:pt x="299956" y="8501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C0334C0A-A78D-4763-A399-F9CBD637E49E}"/>
                </a:ext>
              </a:extLst>
            </p:cNvPr>
            <p:cNvSpPr/>
            <p:nvPr/>
          </p:nvSpPr>
          <p:spPr>
            <a:xfrm>
              <a:off x="442155" y="1643537"/>
              <a:ext cx="212345" cy="212345"/>
            </a:xfrm>
            <a:custGeom>
              <a:avLst/>
              <a:gdLst>
                <a:gd name="connsiteX0" fmla="*/ 51459 w 171450"/>
                <a:gd name="connsiteY0" fmla="*/ 8501 h 171450"/>
                <a:gd name="connsiteX1" fmla="*/ 8501 w 171450"/>
                <a:gd name="connsiteY1" fmla="*/ 170426 h 171450"/>
                <a:gd name="connsiteX2" fmla="*/ 170140 w 171450"/>
                <a:gd name="connsiteY2" fmla="*/ 12727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50" h="171450">
                  <a:moveTo>
                    <a:pt x="51459" y="8501"/>
                  </a:moveTo>
                  <a:lnTo>
                    <a:pt x="8501" y="170426"/>
                  </a:lnTo>
                  <a:lnTo>
                    <a:pt x="170140" y="127278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5E2EBC2-0783-4942-933B-7A04903E12CC}"/>
                </a:ext>
              </a:extLst>
            </p:cNvPr>
            <p:cNvSpPr/>
            <p:nvPr/>
          </p:nvSpPr>
          <p:spPr>
            <a:xfrm>
              <a:off x="442155" y="1643537"/>
              <a:ext cx="212345" cy="212345"/>
            </a:xfrm>
            <a:custGeom>
              <a:avLst/>
              <a:gdLst>
                <a:gd name="connsiteX0" fmla="*/ 51459 w 171450"/>
                <a:gd name="connsiteY0" fmla="*/ 8501 h 171450"/>
                <a:gd name="connsiteX1" fmla="*/ 8501 w 171450"/>
                <a:gd name="connsiteY1" fmla="*/ 170426 h 171450"/>
                <a:gd name="connsiteX2" fmla="*/ 170140 w 171450"/>
                <a:gd name="connsiteY2" fmla="*/ 12727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50" h="171450">
                  <a:moveTo>
                    <a:pt x="51459" y="8501"/>
                  </a:moveTo>
                  <a:lnTo>
                    <a:pt x="8501" y="170426"/>
                  </a:lnTo>
                  <a:lnTo>
                    <a:pt x="170140" y="127278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A2B3CB6-C60E-4BCD-B8CC-7B068C3D21FC}"/>
                </a:ext>
              </a:extLst>
            </p:cNvPr>
            <p:cNvSpPr/>
            <p:nvPr/>
          </p:nvSpPr>
          <p:spPr>
            <a:xfrm>
              <a:off x="856818" y="1282315"/>
              <a:ext cx="165157" cy="165157"/>
            </a:xfrm>
            <a:custGeom>
              <a:avLst/>
              <a:gdLst>
                <a:gd name="connsiteX0" fmla="*/ 127087 w 133350"/>
                <a:gd name="connsiteY0" fmla="*/ 127087 h 133350"/>
                <a:gd name="connsiteX1" fmla="*/ 106513 w 133350"/>
                <a:gd name="connsiteY1" fmla="*/ 79272 h 133350"/>
                <a:gd name="connsiteX2" fmla="*/ 56698 w 133350"/>
                <a:gd name="connsiteY2" fmla="*/ 29456 h 133350"/>
                <a:gd name="connsiteX3" fmla="*/ 8501 w 133350"/>
                <a:gd name="connsiteY3" fmla="*/ 8501 h 133350"/>
                <a:gd name="connsiteX4" fmla="*/ 30504 w 133350"/>
                <a:gd name="connsiteY4" fmla="*/ 61555 h 133350"/>
                <a:gd name="connsiteX5" fmla="*/ 73938 w 133350"/>
                <a:gd name="connsiteY5" fmla="*/ 104989 h 133350"/>
                <a:gd name="connsiteX6" fmla="*/ 127087 w 133350"/>
                <a:gd name="connsiteY6" fmla="*/ 127087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50" h="133350">
                  <a:moveTo>
                    <a:pt x="127087" y="127087"/>
                  </a:moveTo>
                  <a:lnTo>
                    <a:pt x="106513" y="79272"/>
                  </a:lnTo>
                  <a:lnTo>
                    <a:pt x="56698" y="29456"/>
                  </a:lnTo>
                  <a:lnTo>
                    <a:pt x="8501" y="8501"/>
                  </a:lnTo>
                  <a:lnTo>
                    <a:pt x="30504" y="61555"/>
                  </a:lnTo>
                  <a:lnTo>
                    <a:pt x="73938" y="104989"/>
                  </a:lnTo>
                  <a:lnTo>
                    <a:pt x="127087" y="127087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886211B7-DF78-4D13-935B-B22A10FF6786}"/>
                </a:ext>
              </a:extLst>
            </p:cNvPr>
            <p:cNvSpPr/>
            <p:nvPr/>
          </p:nvSpPr>
          <p:spPr>
            <a:xfrm>
              <a:off x="798894" y="1340121"/>
              <a:ext cx="165157" cy="165157"/>
            </a:xfrm>
            <a:custGeom>
              <a:avLst/>
              <a:gdLst>
                <a:gd name="connsiteX0" fmla="*/ 8501 w 133350"/>
                <a:gd name="connsiteY0" fmla="*/ 8501 h 133350"/>
                <a:gd name="connsiteX1" fmla="*/ 30599 w 133350"/>
                <a:gd name="connsiteY1" fmla="*/ 61651 h 133350"/>
                <a:gd name="connsiteX2" fmla="*/ 74033 w 133350"/>
                <a:gd name="connsiteY2" fmla="*/ 105085 h 133350"/>
                <a:gd name="connsiteX3" fmla="*/ 127087 w 133350"/>
                <a:gd name="connsiteY3" fmla="*/ 127183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133350">
                  <a:moveTo>
                    <a:pt x="8501" y="8501"/>
                  </a:moveTo>
                  <a:lnTo>
                    <a:pt x="30599" y="61651"/>
                  </a:lnTo>
                  <a:lnTo>
                    <a:pt x="74033" y="105085"/>
                  </a:lnTo>
                  <a:lnTo>
                    <a:pt x="127087" y="127183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7AB35E02-1AD5-46A7-B4C9-D03741E34009}"/>
                </a:ext>
              </a:extLst>
            </p:cNvPr>
            <p:cNvSpPr/>
            <p:nvPr/>
          </p:nvSpPr>
          <p:spPr>
            <a:xfrm>
              <a:off x="495725" y="1410784"/>
              <a:ext cx="389298" cy="389298"/>
            </a:xfrm>
            <a:custGeom>
              <a:avLst/>
              <a:gdLst>
                <a:gd name="connsiteX0" fmla="*/ 314910 w 314325"/>
                <a:gd name="connsiteY0" fmla="*/ 127087 h 314325"/>
                <a:gd name="connsiteX1" fmla="*/ 127268 w 314325"/>
                <a:gd name="connsiteY1" fmla="*/ 314730 h 314325"/>
                <a:gd name="connsiteX2" fmla="*/ 55830 w 314325"/>
                <a:gd name="connsiteY2" fmla="*/ 271486 h 314325"/>
                <a:gd name="connsiteX3" fmla="*/ 8682 w 314325"/>
                <a:gd name="connsiteY3" fmla="*/ 196048 h 314325"/>
                <a:gd name="connsiteX4" fmla="*/ 196324 w 314325"/>
                <a:gd name="connsiteY4" fmla="*/ 8501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325" h="314325">
                  <a:moveTo>
                    <a:pt x="314910" y="127087"/>
                  </a:moveTo>
                  <a:lnTo>
                    <a:pt x="127268" y="314730"/>
                  </a:lnTo>
                  <a:cubicBezTo>
                    <a:pt x="127268" y="314730"/>
                    <a:pt x="104217" y="319969"/>
                    <a:pt x="55830" y="271486"/>
                  </a:cubicBezTo>
                  <a:cubicBezTo>
                    <a:pt x="2967" y="218623"/>
                    <a:pt x="8682" y="196048"/>
                    <a:pt x="8682" y="196048"/>
                  </a:cubicBezTo>
                  <a:lnTo>
                    <a:pt x="196324" y="8501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94DA474-57AC-40DB-9C2F-FA568E8AF1DC}"/>
                </a:ext>
              </a:extLst>
            </p:cNvPr>
            <p:cNvSpPr/>
            <p:nvPr/>
          </p:nvSpPr>
          <p:spPr>
            <a:xfrm>
              <a:off x="468698" y="1743811"/>
              <a:ext cx="94375" cy="94375"/>
            </a:xfrm>
            <a:custGeom>
              <a:avLst/>
              <a:gdLst>
                <a:gd name="connsiteX0" fmla="*/ 8501 w 76200"/>
                <a:gd name="connsiteY0" fmla="*/ 8501 h 76200"/>
                <a:gd name="connsiteX1" fmla="*/ 67842 w 76200"/>
                <a:gd name="connsiteY1" fmla="*/ 67842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76200">
                  <a:moveTo>
                    <a:pt x="8501" y="8501"/>
                  </a:moveTo>
                  <a:cubicBezTo>
                    <a:pt x="8501" y="8501"/>
                    <a:pt x="21646" y="52888"/>
                    <a:pt x="67842" y="67842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D48086E-DB77-4681-B672-1246C2A6998D}"/>
                </a:ext>
              </a:extLst>
            </p:cNvPr>
            <p:cNvSpPr/>
            <p:nvPr/>
          </p:nvSpPr>
          <p:spPr>
            <a:xfrm>
              <a:off x="526385" y="1406538"/>
              <a:ext cx="318517" cy="318517"/>
            </a:xfrm>
            <a:custGeom>
              <a:avLst/>
              <a:gdLst>
                <a:gd name="connsiteX0" fmla="*/ 250150 w 257175"/>
                <a:gd name="connsiteY0" fmla="*/ 8501 h 257175"/>
                <a:gd name="connsiteX1" fmla="*/ 8501 w 257175"/>
                <a:gd name="connsiteY1" fmla="*/ 250150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75" h="257175">
                  <a:moveTo>
                    <a:pt x="250150" y="8501"/>
                  </a:moveTo>
                  <a:lnTo>
                    <a:pt x="8501" y="250150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867999E-B2CE-4C18-8A4F-DCF84C83EE11}"/>
                </a:ext>
              </a:extLst>
            </p:cNvPr>
            <p:cNvSpPr/>
            <p:nvPr/>
          </p:nvSpPr>
          <p:spPr>
            <a:xfrm>
              <a:off x="580179" y="1460332"/>
              <a:ext cx="318517" cy="318517"/>
            </a:xfrm>
            <a:custGeom>
              <a:avLst/>
              <a:gdLst>
                <a:gd name="connsiteX0" fmla="*/ 250150 w 257175"/>
                <a:gd name="connsiteY0" fmla="*/ 8501 h 257175"/>
                <a:gd name="connsiteX1" fmla="*/ 8501 w 257175"/>
                <a:gd name="connsiteY1" fmla="*/ 250150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7175" h="257175">
                  <a:moveTo>
                    <a:pt x="250150" y="8501"/>
                  </a:moveTo>
                  <a:lnTo>
                    <a:pt x="8501" y="250150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6FE6AF67-97C1-42E1-B49D-B94A238155D2}"/>
              </a:ext>
            </a:extLst>
          </p:cNvPr>
          <p:cNvGrpSpPr/>
          <p:nvPr/>
        </p:nvGrpSpPr>
        <p:grpSpPr>
          <a:xfrm>
            <a:off x="7723193" y="4563695"/>
            <a:ext cx="386334" cy="386414"/>
            <a:chOff x="3122319" y="5689244"/>
            <a:chExt cx="569653" cy="569772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19A20C9-869F-410A-AD51-D559B7D7C4AF}"/>
                </a:ext>
              </a:extLst>
            </p:cNvPr>
            <p:cNvSpPr/>
            <p:nvPr/>
          </p:nvSpPr>
          <p:spPr>
            <a:xfrm>
              <a:off x="3122319" y="6079767"/>
              <a:ext cx="179249" cy="179249"/>
            </a:xfrm>
            <a:custGeom>
              <a:avLst/>
              <a:gdLst>
                <a:gd name="connsiteX0" fmla="*/ 9526 w 179248"/>
                <a:gd name="connsiteY0" fmla="*/ 9526 h 179248"/>
                <a:gd name="connsiteX1" fmla="*/ 9526 w 179248"/>
                <a:gd name="connsiteY1" fmla="*/ 154120 h 179248"/>
                <a:gd name="connsiteX2" fmla="*/ 33426 w 179248"/>
                <a:gd name="connsiteY2" fmla="*/ 178020 h 179248"/>
                <a:gd name="connsiteX3" fmla="*/ 178020 w 179248"/>
                <a:gd name="connsiteY3" fmla="*/ 178020 h 17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248" h="179248">
                  <a:moveTo>
                    <a:pt x="9526" y="9526"/>
                  </a:moveTo>
                  <a:lnTo>
                    <a:pt x="9526" y="154120"/>
                  </a:lnTo>
                  <a:cubicBezTo>
                    <a:pt x="9526" y="167265"/>
                    <a:pt x="20281" y="178020"/>
                    <a:pt x="33426" y="178020"/>
                  </a:cubicBezTo>
                  <a:lnTo>
                    <a:pt x="178020" y="178020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7A64F150-0381-40C4-8400-9ECE7B1A64A0}"/>
                </a:ext>
              </a:extLst>
            </p:cNvPr>
            <p:cNvSpPr/>
            <p:nvPr/>
          </p:nvSpPr>
          <p:spPr>
            <a:xfrm>
              <a:off x="3122319" y="5689244"/>
              <a:ext cx="179249" cy="179249"/>
            </a:xfrm>
            <a:custGeom>
              <a:avLst/>
              <a:gdLst>
                <a:gd name="connsiteX0" fmla="*/ 9526 w 179248"/>
                <a:gd name="connsiteY0" fmla="*/ 178020 h 179248"/>
                <a:gd name="connsiteX1" fmla="*/ 9526 w 179248"/>
                <a:gd name="connsiteY1" fmla="*/ 33426 h 179248"/>
                <a:gd name="connsiteX2" fmla="*/ 33426 w 179248"/>
                <a:gd name="connsiteY2" fmla="*/ 9526 h 179248"/>
                <a:gd name="connsiteX3" fmla="*/ 178020 w 179248"/>
                <a:gd name="connsiteY3" fmla="*/ 9526 h 17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248" h="179248">
                  <a:moveTo>
                    <a:pt x="9526" y="178020"/>
                  </a:moveTo>
                  <a:lnTo>
                    <a:pt x="9526" y="33426"/>
                  </a:lnTo>
                  <a:cubicBezTo>
                    <a:pt x="9526" y="20281"/>
                    <a:pt x="20281" y="9526"/>
                    <a:pt x="33426" y="9526"/>
                  </a:cubicBezTo>
                  <a:lnTo>
                    <a:pt x="178020" y="9526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AAF41DF3-5D7F-424D-93E7-0393327F33A3}"/>
                </a:ext>
              </a:extLst>
            </p:cNvPr>
            <p:cNvSpPr/>
            <p:nvPr/>
          </p:nvSpPr>
          <p:spPr>
            <a:xfrm>
              <a:off x="3512723" y="6079767"/>
              <a:ext cx="179249" cy="179249"/>
            </a:xfrm>
            <a:custGeom>
              <a:avLst/>
              <a:gdLst>
                <a:gd name="connsiteX0" fmla="*/ 178020 w 179248"/>
                <a:gd name="connsiteY0" fmla="*/ 9526 h 179248"/>
                <a:gd name="connsiteX1" fmla="*/ 178020 w 179248"/>
                <a:gd name="connsiteY1" fmla="*/ 154120 h 179248"/>
                <a:gd name="connsiteX2" fmla="*/ 154120 w 179248"/>
                <a:gd name="connsiteY2" fmla="*/ 178020 h 179248"/>
                <a:gd name="connsiteX3" fmla="*/ 9526 w 179248"/>
                <a:gd name="connsiteY3" fmla="*/ 178020 h 17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248" h="179248">
                  <a:moveTo>
                    <a:pt x="178020" y="9526"/>
                  </a:moveTo>
                  <a:lnTo>
                    <a:pt x="178020" y="154120"/>
                  </a:lnTo>
                  <a:cubicBezTo>
                    <a:pt x="178020" y="167265"/>
                    <a:pt x="167265" y="178020"/>
                    <a:pt x="154120" y="178020"/>
                  </a:cubicBezTo>
                  <a:lnTo>
                    <a:pt x="9526" y="178020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F2F04E2-53AE-4ED7-A5D4-503111B21F45}"/>
                </a:ext>
              </a:extLst>
            </p:cNvPr>
            <p:cNvSpPr/>
            <p:nvPr/>
          </p:nvSpPr>
          <p:spPr>
            <a:xfrm>
              <a:off x="3512723" y="5689244"/>
              <a:ext cx="179249" cy="179249"/>
            </a:xfrm>
            <a:custGeom>
              <a:avLst/>
              <a:gdLst>
                <a:gd name="connsiteX0" fmla="*/ 178020 w 179248"/>
                <a:gd name="connsiteY0" fmla="*/ 178020 h 179248"/>
                <a:gd name="connsiteX1" fmla="*/ 178020 w 179248"/>
                <a:gd name="connsiteY1" fmla="*/ 33426 h 179248"/>
                <a:gd name="connsiteX2" fmla="*/ 154120 w 179248"/>
                <a:gd name="connsiteY2" fmla="*/ 9526 h 179248"/>
                <a:gd name="connsiteX3" fmla="*/ 9526 w 179248"/>
                <a:gd name="connsiteY3" fmla="*/ 9526 h 179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248" h="179248">
                  <a:moveTo>
                    <a:pt x="178020" y="178020"/>
                  </a:moveTo>
                  <a:lnTo>
                    <a:pt x="178020" y="33426"/>
                  </a:lnTo>
                  <a:cubicBezTo>
                    <a:pt x="178020" y="20281"/>
                    <a:pt x="167265" y="9526"/>
                    <a:pt x="154120" y="9526"/>
                  </a:cubicBezTo>
                  <a:lnTo>
                    <a:pt x="9526" y="9526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BB2A8903-C302-49C7-8476-0C24844DFFBA}"/>
                </a:ext>
              </a:extLst>
            </p:cNvPr>
            <p:cNvSpPr/>
            <p:nvPr/>
          </p:nvSpPr>
          <p:spPr>
            <a:xfrm>
              <a:off x="3333116" y="5876679"/>
              <a:ext cx="131449" cy="227049"/>
            </a:xfrm>
            <a:custGeom>
              <a:avLst/>
              <a:gdLst>
                <a:gd name="connsiteX0" fmla="*/ 85288 w 131449"/>
                <a:gd name="connsiteY0" fmla="*/ 221218 h 227048"/>
                <a:gd name="connsiteX1" fmla="*/ 126993 w 131449"/>
                <a:gd name="connsiteY1" fmla="*/ 133865 h 227048"/>
                <a:gd name="connsiteX2" fmla="*/ 82181 w 131449"/>
                <a:gd name="connsiteY2" fmla="*/ 9705 h 227048"/>
                <a:gd name="connsiteX3" fmla="*/ 9526 w 131449"/>
                <a:gd name="connsiteY3" fmla="*/ 118688 h 227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449" h="227048">
                  <a:moveTo>
                    <a:pt x="85288" y="221218"/>
                  </a:moveTo>
                  <a:cubicBezTo>
                    <a:pt x="107635" y="218351"/>
                    <a:pt x="122811" y="166249"/>
                    <a:pt x="126993" y="133865"/>
                  </a:cubicBezTo>
                  <a:cubicBezTo>
                    <a:pt x="132490" y="90725"/>
                    <a:pt x="127591" y="13529"/>
                    <a:pt x="82181" y="9705"/>
                  </a:cubicBezTo>
                  <a:cubicBezTo>
                    <a:pt x="32589" y="5522"/>
                    <a:pt x="15142" y="75668"/>
                    <a:pt x="9526" y="118688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656262F-E9A4-43D5-8137-EB9F07E428C6}"/>
                </a:ext>
              </a:extLst>
            </p:cNvPr>
            <p:cNvSpPr/>
            <p:nvPr/>
          </p:nvSpPr>
          <p:spPr>
            <a:xfrm>
              <a:off x="3331088" y="5985960"/>
              <a:ext cx="179249" cy="167299"/>
            </a:xfrm>
            <a:custGeom>
              <a:avLst/>
              <a:gdLst>
                <a:gd name="connsiteX0" fmla="*/ 11554 w 179248"/>
                <a:gd name="connsiteY0" fmla="*/ 9526 h 167298"/>
                <a:gd name="connsiteX1" fmla="*/ 71184 w 179248"/>
                <a:gd name="connsiteY1" fmla="*/ 158064 h 167298"/>
                <a:gd name="connsiteX2" fmla="*/ 170368 w 179248"/>
                <a:gd name="connsiteY2" fmla="*/ 29960 h 167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9248" h="167298">
                  <a:moveTo>
                    <a:pt x="11554" y="9526"/>
                  </a:moveTo>
                  <a:cubicBezTo>
                    <a:pt x="1755" y="86005"/>
                    <a:pt x="28403" y="152566"/>
                    <a:pt x="71184" y="158064"/>
                  </a:cubicBezTo>
                  <a:cubicBezTo>
                    <a:pt x="113965" y="163561"/>
                    <a:pt x="160570" y="106559"/>
                    <a:pt x="170368" y="29960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CB9697C5-FFD5-471D-BFB4-034F5A7ED4BE}"/>
                </a:ext>
              </a:extLst>
            </p:cNvPr>
            <p:cNvSpPr/>
            <p:nvPr/>
          </p:nvSpPr>
          <p:spPr>
            <a:xfrm>
              <a:off x="3246120" y="6125655"/>
              <a:ext cx="262898" cy="107549"/>
            </a:xfrm>
            <a:custGeom>
              <a:avLst/>
              <a:gdLst>
                <a:gd name="connsiteX0" fmla="*/ 264418 w 262898"/>
                <a:gd name="connsiteY0" fmla="*/ 54219 h 107549"/>
                <a:gd name="connsiteX1" fmla="*/ 132491 w 262898"/>
                <a:gd name="connsiteY1" fmla="*/ 104169 h 107549"/>
                <a:gd name="connsiteX2" fmla="*/ 9526 w 262898"/>
                <a:gd name="connsiteY2" fmla="*/ 9526 h 10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898" h="107549">
                  <a:moveTo>
                    <a:pt x="264418" y="54219"/>
                  </a:moveTo>
                  <a:cubicBezTo>
                    <a:pt x="226417" y="91024"/>
                    <a:pt x="179932" y="110264"/>
                    <a:pt x="132491" y="104169"/>
                  </a:cubicBezTo>
                  <a:cubicBezTo>
                    <a:pt x="84332" y="97955"/>
                    <a:pt x="37130" y="70949"/>
                    <a:pt x="9526" y="952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6AB0E5D-697E-49A5-A3E4-CD1BB6DBB0D3}"/>
                </a:ext>
              </a:extLst>
            </p:cNvPr>
            <p:cNvSpPr/>
            <p:nvPr/>
          </p:nvSpPr>
          <p:spPr>
            <a:xfrm>
              <a:off x="3213886" y="5716154"/>
              <a:ext cx="394347" cy="406297"/>
            </a:xfrm>
            <a:custGeom>
              <a:avLst/>
              <a:gdLst>
                <a:gd name="connsiteX0" fmla="*/ 15111 w 394347"/>
                <a:gd name="connsiteY0" fmla="*/ 338604 h 406297"/>
                <a:gd name="connsiteX1" fmla="*/ 12363 w 394347"/>
                <a:gd name="connsiteY1" fmla="*/ 235834 h 406297"/>
                <a:gd name="connsiteX2" fmla="*/ 229493 w 394347"/>
                <a:gd name="connsiteY2" fmla="*/ 10698 h 406297"/>
                <a:gd name="connsiteX3" fmla="*/ 382572 w 394347"/>
                <a:gd name="connsiteY3" fmla="*/ 283514 h 406297"/>
                <a:gd name="connsiteX4" fmla="*/ 342300 w 394347"/>
                <a:gd name="connsiteY4" fmla="*/ 402536 h 40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47" h="406297">
                  <a:moveTo>
                    <a:pt x="15111" y="338604"/>
                  </a:moveTo>
                  <a:cubicBezTo>
                    <a:pt x="8897" y="306458"/>
                    <a:pt x="7703" y="271684"/>
                    <a:pt x="12363" y="235834"/>
                  </a:cubicBezTo>
                  <a:cubicBezTo>
                    <a:pt x="30049" y="98291"/>
                    <a:pt x="127321" y="-2567"/>
                    <a:pt x="229493" y="10698"/>
                  </a:cubicBezTo>
                  <a:cubicBezTo>
                    <a:pt x="331784" y="23842"/>
                    <a:pt x="400258" y="145971"/>
                    <a:pt x="382572" y="283514"/>
                  </a:cubicBezTo>
                  <a:cubicBezTo>
                    <a:pt x="377553" y="322352"/>
                    <a:pt x="358313" y="371346"/>
                    <a:pt x="342300" y="40253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13C5354E-8CD2-4371-8822-5C64173B0C53}"/>
                </a:ext>
              </a:extLst>
            </p:cNvPr>
            <p:cNvSpPr/>
            <p:nvPr/>
          </p:nvSpPr>
          <p:spPr>
            <a:xfrm>
              <a:off x="3241340" y="5822847"/>
              <a:ext cx="262898" cy="286798"/>
            </a:xfrm>
            <a:custGeom>
              <a:avLst/>
              <a:gdLst>
                <a:gd name="connsiteX0" fmla="*/ 9526 w 262898"/>
                <a:gd name="connsiteY0" fmla="*/ 281503 h 286798"/>
                <a:gd name="connsiteX1" fmla="*/ 53621 w 262898"/>
                <a:gd name="connsiteY1" fmla="*/ 268120 h 286798"/>
                <a:gd name="connsiteX2" fmla="*/ 68200 w 262898"/>
                <a:gd name="connsiteY2" fmla="*/ 198571 h 286798"/>
                <a:gd name="connsiteX3" fmla="*/ 75609 w 262898"/>
                <a:gd name="connsiteY3" fmla="*/ 114443 h 286798"/>
                <a:gd name="connsiteX4" fmla="*/ 168699 w 262898"/>
                <a:gd name="connsiteY4" fmla="*/ 10240 h 286798"/>
                <a:gd name="connsiteX5" fmla="*/ 233706 w 262898"/>
                <a:gd name="connsiteY5" fmla="*/ 37486 h 286798"/>
                <a:gd name="connsiteX6" fmla="*/ 262386 w 262898"/>
                <a:gd name="connsiteY6" fmla="*/ 168098 h 286798"/>
                <a:gd name="connsiteX7" fmla="*/ 260235 w 262898"/>
                <a:gd name="connsiteY7" fmla="*/ 192835 h 286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2898" h="286798">
                  <a:moveTo>
                    <a:pt x="9526" y="281503"/>
                  </a:moveTo>
                  <a:cubicBezTo>
                    <a:pt x="22910" y="286164"/>
                    <a:pt x="42269" y="277679"/>
                    <a:pt x="53621" y="268120"/>
                  </a:cubicBezTo>
                  <a:cubicBezTo>
                    <a:pt x="71785" y="252943"/>
                    <a:pt x="68917" y="220798"/>
                    <a:pt x="68200" y="198571"/>
                  </a:cubicBezTo>
                  <a:cubicBezTo>
                    <a:pt x="67244" y="170967"/>
                    <a:pt x="69992" y="141570"/>
                    <a:pt x="75609" y="114443"/>
                  </a:cubicBezTo>
                  <a:cubicBezTo>
                    <a:pt x="86125" y="63776"/>
                    <a:pt x="122692" y="17171"/>
                    <a:pt x="168699" y="10240"/>
                  </a:cubicBezTo>
                  <a:cubicBezTo>
                    <a:pt x="192718" y="6655"/>
                    <a:pt x="218172" y="16693"/>
                    <a:pt x="233706" y="37486"/>
                  </a:cubicBezTo>
                  <a:cubicBezTo>
                    <a:pt x="259160" y="71902"/>
                    <a:pt x="264537" y="123645"/>
                    <a:pt x="262386" y="168098"/>
                  </a:cubicBezTo>
                  <a:cubicBezTo>
                    <a:pt x="262028" y="176344"/>
                    <a:pt x="261311" y="184589"/>
                    <a:pt x="260235" y="192835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90F7372D-6CCA-409F-A8CB-D1BE58FC6261}"/>
                </a:ext>
              </a:extLst>
            </p:cNvPr>
            <p:cNvSpPr/>
            <p:nvPr/>
          </p:nvSpPr>
          <p:spPr>
            <a:xfrm>
              <a:off x="3246120" y="6112949"/>
              <a:ext cx="227049" cy="71700"/>
            </a:xfrm>
            <a:custGeom>
              <a:avLst/>
              <a:gdLst>
                <a:gd name="connsiteX0" fmla="*/ 219725 w 227048"/>
                <a:gd name="connsiteY0" fmla="*/ 41949 h 71699"/>
                <a:gd name="connsiteX1" fmla="*/ 138227 w 227048"/>
                <a:gd name="connsiteY1" fmla="*/ 72661 h 71699"/>
                <a:gd name="connsiteX2" fmla="*/ 67364 w 227048"/>
                <a:gd name="connsiteY2" fmla="*/ 20559 h 71699"/>
                <a:gd name="connsiteX3" fmla="*/ 64496 w 227048"/>
                <a:gd name="connsiteY3" fmla="*/ 15540 h 71699"/>
                <a:gd name="connsiteX4" fmla="*/ 38086 w 227048"/>
                <a:gd name="connsiteY4" fmla="*/ 13987 h 71699"/>
                <a:gd name="connsiteX5" fmla="*/ 9526 w 227048"/>
                <a:gd name="connsiteY5" fmla="*/ 22352 h 7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7048" h="71699">
                  <a:moveTo>
                    <a:pt x="219725" y="41949"/>
                  </a:moveTo>
                  <a:cubicBezTo>
                    <a:pt x="194272" y="64774"/>
                    <a:pt x="166309" y="76246"/>
                    <a:pt x="138227" y="72661"/>
                  </a:cubicBezTo>
                  <a:cubicBezTo>
                    <a:pt x="107754" y="68717"/>
                    <a:pt x="86722" y="53422"/>
                    <a:pt x="67364" y="20559"/>
                  </a:cubicBezTo>
                  <a:lnTo>
                    <a:pt x="64496" y="15540"/>
                  </a:lnTo>
                  <a:cubicBezTo>
                    <a:pt x="64496" y="15540"/>
                    <a:pt x="58162" y="3112"/>
                    <a:pt x="38086" y="13987"/>
                  </a:cubicBezTo>
                  <a:cubicBezTo>
                    <a:pt x="18847" y="24383"/>
                    <a:pt x="9526" y="22352"/>
                    <a:pt x="9526" y="22352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98A42026-464C-4C08-8A6C-E8EDF4018F8E}"/>
                </a:ext>
              </a:extLst>
            </p:cNvPr>
            <p:cNvSpPr/>
            <p:nvPr/>
          </p:nvSpPr>
          <p:spPr>
            <a:xfrm>
              <a:off x="3256320" y="5773412"/>
              <a:ext cx="298748" cy="310698"/>
            </a:xfrm>
            <a:custGeom>
              <a:avLst/>
              <a:gdLst>
                <a:gd name="connsiteX0" fmla="*/ 15339 w 298748"/>
                <a:gd name="connsiteY0" fmla="*/ 269755 h 310698"/>
                <a:gd name="connsiteX1" fmla="*/ 11515 w 298748"/>
                <a:gd name="connsiteY1" fmla="*/ 183357 h 310698"/>
                <a:gd name="connsiteX2" fmla="*/ 179770 w 298748"/>
                <a:gd name="connsiteY2" fmla="*/ 10441 h 310698"/>
                <a:gd name="connsiteX3" fmla="*/ 298672 w 298748"/>
                <a:gd name="connsiteY3" fmla="*/ 220401 h 310698"/>
                <a:gd name="connsiteX4" fmla="*/ 271306 w 298748"/>
                <a:gd name="connsiteY4" fmla="*/ 306441 h 310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748" h="310698">
                  <a:moveTo>
                    <a:pt x="15339" y="269755"/>
                  </a:moveTo>
                  <a:cubicBezTo>
                    <a:pt x="9603" y="243584"/>
                    <a:pt x="7691" y="212993"/>
                    <a:pt x="11515" y="183357"/>
                  </a:cubicBezTo>
                  <a:cubicBezTo>
                    <a:pt x="25138" y="77600"/>
                    <a:pt x="100423" y="164"/>
                    <a:pt x="179770" y="10441"/>
                  </a:cubicBezTo>
                  <a:cubicBezTo>
                    <a:pt x="259118" y="20599"/>
                    <a:pt x="312295" y="114645"/>
                    <a:pt x="298672" y="220401"/>
                  </a:cubicBezTo>
                  <a:cubicBezTo>
                    <a:pt x="294609" y="252188"/>
                    <a:pt x="284930" y="281346"/>
                    <a:pt x="271306" y="306441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175A0215-230C-4BA6-9703-DEA56C2A1EDD}"/>
                </a:ext>
              </a:extLst>
            </p:cNvPr>
            <p:cNvSpPr/>
            <p:nvPr/>
          </p:nvSpPr>
          <p:spPr>
            <a:xfrm>
              <a:off x="3456320" y="6109284"/>
              <a:ext cx="107549" cy="47800"/>
            </a:xfrm>
            <a:custGeom>
              <a:avLst/>
              <a:gdLst>
                <a:gd name="connsiteX0" fmla="*/ 9526 w 107549"/>
                <a:gd name="connsiteY0" fmla="*/ 45614 h 47799"/>
                <a:gd name="connsiteX1" fmla="*/ 41313 w 107549"/>
                <a:gd name="connsiteY1" fmla="*/ 35935 h 47799"/>
                <a:gd name="connsiteX2" fmla="*/ 99867 w 107549"/>
                <a:gd name="connsiteY2" fmla="*/ 9526 h 4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549" h="47799">
                  <a:moveTo>
                    <a:pt x="9526" y="45614"/>
                  </a:moveTo>
                  <a:cubicBezTo>
                    <a:pt x="9526" y="45614"/>
                    <a:pt x="29243" y="27331"/>
                    <a:pt x="41313" y="35935"/>
                  </a:cubicBezTo>
                  <a:cubicBezTo>
                    <a:pt x="54935" y="45495"/>
                    <a:pt x="71068" y="68678"/>
                    <a:pt x="99867" y="952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A33E9E5-2F7F-4399-89AC-6F71C3DF10C9}"/>
                </a:ext>
              </a:extLst>
            </p:cNvPr>
            <p:cNvSpPr/>
            <p:nvPr/>
          </p:nvSpPr>
          <p:spPr>
            <a:xfrm>
              <a:off x="3361904" y="5990023"/>
              <a:ext cx="59750" cy="107549"/>
            </a:xfrm>
            <a:custGeom>
              <a:avLst/>
              <a:gdLst>
                <a:gd name="connsiteX0" fmla="*/ 12166 w 59749"/>
                <a:gd name="connsiteY0" fmla="*/ 9526 h 107549"/>
                <a:gd name="connsiteX1" fmla="*/ 56501 w 59749"/>
                <a:gd name="connsiteY1" fmla="*/ 107993 h 10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749" h="107549">
                  <a:moveTo>
                    <a:pt x="12166" y="9526"/>
                  </a:moveTo>
                  <a:cubicBezTo>
                    <a:pt x="12166" y="9526"/>
                    <a:pt x="-6715" y="121138"/>
                    <a:pt x="56501" y="107993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831D1F8-037B-4E82-810E-2C1F9E4D5A58}"/>
                </a:ext>
              </a:extLst>
            </p:cNvPr>
            <p:cNvSpPr/>
            <p:nvPr/>
          </p:nvSpPr>
          <p:spPr>
            <a:xfrm>
              <a:off x="3512610" y="6070208"/>
              <a:ext cx="23900" cy="47800"/>
            </a:xfrm>
            <a:custGeom>
              <a:avLst/>
              <a:gdLst>
                <a:gd name="connsiteX0" fmla="*/ 14897 w 23899"/>
                <a:gd name="connsiteY0" fmla="*/ 9526 h 47799"/>
                <a:gd name="connsiteX1" fmla="*/ 19199 w 23899"/>
                <a:gd name="connsiteY1" fmla="*/ 47526 h 4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99" h="47799">
                  <a:moveTo>
                    <a:pt x="14897" y="9526"/>
                  </a:moveTo>
                  <a:cubicBezTo>
                    <a:pt x="14897" y="9526"/>
                    <a:pt x="318" y="35815"/>
                    <a:pt x="19199" y="4752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4DAF6E1-4FEB-43FE-9B94-5380648E5DDC}"/>
                </a:ext>
              </a:extLst>
            </p:cNvPr>
            <p:cNvSpPr/>
            <p:nvPr/>
          </p:nvSpPr>
          <p:spPr>
            <a:xfrm>
              <a:off x="3219592" y="6033402"/>
              <a:ext cx="59750" cy="47800"/>
            </a:xfrm>
            <a:custGeom>
              <a:avLst/>
              <a:gdLst>
                <a:gd name="connsiteX0" fmla="*/ 9526 w 59749"/>
                <a:gd name="connsiteY0" fmla="*/ 20520 h 47799"/>
                <a:gd name="connsiteX1" fmla="*/ 41312 w 59749"/>
                <a:gd name="connsiteY1" fmla="*/ 44181 h 47799"/>
                <a:gd name="connsiteX2" fmla="*/ 52068 w 59749"/>
                <a:gd name="connsiteY2" fmla="*/ 9526 h 4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749" h="47799">
                  <a:moveTo>
                    <a:pt x="9526" y="20520"/>
                  </a:moveTo>
                  <a:cubicBezTo>
                    <a:pt x="9526" y="20520"/>
                    <a:pt x="14425" y="53741"/>
                    <a:pt x="41312" y="44181"/>
                  </a:cubicBezTo>
                  <a:cubicBezTo>
                    <a:pt x="56130" y="39042"/>
                    <a:pt x="54935" y="25897"/>
                    <a:pt x="52068" y="9526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D42E12E-75AE-4BE2-91E3-D20FB43B8E4F}"/>
                </a:ext>
              </a:extLst>
            </p:cNvPr>
            <p:cNvSpPr/>
            <p:nvPr/>
          </p:nvSpPr>
          <p:spPr>
            <a:xfrm>
              <a:off x="3364425" y="5948542"/>
              <a:ext cx="59750" cy="107549"/>
            </a:xfrm>
            <a:custGeom>
              <a:avLst/>
              <a:gdLst>
                <a:gd name="connsiteX0" fmla="*/ 34382 w 59749"/>
                <a:gd name="connsiteY0" fmla="*/ 68096 h 107549"/>
                <a:gd name="connsiteX1" fmla="*/ 42268 w 59749"/>
                <a:gd name="connsiteY1" fmla="*/ 104065 h 107549"/>
                <a:gd name="connsiteX2" fmla="*/ 60671 w 59749"/>
                <a:gd name="connsiteY2" fmla="*/ 57460 h 107549"/>
                <a:gd name="connsiteX3" fmla="*/ 39640 w 59749"/>
                <a:gd name="connsiteY3" fmla="*/ 9661 h 107549"/>
                <a:gd name="connsiteX4" fmla="*/ 9526 w 59749"/>
                <a:gd name="connsiteY4" fmla="*/ 50888 h 10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749" h="107549">
                  <a:moveTo>
                    <a:pt x="34382" y="68096"/>
                  </a:moveTo>
                  <a:cubicBezTo>
                    <a:pt x="34382" y="68096"/>
                    <a:pt x="29602" y="102153"/>
                    <a:pt x="42268" y="104065"/>
                  </a:cubicBezTo>
                  <a:cubicBezTo>
                    <a:pt x="61269" y="106814"/>
                    <a:pt x="60671" y="57460"/>
                    <a:pt x="60671" y="57460"/>
                  </a:cubicBezTo>
                  <a:cubicBezTo>
                    <a:pt x="61269" y="30932"/>
                    <a:pt x="54457" y="11573"/>
                    <a:pt x="39640" y="9661"/>
                  </a:cubicBezTo>
                  <a:cubicBezTo>
                    <a:pt x="24822" y="7749"/>
                    <a:pt x="12752" y="26391"/>
                    <a:pt x="9526" y="50888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74010CB-D07E-4DE8-998E-BCF1222669F2}"/>
              </a:ext>
            </a:extLst>
          </p:cNvPr>
          <p:cNvGrpSpPr/>
          <p:nvPr/>
        </p:nvGrpSpPr>
        <p:grpSpPr>
          <a:xfrm>
            <a:off x="7113238" y="5677611"/>
            <a:ext cx="538946" cy="423559"/>
            <a:chOff x="3828532" y="1313006"/>
            <a:chExt cx="733014" cy="576078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41CB0FB-01B4-4A05-BBDD-72B99932E11C}"/>
                </a:ext>
              </a:extLst>
            </p:cNvPr>
            <p:cNvSpPr/>
            <p:nvPr/>
          </p:nvSpPr>
          <p:spPr>
            <a:xfrm>
              <a:off x="3828532" y="1313006"/>
              <a:ext cx="384052" cy="576078"/>
            </a:xfrm>
            <a:custGeom>
              <a:avLst/>
              <a:gdLst>
                <a:gd name="connsiteX0" fmla="*/ 294011 w 384052"/>
                <a:gd name="connsiteY0" fmla="*/ 103579 h 576078"/>
                <a:gd name="connsiteX1" fmla="*/ 277476 w 384052"/>
                <a:gd name="connsiteY1" fmla="*/ 208019 h 576078"/>
                <a:gd name="connsiteX2" fmla="*/ 254432 w 384052"/>
                <a:gd name="connsiteY2" fmla="*/ 265734 h 576078"/>
                <a:gd name="connsiteX3" fmla="*/ 277476 w 384052"/>
                <a:gd name="connsiteY3" fmla="*/ 300299 h 576078"/>
                <a:gd name="connsiteX4" fmla="*/ 353433 w 384052"/>
                <a:gd name="connsiteY4" fmla="*/ 343611 h 576078"/>
                <a:gd name="connsiteX5" fmla="*/ 381277 w 384052"/>
                <a:gd name="connsiteY5" fmla="*/ 392578 h 576078"/>
                <a:gd name="connsiteX6" fmla="*/ 377436 w 384052"/>
                <a:gd name="connsiteY6" fmla="*/ 415621 h 576078"/>
                <a:gd name="connsiteX7" fmla="*/ 350979 w 384052"/>
                <a:gd name="connsiteY7" fmla="*/ 507900 h 576078"/>
                <a:gd name="connsiteX8" fmla="*/ 307666 w 384052"/>
                <a:gd name="connsiteY8" fmla="*/ 554093 h 576078"/>
                <a:gd name="connsiteX9" fmla="*/ 196611 w 384052"/>
                <a:gd name="connsiteY9" fmla="*/ 565615 h 576078"/>
                <a:gd name="connsiteX10" fmla="*/ 85556 w 384052"/>
                <a:gd name="connsiteY10" fmla="*/ 554093 h 576078"/>
                <a:gd name="connsiteX11" fmla="*/ 42244 w 384052"/>
                <a:gd name="connsiteY11" fmla="*/ 507900 h 576078"/>
                <a:gd name="connsiteX12" fmla="*/ 15787 w 384052"/>
                <a:gd name="connsiteY12" fmla="*/ 415621 h 576078"/>
                <a:gd name="connsiteX13" fmla="*/ 11946 w 384052"/>
                <a:gd name="connsiteY13" fmla="*/ 392578 h 576078"/>
                <a:gd name="connsiteX14" fmla="*/ 39790 w 384052"/>
                <a:gd name="connsiteY14" fmla="*/ 343611 h 576078"/>
                <a:gd name="connsiteX15" fmla="*/ 115747 w 384052"/>
                <a:gd name="connsiteY15" fmla="*/ 300299 h 576078"/>
                <a:gd name="connsiteX16" fmla="*/ 138790 w 384052"/>
                <a:gd name="connsiteY16" fmla="*/ 265734 h 576078"/>
                <a:gd name="connsiteX17" fmla="*/ 115747 w 384052"/>
                <a:gd name="connsiteY17" fmla="*/ 208019 h 576078"/>
                <a:gd name="connsiteX18" fmla="*/ 92704 w 384052"/>
                <a:gd name="connsiteY18" fmla="*/ 115740 h 576078"/>
                <a:gd name="connsiteX19" fmla="*/ 196505 w 384052"/>
                <a:gd name="connsiteY19" fmla="*/ 11939 h 576078"/>
                <a:gd name="connsiteX20" fmla="*/ 323348 w 384052"/>
                <a:gd name="connsiteY20" fmla="*/ 23461 h 576078"/>
                <a:gd name="connsiteX21" fmla="*/ 253899 w 384052"/>
                <a:gd name="connsiteY21" fmla="*/ 121074 h 576078"/>
                <a:gd name="connsiteX22" fmla="*/ 161833 w 384052"/>
                <a:gd name="connsiteY22" fmla="*/ 104219 h 57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4052" h="576078">
                  <a:moveTo>
                    <a:pt x="294011" y="103579"/>
                  </a:moveTo>
                  <a:cubicBezTo>
                    <a:pt x="315134" y="117980"/>
                    <a:pt x="337857" y="178789"/>
                    <a:pt x="277476" y="208019"/>
                  </a:cubicBezTo>
                  <a:cubicBezTo>
                    <a:pt x="277476" y="208019"/>
                    <a:pt x="271715" y="246958"/>
                    <a:pt x="254432" y="265734"/>
                  </a:cubicBezTo>
                  <a:cubicBezTo>
                    <a:pt x="254432" y="288777"/>
                    <a:pt x="268088" y="295818"/>
                    <a:pt x="277476" y="300299"/>
                  </a:cubicBezTo>
                  <a:cubicBezTo>
                    <a:pt x="297959" y="310113"/>
                    <a:pt x="333803" y="328249"/>
                    <a:pt x="353433" y="343611"/>
                  </a:cubicBezTo>
                  <a:cubicBezTo>
                    <a:pt x="368048" y="355026"/>
                    <a:pt x="380850" y="370601"/>
                    <a:pt x="381277" y="392578"/>
                  </a:cubicBezTo>
                  <a:cubicBezTo>
                    <a:pt x="381383" y="399619"/>
                    <a:pt x="380210" y="407300"/>
                    <a:pt x="377436" y="415621"/>
                  </a:cubicBezTo>
                  <a:cubicBezTo>
                    <a:pt x="377436" y="415621"/>
                    <a:pt x="353753" y="499366"/>
                    <a:pt x="350979" y="507900"/>
                  </a:cubicBezTo>
                  <a:cubicBezTo>
                    <a:pt x="347565" y="518462"/>
                    <a:pt x="335297" y="544705"/>
                    <a:pt x="307666" y="554093"/>
                  </a:cubicBezTo>
                  <a:cubicBezTo>
                    <a:pt x="285263" y="561774"/>
                    <a:pt x="253579" y="565615"/>
                    <a:pt x="196611" y="565615"/>
                  </a:cubicBezTo>
                  <a:cubicBezTo>
                    <a:pt x="139643" y="565615"/>
                    <a:pt x="108066" y="561774"/>
                    <a:pt x="85556" y="554093"/>
                  </a:cubicBezTo>
                  <a:cubicBezTo>
                    <a:pt x="57926" y="544598"/>
                    <a:pt x="45657" y="518462"/>
                    <a:pt x="42244" y="507900"/>
                  </a:cubicBezTo>
                  <a:cubicBezTo>
                    <a:pt x="39470" y="499366"/>
                    <a:pt x="15787" y="415621"/>
                    <a:pt x="15787" y="415621"/>
                  </a:cubicBezTo>
                  <a:cubicBezTo>
                    <a:pt x="13013" y="407193"/>
                    <a:pt x="11840" y="399619"/>
                    <a:pt x="11946" y="392578"/>
                  </a:cubicBezTo>
                  <a:cubicBezTo>
                    <a:pt x="12266" y="370601"/>
                    <a:pt x="25175" y="355026"/>
                    <a:pt x="39790" y="343611"/>
                  </a:cubicBezTo>
                  <a:cubicBezTo>
                    <a:pt x="59419" y="328249"/>
                    <a:pt x="95264" y="310113"/>
                    <a:pt x="115747" y="300299"/>
                  </a:cubicBezTo>
                  <a:cubicBezTo>
                    <a:pt x="125135" y="295818"/>
                    <a:pt x="138790" y="288777"/>
                    <a:pt x="138790" y="265734"/>
                  </a:cubicBezTo>
                  <a:cubicBezTo>
                    <a:pt x="121401" y="246958"/>
                    <a:pt x="115747" y="208019"/>
                    <a:pt x="115747" y="208019"/>
                  </a:cubicBezTo>
                  <a:cubicBezTo>
                    <a:pt x="54192" y="178255"/>
                    <a:pt x="80222" y="123848"/>
                    <a:pt x="92704" y="115740"/>
                  </a:cubicBezTo>
                  <a:cubicBezTo>
                    <a:pt x="92704" y="88643"/>
                    <a:pt x="92597" y="11939"/>
                    <a:pt x="196505" y="11939"/>
                  </a:cubicBezTo>
                  <a:cubicBezTo>
                    <a:pt x="261260" y="11939"/>
                    <a:pt x="265741" y="34983"/>
                    <a:pt x="323348" y="23461"/>
                  </a:cubicBezTo>
                  <a:cubicBezTo>
                    <a:pt x="323348" y="23461"/>
                    <a:pt x="330496" y="108699"/>
                    <a:pt x="253899" y="121074"/>
                  </a:cubicBezTo>
                  <a:cubicBezTo>
                    <a:pt x="184983" y="132276"/>
                    <a:pt x="161833" y="104219"/>
                    <a:pt x="161833" y="104219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90556355-6D28-4609-A52A-4B33063F50BF}"/>
                </a:ext>
              </a:extLst>
            </p:cNvPr>
            <p:cNvSpPr/>
            <p:nvPr/>
          </p:nvSpPr>
          <p:spPr>
            <a:xfrm>
              <a:off x="4186455" y="1416700"/>
              <a:ext cx="330712" cy="384052"/>
            </a:xfrm>
            <a:custGeom>
              <a:avLst/>
              <a:gdLst>
                <a:gd name="connsiteX0" fmla="*/ 11939 w 330711"/>
                <a:gd name="connsiteY0" fmla="*/ 11939 h 384052"/>
                <a:gd name="connsiteX1" fmla="*/ 323342 w 330711"/>
                <a:gd name="connsiteY1" fmla="*/ 11939 h 384052"/>
                <a:gd name="connsiteX2" fmla="*/ 323342 w 330711"/>
                <a:gd name="connsiteY2" fmla="*/ 381163 h 384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711" h="384052">
                  <a:moveTo>
                    <a:pt x="11939" y="11939"/>
                  </a:moveTo>
                  <a:lnTo>
                    <a:pt x="323342" y="11939"/>
                  </a:lnTo>
                  <a:lnTo>
                    <a:pt x="323342" y="381163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ED70BC3B-19A6-4DA1-A8F6-F97BC4CD6CED}"/>
                </a:ext>
              </a:extLst>
            </p:cNvPr>
            <p:cNvSpPr/>
            <p:nvPr/>
          </p:nvSpPr>
          <p:spPr>
            <a:xfrm>
              <a:off x="4267105" y="1520501"/>
              <a:ext cx="106681" cy="106681"/>
            </a:xfrm>
            <a:custGeom>
              <a:avLst/>
              <a:gdLst>
                <a:gd name="connsiteX0" fmla="*/ 104325 w 106681"/>
                <a:gd name="connsiteY0" fmla="*/ 58132 h 106681"/>
                <a:gd name="connsiteX1" fmla="*/ 58133 w 106681"/>
                <a:gd name="connsiteY1" fmla="*/ 104325 h 106681"/>
                <a:gd name="connsiteX2" fmla="*/ 11940 w 106681"/>
                <a:gd name="connsiteY2" fmla="*/ 58132 h 106681"/>
                <a:gd name="connsiteX3" fmla="*/ 58133 w 106681"/>
                <a:gd name="connsiteY3" fmla="*/ 11939 h 106681"/>
                <a:gd name="connsiteX4" fmla="*/ 104325 w 106681"/>
                <a:gd name="connsiteY4" fmla="*/ 58132 h 106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81" h="106681">
                  <a:moveTo>
                    <a:pt x="104325" y="58132"/>
                  </a:moveTo>
                  <a:cubicBezTo>
                    <a:pt x="104325" y="83644"/>
                    <a:pt x="83644" y="104325"/>
                    <a:pt x="58133" y="104325"/>
                  </a:cubicBezTo>
                  <a:cubicBezTo>
                    <a:pt x="32621" y="104325"/>
                    <a:pt x="11940" y="83644"/>
                    <a:pt x="11940" y="58132"/>
                  </a:cubicBezTo>
                  <a:cubicBezTo>
                    <a:pt x="11940" y="32621"/>
                    <a:pt x="32621" y="11939"/>
                    <a:pt x="58133" y="11939"/>
                  </a:cubicBezTo>
                  <a:cubicBezTo>
                    <a:pt x="83644" y="11939"/>
                    <a:pt x="104325" y="32621"/>
                    <a:pt x="104325" y="58132"/>
                  </a:cubicBez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52AB966F-E4B8-4E2C-B5EB-79F4217B2C71}"/>
                </a:ext>
              </a:extLst>
            </p:cNvPr>
            <p:cNvSpPr/>
            <p:nvPr/>
          </p:nvSpPr>
          <p:spPr>
            <a:xfrm>
              <a:off x="4209498" y="1785924"/>
              <a:ext cx="352048" cy="85345"/>
            </a:xfrm>
            <a:custGeom>
              <a:avLst/>
              <a:gdLst>
                <a:gd name="connsiteX0" fmla="*/ 34983 w 352047"/>
                <a:gd name="connsiteY0" fmla="*/ 11939 h 85344"/>
                <a:gd name="connsiteX1" fmla="*/ 346385 w 352047"/>
                <a:gd name="connsiteY1" fmla="*/ 11939 h 85344"/>
                <a:gd name="connsiteX2" fmla="*/ 346385 w 352047"/>
                <a:gd name="connsiteY2" fmla="*/ 46504 h 85344"/>
                <a:gd name="connsiteX3" fmla="*/ 311820 w 352047"/>
                <a:gd name="connsiteY3" fmla="*/ 81069 h 85344"/>
                <a:gd name="connsiteX4" fmla="*/ 11939 w 352047"/>
                <a:gd name="connsiteY4" fmla="*/ 81069 h 8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047" h="85344">
                  <a:moveTo>
                    <a:pt x="34983" y="11939"/>
                  </a:moveTo>
                  <a:lnTo>
                    <a:pt x="346385" y="11939"/>
                  </a:lnTo>
                  <a:lnTo>
                    <a:pt x="346385" y="46504"/>
                  </a:lnTo>
                  <a:cubicBezTo>
                    <a:pt x="346385" y="65493"/>
                    <a:pt x="330809" y="81069"/>
                    <a:pt x="311820" y="81069"/>
                  </a:cubicBezTo>
                  <a:lnTo>
                    <a:pt x="11939" y="81069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849C4E42-20F9-44AC-BA52-C56EADC9A536}"/>
                </a:ext>
              </a:extLst>
            </p:cNvPr>
            <p:cNvSpPr/>
            <p:nvPr/>
          </p:nvSpPr>
          <p:spPr>
            <a:xfrm>
              <a:off x="4255584" y="1658973"/>
              <a:ext cx="170690" cy="85345"/>
            </a:xfrm>
            <a:custGeom>
              <a:avLst/>
              <a:gdLst>
                <a:gd name="connsiteX0" fmla="*/ 11939 w 170689"/>
                <a:gd name="connsiteY0" fmla="*/ 11939 h 85344"/>
                <a:gd name="connsiteX1" fmla="*/ 127262 w 170689"/>
                <a:gd name="connsiteY1" fmla="*/ 11939 h 85344"/>
                <a:gd name="connsiteX2" fmla="*/ 161827 w 170689"/>
                <a:gd name="connsiteY2" fmla="*/ 46504 h 85344"/>
                <a:gd name="connsiteX3" fmla="*/ 161827 w 170689"/>
                <a:gd name="connsiteY3" fmla="*/ 81069 h 8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689" h="85344">
                  <a:moveTo>
                    <a:pt x="11939" y="11939"/>
                  </a:moveTo>
                  <a:lnTo>
                    <a:pt x="127262" y="11939"/>
                  </a:lnTo>
                  <a:cubicBezTo>
                    <a:pt x="146251" y="11939"/>
                    <a:pt x="161827" y="27515"/>
                    <a:pt x="161827" y="46504"/>
                  </a:cubicBezTo>
                  <a:lnTo>
                    <a:pt x="161827" y="81069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B6AA0638-A684-4EAF-AADE-06F00AFAFB9F}"/>
                </a:ext>
              </a:extLst>
            </p:cNvPr>
            <p:cNvSpPr/>
            <p:nvPr/>
          </p:nvSpPr>
          <p:spPr>
            <a:xfrm>
              <a:off x="3944182" y="1601259"/>
              <a:ext cx="160022" cy="138686"/>
            </a:xfrm>
            <a:custGeom>
              <a:avLst/>
              <a:gdLst>
                <a:gd name="connsiteX0" fmla="*/ 11939 w 160021"/>
                <a:gd name="connsiteY0" fmla="*/ 11939 h 138685"/>
                <a:gd name="connsiteX1" fmla="*/ 81175 w 160021"/>
                <a:gd name="connsiteY1" fmla="*/ 127368 h 138685"/>
                <a:gd name="connsiteX2" fmla="*/ 150305 w 160021"/>
                <a:gd name="connsiteY2" fmla="*/ 11939 h 13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021" h="138685">
                  <a:moveTo>
                    <a:pt x="11939" y="11939"/>
                  </a:moveTo>
                  <a:lnTo>
                    <a:pt x="81175" y="127368"/>
                  </a:lnTo>
                  <a:lnTo>
                    <a:pt x="150305" y="11939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94574C8A-2D1F-4996-9772-3FAC26AD1ADE}"/>
              </a:ext>
            </a:extLst>
          </p:cNvPr>
          <p:cNvGrpSpPr/>
          <p:nvPr/>
        </p:nvGrpSpPr>
        <p:grpSpPr>
          <a:xfrm>
            <a:off x="4540423" y="5748100"/>
            <a:ext cx="492322" cy="369777"/>
            <a:chOff x="2984628" y="3451416"/>
            <a:chExt cx="757835" cy="569201"/>
          </a:xfrm>
        </p:grpSpPr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3B283AE1-0D72-474B-9ABE-A8495D3FB710}"/>
                </a:ext>
              </a:extLst>
            </p:cNvPr>
            <p:cNvSpPr/>
            <p:nvPr/>
          </p:nvSpPr>
          <p:spPr>
            <a:xfrm>
              <a:off x="3205230" y="3761085"/>
              <a:ext cx="283126" cy="153360"/>
            </a:xfrm>
            <a:custGeom>
              <a:avLst/>
              <a:gdLst>
                <a:gd name="connsiteX0" fmla="*/ 8501 w 228600"/>
                <a:gd name="connsiteY0" fmla="*/ 8501 h 123825"/>
                <a:gd name="connsiteX1" fmla="*/ 229386 w 228600"/>
                <a:gd name="connsiteY1" fmla="*/ 117277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8600" h="123825">
                  <a:moveTo>
                    <a:pt x="8501" y="8501"/>
                  </a:moveTo>
                  <a:cubicBezTo>
                    <a:pt x="8501" y="8501"/>
                    <a:pt x="131850" y="19645"/>
                    <a:pt x="229386" y="117277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8BB0E5D7-11BB-4B93-BC89-94F1C0649246}"/>
                </a:ext>
              </a:extLst>
            </p:cNvPr>
            <p:cNvSpPr/>
            <p:nvPr/>
          </p:nvSpPr>
          <p:spPr>
            <a:xfrm>
              <a:off x="3034411" y="3586137"/>
              <a:ext cx="188751" cy="188751"/>
            </a:xfrm>
            <a:custGeom>
              <a:avLst/>
              <a:gdLst>
                <a:gd name="connsiteX0" fmla="*/ 8501 w 152400"/>
                <a:gd name="connsiteY0" fmla="*/ 8501 h 152400"/>
                <a:gd name="connsiteX1" fmla="*/ 146423 w 152400"/>
                <a:gd name="connsiteY1" fmla="*/ 8501 h 152400"/>
                <a:gd name="connsiteX2" fmla="*/ 146423 w 152400"/>
                <a:gd name="connsiteY2" fmla="*/ 149757 h 152400"/>
                <a:gd name="connsiteX3" fmla="*/ 8501 w 152400"/>
                <a:gd name="connsiteY3" fmla="*/ 149757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152400">
                  <a:moveTo>
                    <a:pt x="8501" y="8501"/>
                  </a:moveTo>
                  <a:lnTo>
                    <a:pt x="146423" y="8501"/>
                  </a:lnTo>
                  <a:lnTo>
                    <a:pt x="146423" y="149757"/>
                  </a:lnTo>
                  <a:lnTo>
                    <a:pt x="8501" y="149757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A04DB78B-C2EE-4588-B5B3-5FC24CE95EE5}"/>
                </a:ext>
              </a:extLst>
            </p:cNvPr>
            <p:cNvSpPr/>
            <p:nvPr/>
          </p:nvSpPr>
          <p:spPr>
            <a:xfrm>
              <a:off x="3205230" y="3451416"/>
              <a:ext cx="283126" cy="460080"/>
            </a:xfrm>
            <a:custGeom>
              <a:avLst/>
              <a:gdLst>
                <a:gd name="connsiteX0" fmla="*/ 8501 w 228600"/>
                <a:gd name="connsiteY0" fmla="*/ 258532 h 371475"/>
                <a:gd name="connsiteX1" fmla="*/ 8501 w 228600"/>
                <a:gd name="connsiteY1" fmla="*/ 117277 h 371475"/>
                <a:gd name="connsiteX2" fmla="*/ 229386 w 228600"/>
                <a:gd name="connsiteY2" fmla="*/ 8501 h 371475"/>
                <a:gd name="connsiteX3" fmla="*/ 229386 w 228600"/>
                <a:gd name="connsiteY3" fmla="*/ 367308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600" h="371475">
                  <a:moveTo>
                    <a:pt x="8501" y="258532"/>
                  </a:moveTo>
                  <a:lnTo>
                    <a:pt x="8501" y="117277"/>
                  </a:lnTo>
                  <a:cubicBezTo>
                    <a:pt x="8501" y="117277"/>
                    <a:pt x="131850" y="106132"/>
                    <a:pt x="229386" y="8501"/>
                  </a:cubicBezTo>
                  <a:lnTo>
                    <a:pt x="229386" y="367308"/>
                  </a:ln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7ACAC47A-F7BF-4B43-8992-83DE778E2068}"/>
                </a:ext>
              </a:extLst>
            </p:cNvPr>
            <p:cNvSpPr/>
            <p:nvPr/>
          </p:nvSpPr>
          <p:spPr>
            <a:xfrm>
              <a:off x="3478801" y="3607489"/>
              <a:ext cx="82578" cy="141563"/>
            </a:xfrm>
            <a:custGeom>
              <a:avLst/>
              <a:gdLst>
                <a:gd name="connsiteX0" fmla="*/ 8501 w 66675"/>
                <a:gd name="connsiteY0" fmla="*/ 8501 h 114300"/>
                <a:gd name="connsiteX1" fmla="*/ 61841 w 66675"/>
                <a:gd name="connsiteY1" fmla="*/ 61841 h 114300"/>
                <a:gd name="connsiteX2" fmla="*/ 8501 w 66675"/>
                <a:gd name="connsiteY2" fmla="*/ 11518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5" h="114300">
                  <a:moveTo>
                    <a:pt x="8501" y="8501"/>
                  </a:moveTo>
                  <a:cubicBezTo>
                    <a:pt x="37934" y="8501"/>
                    <a:pt x="61841" y="32409"/>
                    <a:pt x="61841" y="61841"/>
                  </a:cubicBezTo>
                  <a:cubicBezTo>
                    <a:pt x="61841" y="91273"/>
                    <a:pt x="37934" y="115181"/>
                    <a:pt x="8501" y="115181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5C445269-D6A6-47E3-8E79-40D5FBB98898}"/>
                </a:ext>
              </a:extLst>
            </p:cNvPr>
            <p:cNvSpPr/>
            <p:nvPr/>
          </p:nvSpPr>
          <p:spPr>
            <a:xfrm>
              <a:off x="2984628" y="3623887"/>
              <a:ext cx="70782" cy="117969"/>
            </a:xfrm>
            <a:custGeom>
              <a:avLst/>
              <a:gdLst>
                <a:gd name="connsiteX0" fmla="*/ 48697 w 57150"/>
                <a:gd name="connsiteY0" fmla="*/ 8501 h 95250"/>
                <a:gd name="connsiteX1" fmla="*/ 8501 w 57150"/>
                <a:gd name="connsiteY1" fmla="*/ 48697 h 95250"/>
                <a:gd name="connsiteX2" fmla="*/ 48697 w 57150"/>
                <a:gd name="connsiteY2" fmla="*/ 88892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95250">
                  <a:moveTo>
                    <a:pt x="48697" y="8501"/>
                  </a:moveTo>
                  <a:cubicBezTo>
                    <a:pt x="26503" y="8501"/>
                    <a:pt x="8501" y="26503"/>
                    <a:pt x="8501" y="48697"/>
                  </a:cubicBezTo>
                  <a:cubicBezTo>
                    <a:pt x="8501" y="70890"/>
                    <a:pt x="26503" y="88892"/>
                    <a:pt x="48697" y="88892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93767501-3818-4451-B023-49629FE457F3}"/>
                </a:ext>
              </a:extLst>
            </p:cNvPr>
            <p:cNvSpPr/>
            <p:nvPr/>
          </p:nvSpPr>
          <p:spPr>
            <a:xfrm>
              <a:off x="3061780" y="3761085"/>
              <a:ext cx="188751" cy="259532"/>
            </a:xfrm>
            <a:custGeom>
              <a:avLst/>
              <a:gdLst>
                <a:gd name="connsiteX0" fmla="*/ 123944 w 152400"/>
                <a:gd name="connsiteY0" fmla="*/ 32123 h 209550"/>
                <a:gd name="connsiteX1" fmla="*/ 144328 w 152400"/>
                <a:gd name="connsiteY1" fmla="*/ 190524 h 209550"/>
                <a:gd name="connsiteX2" fmla="*/ 124992 w 152400"/>
                <a:gd name="connsiteY2" fmla="*/ 201382 h 209550"/>
                <a:gd name="connsiteX3" fmla="*/ 82987 w 152400"/>
                <a:gd name="connsiteY3" fmla="*/ 198906 h 209550"/>
                <a:gd name="connsiteX4" fmla="*/ 8501 w 152400"/>
                <a:gd name="connsiteY4" fmla="*/ 8501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209550">
                  <a:moveTo>
                    <a:pt x="123944" y="32123"/>
                  </a:moveTo>
                  <a:cubicBezTo>
                    <a:pt x="106704" y="65651"/>
                    <a:pt x="146804" y="182047"/>
                    <a:pt x="144328" y="190524"/>
                  </a:cubicBezTo>
                  <a:cubicBezTo>
                    <a:pt x="142613" y="196525"/>
                    <a:pt x="130040" y="199954"/>
                    <a:pt x="124992" y="201382"/>
                  </a:cubicBezTo>
                  <a:cubicBezTo>
                    <a:pt x="112895" y="204716"/>
                    <a:pt x="94226" y="205669"/>
                    <a:pt x="82987" y="198906"/>
                  </a:cubicBezTo>
                  <a:cubicBezTo>
                    <a:pt x="55840" y="182332"/>
                    <a:pt x="50697" y="21169"/>
                    <a:pt x="8501" y="8501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EFC81BB1-8CE0-4A9D-A141-42F5D8F9EBB5}"/>
                </a:ext>
              </a:extLst>
            </p:cNvPr>
            <p:cNvSpPr/>
            <p:nvPr/>
          </p:nvSpPr>
          <p:spPr>
            <a:xfrm>
              <a:off x="3552060" y="3551571"/>
              <a:ext cx="129766" cy="58985"/>
            </a:xfrm>
            <a:custGeom>
              <a:avLst/>
              <a:gdLst>
                <a:gd name="connsiteX0" fmla="*/ 8501 w 104775"/>
                <a:gd name="connsiteY0" fmla="*/ 42791 h 47625"/>
                <a:gd name="connsiteX1" fmla="*/ 100989 w 104775"/>
                <a:gd name="connsiteY1" fmla="*/ 8501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75" h="47625">
                  <a:moveTo>
                    <a:pt x="8501" y="42791"/>
                  </a:moveTo>
                  <a:lnTo>
                    <a:pt x="100989" y="8501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20C3E8E7-86AD-4A3A-AEE1-5E1A9A5E2340}"/>
                </a:ext>
              </a:extLst>
            </p:cNvPr>
            <p:cNvSpPr/>
            <p:nvPr/>
          </p:nvSpPr>
          <p:spPr>
            <a:xfrm>
              <a:off x="3701999" y="3531871"/>
              <a:ext cx="35391" cy="23594"/>
            </a:xfrm>
            <a:custGeom>
              <a:avLst/>
              <a:gdLst>
                <a:gd name="connsiteX0" fmla="*/ 8501 w 28575"/>
                <a:gd name="connsiteY0" fmla="*/ 13835 h 19050"/>
                <a:gd name="connsiteX1" fmla="*/ 23074 w 28575"/>
                <a:gd name="connsiteY1" fmla="*/ 8501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19050">
                  <a:moveTo>
                    <a:pt x="8501" y="13835"/>
                  </a:moveTo>
                  <a:lnTo>
                    <a:pt x="23074" y="8501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356B977E-EB6E-4D14-8A6B-D2DF4D0C8E3D}"/>
                </a:ext>
              </a:extLst>
            </p:cNvPr>
            <p:cNvSpPr/>
            <p:nvPr/>
          </p:nvSpPr>
          <p:spPr>
            <a:xfrm>
              <a:off x="3600900" y="3594040"/>
              <a:ext cx="141563" cy="35391"/>
            </a:xfrm>
            <a:custGeom>
              <a:avLst/>
              <a:gdLst>
                <a:gd name="connsiteX0" fmla="*/ 107275 w 114300"/>
                <a:gd name="connsiteY0" fmla="*/ 8501 h 28575"/>
                <a:gd name="connsiteX1" fmla="*/ 8501 w 114300"/>
                <a:gd name="connsiteY1" fmla="*/ 26599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" h="28575">
                  <a:moveTo>
                    <a:pt x="107275" y="8501"/>
                  </a:moveTo>
                  <a:lnTo>
                    <a:pt x="8501" y="26599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A3940DD8-5808-4317-92D4-D3BA14194AFA}"/>
                </a:ext>
              </a:extLst>
            </p:cNvPr>
            <p:cNvSpPr/>
            <p:nvPr/>
          </p:nvSpPr>
          <p:spPr>
            <a:xfrm>
              <a:off x="3561616" y="3621174"/>
              <a:ext cx="35391" cy="23594"/>
            </a:xfrm>
            <a:custGeom>
              <a:avLst/>
              <a:gdLst>
                <a:gd name="connsiteX0" fmla="*/ 24408 w 28575"/>
                <a:gd name="connsiteY0" fmla="*/ 8501 h 19050"/>
                <a:gd name="connsiteX1" fmla="*/ 8501 w 28575"/>
                <a:gd name="connsiteY1" fmla="*/ 11454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19050">
                  <a:moveTo>
                    <a:pt x="24408" y="8501"/>
                  </a:moveTo>
                  <a:lnTo>
                    <a:pt x="8501" y="11454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A4756CF-8330-47B9-AD86-460B34C1255A}"/>
                </a:ext>
              </a:extLst>
            </p:cNvPr>
            <p:cNvSpPr/>
            <p:nvPr/>
          </p:nvSpPr>
          <p:spPr>
            <a:xfrm>
              <a:off x="3552060" y="3746456"/>
              <a:ext cx="141563" cy="58985"/>
            </a:xfrm>
            <a:custGeom>
              <a:avLst/>
              <a:gdLst>
                <a:gd name="connsiteX0" fmla="*/ 8501 w 114300"/>
                <a:gd name="connsiteY0" fmla="*/ 8501 h 47625"/>
                <a:gd name="connsiteX1" fmla="*/ 110704 w 114300"/>
                <a:gd name="connsiteY1" fmla="*/ 4631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" h="47625">
                  <a:moveTo>
                    <a:pt x="8501" y="8501"/>
                  </a:moveTo>
                  <a:lnTo>
                    <a:pt x="110704" y="46315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D7BBE81F-592B-4723-9EC9-6F131900BA46}"/>
                </a:ext>
              </a:extLst>
            </p:cNvPr>
            <p:cNvSpPr/>
            <p:nvPr/>
          </p:nvSpPr>
          <p:spPr>
            <a:xfrm>
              <a:off x="3701999" y="3802020"/>
              <a:ext cx="35391" cy="23594"/>
            </a:xfrm>
            <a:custGeom>
              <a:avLst/>
              <a:gdLst>
                <a:gd name="connsiteX0" fmla="*/ 8501 w 28575"/>
                <a:gd name="connsiteY0" fmla="*/ 8501 h 19050"/>
                <a:gd name="connsiteX1" fmla="*/ 23074 w 28575"/>
                <a:gd name="connsiteY1" fmla="*/ 1383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19050">
                  <a:moveTo>
                    <a:pt x="8501" y="8501"/>
                  </a:moveTo>
                  <a:lnTo>
                    <a:pt x="23074" y="13835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223B4363-7551-47C3-952B-BDA9752165F4}"/>
                </a:ext>
              </a:extLst>
            </p:cNvPr>
            <p:cNvSpPr/>
            <p:nvPr/>
          </p:nvSpPr>
          <p:spPr>
            <a:xfrm>
              <a:off x="3685601" y="3739497"/>
              <a:ext cx="47188" cy="23594"/>
            </a:xfrm>
            <a:custGeom>
              <a:avLst/>
              <a:gdLst>
                <a:gd name="connsiteX0" fmla="*/ 38886 w 38100"/>
                <a:gd name="connsiteY0" fmla="*/ 14121 h 19050"/>
                <a:gd name="connsiteX1" fmla="*/ 8501 w 38100"/>
                <a:gd name="connsiteY1" fmla="*/ 8501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19050">
                  <a:moveTo>
                    <a:pt x="38886" y="14121"/>
                  </a:moveTo>
                  <a:lnTo>
                    <a:pt x="8501" y="8501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F9ED72BF-ACDA-47EA-8FA7-B0FD9E795734}"/>
                </a:ext>
              </a:extLst>
            </p:cNvPr>
            <p:cNvSpPr/>
            <p:nvPr/>
          </p:nvSpPr>
          <p:spPr>
            <a:xfrm>
              <a:off x="3561616" y="3717200"/>
              <a:ext cx="106172" cy="35391"/>
            </a:xfrm>
            <a:custGeom>
              <a:avLst/>
              <a:gdLst>
                <a:gd name="connsiteX0" fmla="*/ 78986 w 85725"/>
                <a:gd name="connsiteY0" fmla="*/ 21455 h 28575"/>
                <a:gd name="connsiteX1" fmla="*/ 8501 w 85725"/>
                <a:gd name="connsiteY1" fmla="*/ 850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725" h="28575">
                  <a:moveTo>
                    <a:pt x="78986" y="21455"/>
                  </a:moveTo>
                  <a:lnTo>
                    <a:pt x="8501" y="8501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9186DFAE-F017-4DDA-A109-515134729165}"/>
              </a:ext>
            </a:extLst>
          </p:cNvPr>
          <p:cNvGrpSpPr/>
          <p:nvPr/>
        </p:nvGrpSpPr>
        <p:grpSpPr>
          <a:xfrm>
            <a:off x="4063897" y="4497197"/>
            <a:ext cx="452863" cy="468800"/>
            <a:chOff x="4056734" y="4892550"/>
            <a:chExt cx="750587" cy="777002"/>
          </a:xfrm>
        </p:grpSpPr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44564F36-D2B7-4062-AFDA-22D73D84BE77}"/>
                </a:ext>
              </a:extLst>
            </p:cNvPr>
            <p:cNvSpPr/>
            <p:nvPr/>
          </p:nvSpPr>
          <p:spPr>
            <a:xfrm>
              <a:off x="4301540" y="5036750"/>
              <a:ext cx="259819" cy="259819"/>
            </a:xfrm>
            <a:custGeom>
              <a:avLst/>
              <a:gdLst>
                <a:gd name="connsiteX0" fmla="*/ 259716 w 259818"/>
                <a:gd name="connsiteY0" fmla="*/ 135292 h 259818"/>
                <a:gd name="connsiteX1" fmla="*/ 135292 w 259818"/>
                <a:gd name="connsiteY1" fmla="*/ 259716 h 259818"/>
                <a:gd name="connsiteX2" fmla="*/ 10868 w 259818"/>
                <a:gd name="connsiteY2" fmla="*/ 135292 h 259818"/>
                <a:gd name="connsiteX3" fmla="*/ 135292 w 259818"/>
                <a:gd name="connsiteY3" fmla="*/ 10867 h 259818"/>
                <a:gd name="connsiteX4" fmla="*/ 259716 w 259818"/>
                <a:gd name="connsiteY4" fmla="*/ 135292 h 25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9818" h="259818">
                  <a:moveTo>
                    <a:pt x="259716" y="135292"/>
                  </a:moveTo>
                  <a:cubicBezTo>
                    <a:pt x="259716" y="204009"/>
                    <a:pt x="204009" y="259716"/>
                    <a:pt x="135292" y="259716"/>
                  </a:cubicBezTo>
                  <a:cubicBezTo>
                    <a:pt x="66574" y="259716"/>
                    <a:pt x="10868" y="204009"/>
                    <a:pt x="10868" y="135292"/>
                  </a:cubicBezTo>
                  <a:cubicBezTo>
                    <a:pt x="10868" y="66574"/>
                    <a:pt x="66574" y="10867"/>
                    <a:pt x="135292" y="10867"/>
                  </a:cubicBezTo>
                  <a:cubicBezTo>
                    <a:pt x="204009" y="10867"/>
                    <a:pt x="259716" y="66574"/>
                    <a:pt x="259716" y="135292"/>
                  </a:cubicBez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2D26229E-0F9C-4620-9A8A-34DB3D912E57}"/>
                </a:ext>
              </a:extLst>
            </p:cNvPr>
            <p:cNvSpPr/>
            <p:nvPr/>
          </p:nvSpPr>
          <p:spPr>
            <a:xfrm>
              <a:off x="4056734" y="5539643"/>
              <a:ext cx="750587" cy="129909"/>
            </a:xfrm>
            <a:custGeom>
              <a:avLst/>
              <a:gdLst>
                <a:gd name="connsiteX0" fmla="*/ 691303 w 750587"/>
                <a:gd name="connsiteY0" fmla="*/ 132982 h 129909"/>
                <a:gd name="connsiteX1" fmla="*/ 71925 w 750587"/>
                <a:gd name="connsiteY1" fmla="*/ 132982 h 129909"/>
                <a:gd name="connsiteX2" fmla="*/ 10867 w 750587"/>
                <a:gd name="connsiteY2" fmla="*/ 71924 h 129909"/>
                <a:gd name="connsiteX3" fmla="*/ 10867 w 750587"/>
                <a:gd name="connsiteY3" fmla="*/ 71924 h 129909"/>
                <a:gd name="connsiteX4" fmla="*/ 71925 w 750587"/>
                <a:gd name="connsiteY4" fmla="*/ 10867 h 129909"/>
                <a:gd name="connsiteX5" fmla="*/ 691303 w 750587"/>
                <a:gd name="connsiteY5" fmla="*/ 10867 h 129909"/>
                <a:gd name="connsiteX6" fmla="*/ 752361 w 750587"/>
                <a:gd name="connsiteY6" fmla="*/ 71924 h 129909"/>
                <a:gd name="connsiteX7" fmla="*/ 752361 w 750587"/>
                <a:gd name="connsiteY7" fmla="*/ 71924 h 129909"/>
                <a:gd name="connsiteX8" fmla="*/ 691303 w 750587"/>
                <a:gd name="connsiteY8" fmla="*/ 132982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0587" h="129909">
                  <a:moveTo>
                    <a:pt x="691303" y="132982"/>
                  </a:moveTo>
                  <a:lnTo>
                    <a:pt x="71925" y="132982"/>
                  </a:lnTo>
                  <a:cubicBezTo>
                    <a:pt x="38292" y="132982"/>
                    <a:pt x="10867" y="105557"/>
                    <a:pt x="10867" y="71924"/>
                  </a:cubicBezTo>
                  <a:lnTo>
                    <a:pt x="10867" y="71924"/>
                  </a:lnTo>
                  <a:cubicBezTo>
                    <a:pt x="10867" y="38292"/>
                    <a:pt x="38292" y="10867"/>
                    <a:pt x="71925" y="10867"/>
                  </a:cubicBezTo>
                  <a:lnTo>
                    <a:pt x="691303" y="10867"/>
                  </a:lnTo>
                  <a:cubicBezTo>
                    <a:pt x="724936" y="10867"/>
                    <a:pt x="752361" y="38292"/>
                    <a:pt x="752361" y="71924"/>
                  </a:cubicBezTo>
                  <a:lnTo>
                    <a:pt x="752361" y="71924"/>
                  </a:lnTo>
                  <a:cubicBezTo>
                    <a:pt x="752361" y="105557"/>
                    <a:pt x="724936" y="132982"/>
                    <a:pt x="691303" y="132982"/>
                  </a:cubicBez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4A29FA28-B087-4D8E-BE27-A5D3FEFA12CE}"/>
                </a:ext>
              </a:extLst>
            </p:cNvPr>
            <p:cNvSpPr/>
            <p:nvPr/>
          </p:nvSpPr>
          <p:spPr>
            <a:xfrm>
              <a:off x="4549523" y="5539499"/>
              <a:ext cx="57737" cy="129909"/>
            </a:xfrm>
            <a:custGeom>
              <a:avLst/>
              <a:gdLst>
                <a:gd name="connsiteX0" fmla="*/ 51572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572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9BC7E69-7D43-42BD-B088-B11AB7FC860D}"/>
                </a:ext>
              </a:extLst>
            </p:cNvPr>
            <p:cNvSpPr/>
            <p:nvPr/>
          </p:nvSpPr>
          <p:spPr>
            <a:xfrm>
              <a:off x="4461762" y="5539499"/>
              <a:ext cx="57737" cy="129909"/>
            </a:xfrm>
            <a:custGeom>
              <a:avLst/>
              <a:gdLst>
                <a:gd name="connsiteX0" fmla="*/ 51716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716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96694499-3F94-4232-A85D-C77665898919}"/>
                </a:ext>
              </a:extLst>
            </p:cNvPr>
            <p:cNvSpPr/>
            <p:nvPr/>
          </p:nvSpPr>
          <p:spPr>
            <a:xfrm>
              <a:off x="4374145" y="5539499"/>
              <a:ext cx="57737" cy="129909"/>
            </a:xfrm>
            <a:custGeom>
              <a:avLst/>
              <a:gdLst>
                <a:gd name="connsiteX0" fmla="*/ 51717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717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E220765F-4CFD-45DB-98E1-6C1B1C1A1D8B}"/>
                </a:ext>
              </a:extLst>
            </p:cNvPr>
            <p:cNvSpPr/>
            <p:nvPr/>
          </p:nvSpPr>
          <p:spPr>
            <a:xfrm>
              <a:off x="4286529" y="5539499"/>
              <a:ext cx="57737" cy="129909"/>
            </a:xfrm>
            <a:custGeom>
              <a:avLst/>
              <a:gdLst>
                <a:gd name="connsiteX0" fmla="*/ 51572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572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9E3E79FA-64F5-49D8-9E87-229CE689D0AB}"/>
                </a:ext>
              </a:extLst>
            </p:cNvPr>
            <p:cNvSpPr/>
            <p:nvPr/>
          </p:nvSpPr>
          <p:spPr>
            <a:xfrm>
              <a:off x="4198912" y="5539499"/>
              <a:ext cx="57737" cy="129909"/>
            </a:xfrm>
            <a:custGeom>
              <a:avLst/>
              <a:gdLst>
                <a:gd name="connsiteX0" fmla="*/ 51572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572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C5FFD138-06BB-4699-890E-1A3E40180165}"/>
                </a:ext>
              </a:extLst>
            </p:cNvPr>
            <p:cNvSpPr/>
            <p:nvPr/>
          </p:nvSpPr>
          <p:spPr>
            <a:xfrm>
              <a:off x="4111151" y="5539499"/>
              <a:ext cx="57737" cy="129909"/>
            </a:xfrm>
            <a:custGeom>
              <a:avLst/>
              <a:gdLst>
                <a:gd name="connsiteX0" fmla="*/ 51717 w 57737"/>
                <a:gd name="connsiteY0" fmla="*/ 10867 h 129909"/>
                <a:gd name="connsiteX1" fmla="*/ 10867 w 57737"/>
                <a:gd name="connsiteY1" fmla="*/ 133126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129909">
                  <a:moveTo>
                    <a:pt x="51717" y="10867"/>
                  </a:moveTo>
                  <a:lnTo>
                    <a:pt x="10867" y="133126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69DA49C3-A0E5-4F48-9783-FD941CF8A759}"/>
                </a:ext>
              </a:extLst>
            </p:cNvPr>
            <p:cNvSpPr/>
            <p:nvPr/>
          </p:nvSpPr>
          <p:spPr>
            <a:xfrm>
              <a:off x="4158929" y="4892550"/>
              <a:ext cx="548506" cy="548506"/>
            </a:xfrm>
            <a:custGeom>
              <a:avLst/>
              <a:gdLst>
                <a:gd name="connsiteX0" fmla="*/ 161418 w 548506"/>
                <a:gd name="connsiteY0" fmla="*/ 462663 h 548506"/>
                <a:gd name="connsiteX1" fmla="*/ 233301 w 548506"/>
                <a:gd name="connsiteY1" fmla="*/ 492542 h 548506"/>
                <a:gd name="connsiteX2" fmla="*/ 233301 w 548506"/>
                <a:gd name="connsiteY2" fmla="*/ 547970 h 548506"/>
                <a:gd name="connsiteX3" fmla="*/ 325537 w 548506"/>
                <a:gd name="connsiteY3" fmla="*/ 547970 h 548506"/>
                <a:gd name="connsiteX4" fmla="*/ 325537 w 548506"/>
                <a:gd name="connsiteY4" fmla="*/ 492542 h 548506"/>
                <a:gd name="connsiteX5" fmla="*/ 397420 w 548506"/>
                <a:gd name="connsiteY5" fmla="*/ 462663 h 548506"/>
                <a:gd name="connsiteX6" fmla="*/ 436681 w 548506"/>
                <a:gd name="connsiteY6" fmla="*/ 501924 h 548506"/>
                <a:gd name="connsiteX7" fmla="*/ 501925 w 548506"/>
                <a:gd name="connsiteY7" fmla="*/ 436681 h 548506"/>
                <a:gd name="connsiteX8" fmla="*/ 462663 w 548506"/>
                <a:gd name="connsiteY8" fmla="*/ 397420 h 548506"/>
                <a:gd name="connsiteX9" fmla="*/ 492543 w 548506"/>
                <a:gd name="connsiteY9" fmla="*/ 325537 h 548506"/>
                <a:gd name="connsiteX10" fmla="*/ 547971 w 548506"/>
                <a:gd name="connsiteY10" fmla="*/ 325537 h 548506"/>
                <a:gd name="connsiteX11" fmla="*/ 547971 w 548506"/>
                <a:gd name="connsiteY11" fmla="*/ 233301 h 548506"/>
                <a:gd name="connsiteX12" fmla="*/ 492543 w 548506"/>
                <a:gd name="connsiteY12" fmla="*/ 233301 h 548506"/>
                <a:gd name="connsiteX13" fmla="*/ 462663 w 548506"/>
                <a:gd name="connsiteY13" fmla="*/ 161418 h 548506"/>
                <a:gd name="connsiteX14" fmla="*/ 501925 w 548506"/>
                <a:gd name="connsiteY14" fmla="*/ 122156 h 548506"/>
                <a:gd name="connsiteX15" fmla="*/ 436681 w 548506"/>
                <a:gd name="connsiteY15" fmla="*/ 56913 h 548506"/>
                <a:gd name="connsiteX16" fmla="*/ 397420 w 548506"/>
                <a:gd name="connsiteY16" fmla="*/ 96174 h 548506"/>
                <a:gd name="connsiteX17" fmla="*/ 325537 w 548506"/>
                <a:gd name="connsiteY17" fmla="*/ 66295 h 548506"/>
                <a:gd name="connsiteX18" fmla="*/ 325537 w 548506"/>
                <a:gd name="connsiteY18" fmla="*/ 10867 h 548506"/>
                <a:gd name="connsiteX19" fmla="*/ 233301 w 548506"/>
                <a:gd name="connsiteY19" fmla="*/ 10867 h 548506"/>
                <a:gd name="connsiteX20" fmla="*/ 233301 w 548506"/>
                <a:gd name="connsiteY20" fmla="*/ 66295 h 548506"/>
                <a:gd name="connsiteX21" fmla="*/ 161418 w 548506"/>
                <a:gd name="connsiteY21" fmla="*/ 96174 h 548506"/>
                <a:gd name="connsiteX22" fmla="*/ 122157 w 548506"/>
                <a:gd name="connsiteY22" fmla="*/ 56913 h 548506"/>
                <a:gd name="connsiteX23" fmla="*/ 56913 w 548506"/>
                <a:gd name="connsiteY23" fmla="*/ 122156 h 548506"/>
                <a:gd name="connsiteX24" fmla="*/ 96174 w 548506"/>
                <a:gd name="connsiteY24" fmla="*/ 161418 h 548506"/>
                <a:gd name="connsiteX25" fmla="*/ 66295 w 548506"/>
                <a:gd name="connsiteY25" fmla="*/ 233301 h 548506"/>
                <a:gd name="connsiteX26" fmla="*/ 10867 w 548506"/>
                <a:gd name="connsiteY26" fmla="*/ 233301 h 548506"/>
                <a:gd name="connsiteX27" fmla="*/ 10867 w 548506"/>
                <a:gd name="connsiteY27" fmla="*/ 325537 h 548506"/>
                <a:gd name="connsiteX28" fmla="*/ 66295 w 548506"/>
                <a:gd name="connsiteY28" fmla="*/ 325537 h 548506"/>
                <a:gd name="connsiteX29" fmla="*/ 96174 w 548506"/>
                <a:gd name="connsiteY29" fmla="*/ 397420 h 548506"/>
                <a:gd name="connsiteX30" fmla="*/ 56913 w 548506"/>
                <a:gd name="connsiteY30" fmla="*/ 436681 h 548506"/>
                <a:gd name="connsiteX31" fmla="*/ 122157 w 548506"/>
                <a:gd name="connsiteY31" fmla="*/ 501924 h 548506"/>
                <a:gd name="connsiteX32" fmla="*/ 161418 w 548506"/>
                <a:gd name="connsiteY32" fmla="*/ 462663 h 548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48506" h="548506">
                  <a:moveTo>
                    <a:pt x="161418" y="462663"/>
                  </a:moveTo>
                  <a:cubicBezTo>
                    <a:pt x="183070" y="476664"/>
                    <a:pt x="207319" y="486913"/>
                    <a:pt x="233301" y="492542"/>
                  </a:cubicBezTo>
                  <a:lnTo>
                    <a:pt x="233301" y="547970"/>
                  </a:lnTo>
                  <a:lnTo>
                    <a:pt x="325537" y="547970"/>
                  </a:lnTo>
                  <a:lnTo>
                    <a:pt x="325537" y="492542"/>
                  </a:lnTo>
                  <a:cubicBezTo>
                    <a:pt x="351519" y="486913"/>
                    <a:pt x="375768" y="476664"/>
                    <a:pt x="397420" y="462663"/>
                  </a:cubicBezTo>
                  <a:lnTo>
                    <a:pt x="436681" y="501924"/>
                  </a:lnTo>
                  <a:lnTo>
                    <a:pt x="501925" y="436681"/>
                  </a:lnTo>
                  <a:lnTo>
                    <a:pt x="462663" y="397420"/>
                  </a:lnTo>
                  <a:cubicBezTo>
                    <a:pt x="476665" y="375768"/>
                    <a:pt x="486913" y="351518"/>
                    <a:pt x="492543" y="325537"/>
                  </a:cubicBezTo>
                  <a:lnTo>
                    <a:pt x="547971" y="325537"/>
                  </a:lnTo>
                  <a:lnTo>
                    <a:pt x="547971" y="233301"/>
                  </a:lnTo>
                  <a:lnTo>
                    <a:pt x="492543" y="233301"/>
                  </a:lnTo>
                  <a:cubicBezTo>
                    <a:pt x="486913" y="207319"/>
                    <a:pt x="476665" y="183069"/>
                    <a:pt x="462663" y="161418"/>
                  </a:cubicBezTo>
                  <a:lnTo>
                    <a:pt x="501925" y="122156"/>
                  </a:lnTo>
                  <a:lnTo>
                    <a:pt x="436681" y="56913"/>
                  </a:lnTo>
                  <a:lnTo>
                    <a:pt x="397420" y="96174"/>
                  </a:lnTo>
                  <a:cubicBezTo>
                    <a:pt x="375768" y="82173"/>
                    <a:pt x="351519" y="71925"/>
                    <a:pt x="325537" y="66295"/>
                  </a:cubicBezTo>
                  <a:lnTo>
                    <a:pt x="325537" y="10867"/>
                  </a:lnTo>
                  <a:lnTo>
                    <a:pt x="233301" y="10867"/>
                  </a:lnTo>
                  <a:lnTo>
                    <a:pt x="233301" y="66295"/>
                  </a:lnTo>
                  <a:cubicBezTo>
                    <a:pt x="207319" y="71925"/>
                    <a:pt x="183070" y="82173"/>
                    <a:pt x="161418" y="96174"/>
                  </a:cubicBezTo>
                  <a:lnTo>
                    <a:pt x="122157" y="56913"/>
                  </a:lnTo>
                  <a:lnTo>
                    <a:pt x="56913" y="122156"/>
                  </a:lnTo>
                  <a:lnTo>
                    <a:pt x="96174" y="161418"/>
                  </a:lnTo>
                  <a:cubicBezTo>
                    <a:pt x="82173" y="183069"/>
                    <a:pt x="71925" y="207319"/>
                    <a:pt x="66295" y="233301"/>
                  </a:cubicBezTo>
                  <a:lnTo>
                    <a:pt x="10867" y="233301"/>
                  </a:lnTo>
                  <a:lnTo>
                    <a:pt x="10867" y="325537"/>
                  </a:lnTo>
                  <a:lnTo>
                    <a:pt x="66295" y="325537"/>
                  </a:lnTo>
                  <a:cubicBezTo>
                    <a:pt x="71925" y="351518"/>
                    <a:pt x="82173" y="375768"/>
                    <a:pt x="96174" y="397420"/>
                  </a:cubicBezTo>
                  <a:lnTo>
                    <a:pt x="56913" y="436681"/>
                  </a:lnTo>
                  <a:lnTo>
                    <a:pt x="122157" y="501924"/>
                  </a:lnTo>
                  <a:lnTo>
                    <a:pt x="161418" y="462663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B9796CA6-DC45-4D3A-9D7C-E03B2E9A90DD}"/>
              </a:ext>
            </a:extLst>
          </p:cNvPr>
          <p:cNvGrpSpPr/>
          <p:nvPr/>
        </p:nvGrpSpPr>
        <p:grpSpPr>
          <a:xfrm>
            <a:off x="3798625" y="3122381"/>
            <a:ext cx="427170" cy="443987"/>
            <a:chOff x="398665" y="5324488"/>
            <a:chExt cx="592582" cy="615911"/>
          </a:xfrm>
        </p:grpSpPr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08537A72-4159-4649-B705-5B1E7C252986}"/>
                </a:ext>
              </a:extLst>
            </p:cNvPr>
            <p:cNvSpPr/>
            <p:nvPr/>
          </p:nvSpPr>
          <p:spPr>
            <a:xfrm>
              <a:off x="521661" y="5324488"/>
              <a:ext cx="335951" cy="615911"/>
            </a:xfrm>
            <a:custGeom>
              <a:avLst/>
              <a:gdLst>
                <a:gd name="connsiteX0" fmla="*/ 138970 w 171450"/>
                <a:gd name="connsiteY0" fmla="*/ 7144 h 314325"/>
                <a:gd name="connsiteX1" fmla="*/ 84677 w 171450"/>
                <a:gd name="connsiteY1" fmla="*/ 151257 h 314325"/>
                <a:gd name="connsiteX2" fmla="*/ 171164 w 171450"/>
                <a:gd name="connsiteY2" fmla="*/ 151257 h 314325"/>
                <a:gd name="connsiteX3" fmla="*/ 40672 w 171450"/>
                <a:gd name="connsiteY3" fmla="*/ 311658 h 314325"/>
                <a:gd name="connsiteX4" fmla="*/ 95060 w 171450"/>
                <a:gd name="connsiteY4" fmla="*/ 186595 h 314325"/>
                <a:gd name="connsiteX5" fmla="*/ 7144 w 171450"/>
                <a:gd name="connsiteY5" fmla="*/ 186595 h 314325"/>
                <a:gd name="connsiteX6" fmla="*/ 138970 w 171450"/>
                <a:gd name="connsiteY6" fmla="*/ 714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450" h="314325">
                  <a:moveTo>
                    <a:pt x="138970" y="7144"/>
                  </a:moveTo>
                  <a:lnTo>
                    <a:pt x="84677" y="151257"/>
                  </a:lnTo>
                  <a:lnTo>
                    <a:pt x="171164" y="151257"/>
                  </a:lnTo>
                  <a:lnTo>
                    <a:pt x="40672" y="311658"/>
                  </a:lnTo>
                  <a:lnTo>
                    <a:pt x="95060" y="186595"/>
                  </a:lnTo>
                  <a:lnTo>
                    <a:pt x="7144" y="186595"/>
                  </a:lnTo>
                  <a:lnTo>
                    <a:pt x="138970" y="7144"/>
                  </a:lnTo>
                  <a:close/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1770DF8B-DF3E-47CF-8022-BD5466D01D84}"/>
                </a:ext>
              </a:extLst>
            </p:cNvPr>
            <p:cNvSpPr/>
            <p:nvPr/>
          </p:nvSpPr>
          <p:spPr>
            <a:xfrm>
              <a:off x="711287" y="5387571"/>
              <a:ext cx="279960" cy="541255"/>
            </a:xfrm>
            <a:custGeom>
              <a:avLst/>
              <a:gdLst>
                <a:gd name="connsiteX0" fmla="*/ 73342 w 142875"/>
                <a:gd name="connsiteY0" fmla="*/ 7144 h 276225"/>
                <a:gd name="connsiteX1" fmla="*/ 84487 w 142875"/>
                <a:gd name="connsiteY1" fmla="*/ 15526 h 276225"/>
                <a:gd name="connsiteX2" fmla="*/ 94774 w 142875"/>
                <a:gd name="connsiteY2" fmla="*/ 24860 h 276225"/>
                <a:gd name="connsiteX3" fmla="*/ 104108 w 142875"/>
                <a:gd name="connsiteY3" fmla="*/ 35147 h 276225"/>
                <a:gd name="connsiteX4" fmla="*/ 112490 w 142875"/>
                <a:gd name="connsiteY4" fmla="*/ 46292 h 276225"/>
                <a:gd name="connsiteX5" fmla="*/ 119729 w 142875"/>
                <a:gd name="connsiteY5" fmla="*/ 58198 h 276225"/>
                <a:gd name="connsiteX6" fmla="*/ 125825 w 142875"/>
                <a:gd name="connsiteY6" fmla="*/ 70866 h 276225"/>
                <a:gd name="connsiteX7" fmla="*/ 130683 w 142875"/>
                <a:gd name="connsiteY7" fmla="*/ 84201 h 276225"/>
                <a:gd name="connsiteX8" fmla="*/ 134207 w 142875"/>
                <a:gd name="connsiteY8" fmla="*/ 98108 h 276225"/>
                <a:gd name="connsiteX9" fmla="*/ 136398 w 142875"/>
                <a:gd name="connsiteY9" fmla="*/ 112490 h 276225"/>
                <a:gd name="connsiteX10" fmla="*/ 137160 w 142875"/>
                <a:gd name="connsiteY10" fmla="*/ 127254 h 276225"/>
                <a:gd name="connsiteX11" fmla="*/ 136398 w 142875"/>
                <a:gd name="connsiteY11" fmla="*/ 142018 h 276225"/>
                <a:gd name="connsiteX12" fmla="*/ 134207 w 142875"/>
                <a:gd name="connsiteY12" fmla="*/ 156401 h 276225"/>
                <a:gd name="connsiteX13" fmla="*/ 130683 w 142875"/>
                <a:gd name="connsiteY13" fmla="*/ 170307 h 276225"/>
                <a:gd name="connsiteX14" fmla="*/ 125825 w 142875"/>
                <a:gd name="connsiteY14" fmla="*/ 183642 h 276225"/>
                <a:gd name="connsiteX15" fmla="*/ 119729 w 142875"/>
                <a:gd name="connsiteY15" fmla="*/ 196310 h 276225"/>
                <a:gd name="connsiteX16" fmla="*/ 112490 w 142875"/>
                <a:gd name="connsiteY16" fmla="*/ 208217 h 276225"/>
                <a:gd name="connsiteX17" fmla="*/ 104108 w 142875"/>
                <a:gd name="connsiteY17" fmla="*/ 219361 h 276225"/>
                <a:gd name="connsiteX18" fmla="*/ 94774 w 142875"/>
                <a:gd name="connsiteY18" fmla="*/ 229648 h 276225"/>
                <a:gd name="connsiteX19" fmla="*/ 84487 w 142875"/>
                <a:gd name="connsiteY19" fmla="*/ 238982 h 276225"/>
                <a:gd name="connsiteX20" fmla="*/ 73342 w 142875"/>
                <a:gd name="connsiteY20" fmla="*/ 247364 h 276225"/>
                <a:gd name="connsiteX21" fmla="*/ 61436 w 142875"/>
                <a:gd name="connsiteY21" fmla="*/ 254603 h 276225"/>
                <a:gd name="connsiteX22" fmla="*/ 48768 w 142875"/>
                <a:gd name="connsiteY22" fmla="*/ 260699 h 276225"/>
                <a:gd name="connsiteX23" fmla="*/ 35433 w 142875"/>
                <a:gd name="connsiteY23" fmla="*/ 265557 h 276225"/>
                <a:gd name="connsiteX24" fmla="*/ 21526 w 142875"/>
                <a:gd name="connsiteY24" fmla="*/ 269081 h 276225"/>
                <a:gd name="connsiteX25" fmla="*/ 7144 w 142875"/>
                <a:gd name="connsiteY25" fmla="*/ 271272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2875" h="276225">
                  <a:moveTo>
                    <a:pt x="73342" y="7144"/>
                  </a:moveTo>
                  <a:cubicBezTo>
                    <a:pt x="77152" y="9716"/>
                    <a:pt x="80867" y="12573"/>
                    <a:pt x="84487" y="15526"/>
                  </a:cubicBezTo>
                  <a:cubicBezTo>
                    <a:pt x="88106" y="18479"/>
                    <a:pt x="91535" y="21622"/>
                    <a:pt x="94774" y="24860"/>
                  </a:cubicBezTo>
                  <a:cubicBezTo>
                    <a:pt x="98012" y="28099"/>
                    <a:pt x="101155" y="31528"/>
                    <a:pt x="104108" y="35147"/>
                  </a:cubicBezTo>
                  <a:cubicBezTo>
                    <a:pt x="107061" y="38767"/>
                    <a:pt x="109823" y="42482"/>
                    <a:pt x="112490" y="46292"/>
                  </a:cubicBezTo>
                  <a:cubicBezTo>
                    <a:pt x="115157" y="50102"/>
                    <a:pt x="117538" y="54102"/>
                    <a:pt x="119729" y="58198"/>
                  </a:cubicBezTo>
                  <a:cubicBezTo>
                    <a:pt x="121920" y="62294"/>
                    <a:pt x="124015" y="66485"/>
                    <a:pt x="125825" y="70866"/>
                  </a:cubicBezTo>
                  <a:cubicBezTo>
                    <a:pt x="127635" y="75152"/>
                    <a:pt x="129254" y="79629"/>
                    <a:pt x="130683" y="84201"/>
                  </a:cubicBezTo>
                  <a:cubicBezTo>
                    <a:pt x="132112" y="88773"/>
                    <a:pt x="133255" y="93345"/>
                    <a:pt x="134207" y="98108"/>
                  </a:cubicBezTo>
                  <a:cubicBezTo>
                    <a:pt x="135160" y="102775"/>
                    <a:pt x="135922" y="107633"/>
                    <a:pt x="136398" y="112490"/>
                  </a:cubicBezTo>
                  <a:cubicBezTo>
                    <a:pt x="136874" y="117348"/>
                    <a:pt x="137160" y="122301"/>
                    <a:pt x="137160" y="127254"/>
                  </a:cubicBezTo>
                  <a:cubicBezTo>
                    <a:pt x="137160" y="132207"/>
                    <a:pt x="136874" y="137160"/>
                    <a:pt x="136398" y="142018"/>
                  </a:cubicBezTo>
                  <a:cubicBezTo>
                    <a:pt x="135922" y="146876"/>
                    <a:pt x="135160" y="151638"/>
                    <a:pt x="134207" y="156401"/>
                  </a:cubicBezTo>
                  <a:cubicBezTo>
                    <a:pt x="133255" y="161068"/>
                    <a:pt x="132017" y="165735"/>
                    <a:pt x="130683" y="170307"/>
                  </a:cubicBezTo>
                  <a:cubicBezTo>
                    <a:pt x="129254" y="174879"/>
                    <a:pt x="127635" y="179261"/>
                    <a:pt x="125825" y="183642"/>
                  </a:cubicBezTo>
                  <a:cubicBezTo>
                    <a:pt x="124015" y="188024"/>
                    <a:pt x="121920" y="192215"/>
                    <a:pt x="119729" y="196310"/>
                  </a:cubicBezTo>
                  <a:cubicBezTo>
                    <a:pt x="117538" y="200406"/>
                    <a:pt x="115062" y="204407"/>
                    <a:pt x="112490" y="208217"/>
                  </a:cubicBezTo>
                  <a:cubicBezTo>
                    <a:pt x="109918" y="212027"/>
                    <a:pt x="107061" y="215741"/>
                    <a:pt x="104108" y="219361"/>
                  </a:cubicBezTo>
                  <a:cubicBezTo>
                    <a:pt x="101155" y="222980"/>
                    <a:pt x="98012" y="226409"/>
                    <a:pt x="94774" y="229648"/>
                  </a:cubicBezTo>
                  <a:cubicBezTo>
                    <a:pt x="91535" y="232886"/>
                    <a:pt x="88106" y="236030"/>
                    <a:pt x="84487" y="238982"/>
                  </a:cubicBezTo>
                  <a:cubicBezTo>
                    <a:pt x="80867" y="241935"/>
                    <a:pt x="77152" y="244697"/>
                    <a:pt x="73342" y="247364"/>
                  </a:cubicBezTo>
                  <a:cubicBezTo>
                    <a:pt x="69532" y="250031"/>
                    <a:pt x="65532" y="252413"/>
                    <a:pt x="61436" y="254603"/>
                  </a:cubicBezTo>
                  <a:cubicBezTo>
                    <a:pt x="57340" y="256794"/>
                    <a:pt x="53150" y="258890"/>
                    <a:pt x="48768" y="260699"/>
                  </a:cubicBezTo>
                  <a:cubicBezTo>
                    <a:pt x="44387" y="262509"/>
                    <a:pt x="40005" y="264128"/>
                    <a:pt x="35433" y="265557"/>
                  </a:cubicBezTo>
                  <a:cubicBezTo>
                    <a:pt x="30861" y="266986"/>
                    <a:pt x="26289" y="268129"/>
                    <a:pt x="21526" y="269081"/>
                  </a:cubicBezTo>
                  <a:cubicBezTo>
                    <a:pt x="16859" y="270034"/>
                    <a:pt x="12001" y="270796"/>
                    <a:pt x="7144" y="271272"/>
                  </a:cubicBezTo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5561C567-6D54-4C2A-881F-3D72E8660B5A}"/>
                </a:ext>
              </a:extLst>
            </p:cNvPr>
            <p:cNvSpPr/>
            <p:nvPr/>
          </p:nvSpPr>
          <p:spPr>
            <a:xfrm>
              <a:off x="398665" y="5344831"/>
              <a:ext cx="242632" cy="541255"/>
            </a:xfrm>
            <a:custGeom>
              <a:avLst/>
              <a:gdLst>
                <a:gd name="connsiteX0" fmla="*/ 70961 w 123825"/>
                <a:gd name="connsiteY0" fmla="*/ 269081 h 276225"/>
                <a:gd name="connsiteX1" fmla="*/ 59817 w 123825"/>
                <a:gd name="connsiteY1" fmla="*/ 260699 h 276225"/>
                <a:gd name="connsiteX2" fmla="*/ 49530 w 123825"/>
                <a:gd name="connsiteY2" fmla="*/ 251365 h 276225"/>
                <a:gd name="connsiteX3" fmla="*/ 40196 w 123825"/>
                <a:gd name="connsiteY3" fmla="*/ 241078 h 276225"/>
                <a:gd name="connsiteX4" fmla="*/ 31814 w 123825"/>
                <a:gd name="connsiteY4" fmla="*/ 229934 h 276225"/>
                <a:gd name="connsiteX5" fmla="*/ 24575 w 123825"/>
                <a:gd name="connsiteY5" fmla="*/ 218027 h 276225"/>
                <a:gd name="connsiteX6" fmla="*/ 18479 w 123825"/>
                <a:gd name="connsiteY6" fmla="*/ 205359 h 276225"/>
                <a:gd name="connsiteX7" fmla="*/ 13621 w 123825"/>
                <a:gd name="connsiteY7" fmla="*/ 192024 h 276225"/>
                <a:gd name="connsiteX8" fmla="*/ 10096 w 123825"/>
                <a:gd name="connsiteY8" fmla="*/ 178117 h 276225"/>
                <a:gd name="connsiteX9" fmla="*/ 7906 w 123825"/>
                <a:gd name="connsiteY9" fmla="*/ 163735 h 276225"/>
                <a:gd name="connsiteX10" fmla="*/ 7144 w 123825"/>
                <a:gd name="connsiteY10" fmla="*/ 148971 h 276225"/>
                <a:gd name="connsiteX11" fmla="*/ 7906 w 123825"/>
                <a:gd name="connsiteY11" fmla="*/ 134207 h 276225"/>
                <a:gd name="connsiteX12" fmla="*/ 10096 w 123825"/>
                <a:gd name="connsiteY12" fmla="*/ 119825 h 276225"/>
                <a:gd name="connsiteX13" fmla="*/ 13621 w 123825"/>
                <a:gd name="connsiteY13" fmla="*/ 105918 h 276225"/>
                <a:gd name="connsiteX14" fmla="*/ 18479 w 123825"/>
                <a:gd name="connsiteY14" fmla="*/ 92583 h 276225"/>
                <a:gd name="connsiteX15" fmla="*/ 24575 w 123825"/>
                <a:gd name="connsiteY15" fmla="*/ 79915 h 276225"/>
                <a:gd name="connsiteX16" fmla="*/ 31814 w 123825"/>
                <a:gd name="connsiteY16" fmla="*/ 68008 h 276225"/>
                <a:gd name="connsiteX17" fmla="*/ 40196 w 123825"/>
                <a:gd name="connsiteY17" fmla="*/ 56864 h 276225"/>
                <a:gd name="connsiteX18" fmla="*/ 49530 w 123825"/>
                <a:gd name="connsiteY18" fmla="*/ 46577 h 276225"/>
                <a:gd name="connsiteX19" fmla="*/ 59817 w 123825"/>
                <a:gd name="connsiteY19" fmla="*/ 37243 h 276225"/>
                <a:gd name="connsiteX20" fmla="*/ 70961 w 123825"/>
                <a:gd name="connsiteY20" fmla="*/ 28861 h 276225"/>
                <a:gd name="connsiteX21" fmla="*/ 82868 w 123825"/>
                <a:gd name="connsiteY21" fmla="*/ 21622 h 276225"/>
                <a:gd name="connsiteX22" fmla="*/ 95536 w 123825"/>
                <a:gd name="connsiteY22" fmla="*/ 15526 h 276225"/>
                <a:gd name="connsiteX23" fmla="*/ 108871 w 123825"/>
                <a:gd name="connsiteY23" fmla="*/ 10668 h 276225"/>
                <a:gd name="connsiteX24" fmla="*/ 122777 w 123825"/>
                <a:gd name="connsiteY24" fmla="*/ 7144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3825" h="276225">
                  <a:moveTo>
                    <a:pt x="70961" y="269081"/>
                  </a:moveTo>
                  <a:cubicBezTo>
                    <a:pt x="67151" y="266509"/>
                    <a:pt x="63437" y="263652"/>
                    <a:pt x="59817" y="260699"/>
                  </a:cubicBezTo>
                  <a:cubicBezTo>
                    <a:pt x="56198" y="257746"/>
                    <a:pt x="52769" y="254603"/>
                    <a:pt x="49530" y="251365"/>
                  </a:cubicBezTo>
                  <a:cubicBezTo>
                    <a:pt x="46292" y="248126"/>
                    <a:pt x="43148" y="244697"/>
                    <a:pt x="40196" y="241078"/>
                  </a:cubicBezTo>
                  <a:cubicBezTo>
                    <a:pt x="37243" y="237458"/>
                    <a:pt x="34481" y="233743"/>
                    <a:pt x="31814" y="229934"/>
                  </a:cubicBezTo>
                  <a:cubicBezTo>
                    <a:pt x="29242" y="226124"/>
                    <a:pt x="26765" y="222123"/>
                    <a:pt x="24575" y="218027"/>
                  </a:cubicBezTo>
                  <a:cubicBezTo>
                    <a:pt x="22384" y="213932"/>
                    <a:pt x="20288" y="209741"/>
                    <a:pt x="18479" y="205359"/>
                  </a:cubicBezTo>
                  <a:cubicBezTo>
                    <a:pt x="16669" y="201073"/>
                    <a:pt x="15049" y="196596"/>
                    <a:pt x="13621" y="192024"/>
                  </a:cubicBezTo>
                  <a:cubicBezTo>
                    <a:pt x="12192" y="187452"/>
                    <a:pt x="11049" y="182880"/>
                    <a:pt x="10096" y="178117"/>
                  </a:cubicBezTo>
                  <a:cubicBezTo>
                    <a:pt x="9144" y="173450"/>
                    <a:pt x="8382" y="168592"/>
                    <a:pt x="7906" y="163735"/>
                  </a:cubicBezTo>
                  <a:cubicBezTo>
                    <a:pt x="7429" y="158877"/>
                    <a:pt x="7144" y="153924"/>
                    <a:pt x="7144" y="148971"/>
                  </a:cubicBezTo>
                  <a:cubicBezTo>
                    <a:pt x="7144" y="144018"/>
                    <a:pt x="7429" y="139065"/>
                    <a:pt x="7906" y="134207"/>
                  </a:cubicBezTo>
                  <a:cubicBezTo>
                    <a:pt x="8382" y="129350"/>
                    <a:pt x="9144" y="124587"/>
                    <a:pt x="10096" y="119825"/>
                  </a:cubicBezTo>
                  <a:cubicBezTo>
                    <a:pt x="11049" y="115157"/>
                    <a:pt x="12287" y="110490"/>
                    <a:pt x="13621" y="105918"/>
                  </a:cubicBezTo>
                  <a:cubicBezTo>
                    <a:pt x="15049" y="101346"/>
                    <a:pt x="16669" y="96965"/>
                    <a:pt x="18479" y="92583"/>
                  </a:cubicBezTo>
                  <a:cubicBezTo>
                    <a:pt x="20288" y="88297"/>
                    <a:pt x="22384" y="84011"/>
                    <a:pt x="24575" y="79915"/>
                  </a:cubicBezTo>
                  <a:cubicBezTo>
                    <a:pt x="26765" y="75819"/>
                    <a:pt x="29242" y="71818"/>
                    <a:pt x="31814" y="68008"/>
                  </a:cubicBezTo>
                  <a:cubicBezTo>
                    <a:pt x="34385" y="64199"/>
                    <a:pt x="37243" y="60484"/>
                    <a:pt x="40196" y="56864"/>
                  </a:cubicBezTo>
                  <a:cubicBezTo>
                    <a:pt x="43148" y="53245"/>
                    <a:pt x="46292" y="49816"/>
                    <a:pt x="49530" y="46577"/>
                  </a:cubicBezTo>
                  <a:cubicBezTo>
                    <a:pt x="52769" y="43339"/>
                    <a:pt x="56198" y="40196"/>
                    <a:pt x="59817" y="37243"/>
                  </a:cubicBezTo>
                  <a:cubicBezTo>
                    <a:pt x="63437" y="34290"/>
                    <a:pt x="67151" y="31528"/>
                    <a:pt x="70961" y="28861"/>
                  </a:cubicBezTo>
                  <a:cubicBezTo>
                    <a:pt x="74771" y="26289"/>
                    <a:pt x="78772" y="23813"/>
                    <a:pt x="82868" y="21622"/>
                  </a:cubicBezTo>
                  <a:cubicBezTo>
                    <a:pt x="86963" y="19431"/>
                    <a:pt x="91154" y="17336"/>
                    <a:pt x="95536" y="15526"/>
                  </a:cubicBezTo>
                  <a:cubicBezTo>
                    <a:pt x="99822" y="13716"/>
                    <a:pt x="104299" y="12097"/>
                    <a:pt x="108871" y="10668"/>
                  </a:cubicBezTo>
                  <a:cubicBezTo>
                    <a:pt x="113443" y="9239"/>
                    <a:pt x="118015" y="8096"/>
                    <a:pt x="122777" y="7144"/>
                  </a:cubicBezTo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B7EEF2A4-7BC0-43E4-95C5-B4BFD6568C44}"/>
                </a:ext>
              </a:extLst>
            </p:cNvPr>
            <p:cNvSpPr/>
            <p:nvPr/>
          </p:nvSpPr>
          <p:spPr>
            <a:xfrm>
              <a:off x="725845" y="5444311"/>
              <a:ext cx="186640" cy="410607"/>
            </a:xfrm>
            <a:custGeom>
              <a:avLst/>
              <a:gdLst>
                <a:gd name="connsiteX0" fmla="*/ 46387 w 95250"/>
                <a:gd name="connsiteY0" fmla="*/ 7144 h 209550"/>
                <a:gd name="connsiteX1" fmla="*/ 54864 w 95250"/>
                <a:gd name="connsiteY1" fmla="*/ 13430 h 209550"/>
                <a:gd name="connsiteX2" fmla="*/ 62675 w 95250"/>
                <a:gd name="connsiteY2" fmla="*/ 20479 h 209550"/>
                <a:gd name="connsiteX3" fmla="*/ 69723 w 95250"/>
                <a:gd name="connsiteY3" fmla="*/ 28289 h 209550"/>
                <a:gd name="connsiteX4" fmla="*/ 76009 w 95250"/>
                <a:gd name="connsiteY4" fmla="*/ 36767 h 209550"/>
                <a:gd name="connsiteX5" fmla="*/ 81534 w 95250"/>
                <a:gd name="connsiteY5" fmla="*/ 45815 h 209550"/>
                <a:gd name="connsiteX6" fmla="*/ 86201 w 95250"/>
                <a:gd name="connsiteY6" fmla="*/ 55435 h 209550"/>
                <a:gd name="connsiteX7" fmla="*/ 89916 w 95250"/>
                <a:gd name="connsiteY7" fmla="*/ 65532 h 209550"/>
                <a:gd name="connsiteX8" fmla="*/ 92583 w 95250"/>
                <a:gd name="connsiteY8" fmla="*/ 76009 h 209550"/>
                <a:gd name="connsiteX9" fmla="*/ 94202 w 95250"/>
                <a:gd name="connsiteY9" fmla="*/ 86868 h 209550"/>
                <a:gd name="connsiteX10" fmla="*/ 94774 w 95250"/>
                <a:gd name="connsiteY10" fmla="*/ 98108 h 209550"/>
                <a:gd name="connsiteX11" fmla="*/ 94202 w 95250"/>
                <a:gd name="connsiteY11" fmla="*/ 109347 h 209550"/>
                <a:gd name="connsiteX12" fmla="*/ 92583 w 95250"/>
                <a:gd name="connsiteY12" fmla="*/ 120205 h 209550"/>
                <a:gd name="connsiteX13" fmla="*/ 89916 w 95250"/>
                <a:gd name="connsiteY13" fmla="*/ 130778 h 209550"/>
                <a:gd name="connsiteX14" fmla="*/ 86201 w 95250"/>
                <a:gd name="connsiteY14" fmla="*/ 140875 h 209550"/>
                <a:gd name="connsiteX15" fmla="*/ 81534 w 95250"/>
                <a:gd name="connsiteY15" fmla="*/ 150495 h 209550"/>
                <a:gd name="connsiteX16" fmla="*/ 76009 w 95250"/>
                <a:gd name="connsiteY16" fmla="*/ 159544 h 209550"/>
                <a:gd name="connsiteX17" fmla="*/ 69723 w 95250"/>
                <a:gd name="connsiteY17" fmla="*/ 168021 h 209550"/>
                <a:gd name="connsiteX18" fmla="*/ 62675 w 95250"/>
                <a:gd name="connsiteY18" fmla="*/ 175831 h 209550"/>
                <a:gd name="connsiteX19" fmla="*/ 54864 w 95250"/>
                <a:gd name="connsiteY19" fmla="*/ 182880 h 209550"/>
                <a:gd name="connsiteX20" fmla="*/ 46387 w 95250"/>
                <a:gd name="connsiteY20" fmla="*/ 189167 h 209550"/>
                <a:gd name="connsiteX21" fmla="*/ 37338 w 95250"/>
                <a:gd name="connsiteY21" fmla="*/ 194691 h 209550"/>
                <a:gd name="connsiteX22" fmla="*/ 27718 w 95250"/>
                <a:gd name="connsiteY22" fmla="*/ 199358 h 209550"/>
                <a:gd name="connsiteX23" fmla="*/ 17621 w 95250"/>
                <a:gd name="connsiteY23" fmla="*/ 203073 h 209550"/>
                <a:gd name="connsiteX24" fmla="*/ 7144 w 95250"/>
                <a:gd name="connsiteY24" fmla="*/ 20574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5250" h="209550">
                  <a:moveTo>
                    <a:pt x="46387" y="7144"/>
                  </a:moveTo>
                  <a:cubicBezTo>
                    <a:pt x="49340" y="9144"/>
                    <a:pt x="52102" y="11239"/>
                    <a:pt x="54864" y="13430"/>
                  </a:cubicBezTo>
                  <a:cubicBezTo>
                    <a:pt x="57531" y="15621"/>
                    <a:pt x="60198" y="18002"/>
                    <a:pt x="62675" y="20479"/>
                  </a:cubicBezTo>
                  <a:cubicBezTo>
                    <a:pt x="65151" y="22955"/>
                    <a:pt x="67532" y="25527"/>
                    <a:pt x="69723" y="28289"/>
                  </a:cubicBezTo>
                  <a:cubicBezTo>
                    <a:pt x="72009" y="30956"/>
                    <a:pt x="74105" y="33814"/>
                    <a:pt x="76009" y="36767"/>
                  </a:cubicBezTo>
                  <a:cubicBezTo>
                    <a:pt x="77915" y="39719"/>
                    <a:pt x="79820" y="42672"/>
                    <a:pt x="81534" y="45815"/>
                  </a:cubicBezTo>
                  <a:cubicBezTo>
                    <a:pt x="83249" y="48958"/>
                    <a:pt x="84773" y="52102"/>
                    <a:pt x="86201" y="55435"/>
                  </a:cubicBezTo>
                  <a:cubicBezTo>
                    <a:pt x="87630" y="58674"/>
                    <a:pt x="88868" y="62103"/>
                    <a:pt x="89916" y="65532"/>
                  </a:cubicBezTo>
                  <a:cubicBezTo>
                    <a:pt x="90964" y="68961"/>
                    <a:pt x="91916" y="72485"/>
                    <a:pt x="92583" y="76009"/>
                  </a:cubicBezTo>
                  <a:cubicBezTo>
                    <a:pt x="93250" y="79534"/>
                    <a:pt x="93917" y="83249"/>
                    <a:pt x="94202" y="86868"/>
                  </a:cubicBezTo>
                  <a:cubicBezTo>
                    <a:pt x="94488" y="90488"/>
                    <a:pt x="94774" y="94297"/>
                    <a:pt x="94774" y="98108"/>
                  </a:cubicBezTo>
                  <a:cubicBezTo>
                    <a:pt x="94774" y="101917"/>
                    <a:pt x="94583" y="105632"/>
                    <a:pt x="94202" y="109347"/>
                  </a:cubicBezTo>
                  <a:cubicBezTo>
                    <a:pt x="93821" y="113062"/>
                    <a:pt x="93250" y="116681"/>
                    <a:pt x="92583" y="120205"/>
                  </a:cubicBezTo>
                  <a:cubicBezTo>
                    <a:pt x="91821" y="123825"/>
                    <a:pt x="90964" y="127254"/>
                    <a:pt x="89916" y="130778"/>
                  </a:cubicBezTo>
                  <a:cubicBezTo>
                    <a:pt x="88868" y="134303"/>
                    <a:pt x="87630" y="137541"/>
                    <a:pt x="86201" y="140875"/>
                  </a:cubicBezTo>
                  <a:cubicBezTo>
                    <a:pt x="84773" y="144113"/>
                    <a:pt x="83249" y="147352"/>
                    <a:pt x="81534" y="150495"/>
                  </a:cubicBezTo>
                  <a:cubicBezTo>
                    <a:pt x="79820" y="153638"/>
                    <a:pt x="78010" y="156591"/>
                    <a:pt x="76009" y="159544"/>
                  </a:cubicBezTo>
                  <a:cubicBezTo>
                    <a:pt x="74009" y="162496"/>
                    <a:pt x="71914" y="165259"/>
                    <a:pt x="69723" y="168021"/>
                  </a:cubicBezTo>
                  <a:cubicBezTo>
                    <a:pt x="67532" y="170688"/>
                    <a:pt x="65151" y="173355"/>
                    <a:pt x="62675" y="175831"/>
                  </a:cubicBezTo>
                  <a:cubicBezTo>
                    <a:pt x="60198" y="178308"/>
                    <a:pt x="57626" y="180689"/>
                    <a:pt x="54864" y="182880"/>
                  </a:cubicBezTo>
                  <a:cubicBezTo>
                    <a:pt x="52197" y="185166"/>
                    <a:pt x="49340" y="187262"/>
                    <a:pt x="46387" y="189167"/>
                  </a:cubicBezTo>
                  <a:cubicBezTo>
                    <a:pt x="43434" y="191167"/>
                    <a:pt x="40481" y="192976"/>
                    <a:pt x="37338" y="194691"/>
                  </a:cubicBezTo>
                  <a:cubicBezTo>
                    <a:pt x="34195" y="196405"/>
                    <a:pt x="31052" y="197929"/>
                    <a:pt x="27718" y="199358"/>
                  </a:cubicBezTo>
                  <a:cubicBezTo>
                    <a:pt x="24479" y="200787"/>
                    <a:pt x="21050" y="202025"/>
                    <a:pt x="17621" y="203073"/>
                  </a:cubicBezTo>
                  <a:cubicBezTo>
                    <a:pt x="14192" y="204121"/>
                    <a:pt x="10668" y="205073"/>
                    <a:pt x="7144" y="205740"/>
                  </a:cubicBezTo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A1DDE280-239F-4653-80CC-45EDA066A2F3}"/>
                </a:ext>
              </a:extLst>
            </p:cNvPr>
            <p:cNvSpPr/>
            <p:nvPr/>
          </p:nvSpPr>
          <p:spPr>
            <a:xfrm>
              <a:off x="467348" y="5412021"/>
              <a:ext cx="186640" cy="391943"/>
            </a:xfrm>
            <a:custGeom>
              <a:avLst/>
              <a:gdLst>
                <a:gd name="connsiteX0" fmla="*/ 47054 w 95250"/>
                <a:gd name="connsiteY0" fmla="*/ 199453 h 200025"/>
                <a:gd name="connsiteX1" fmla="*/ 39243 w 95250"/>
                <a:gd name="connsiteY1" fmla="*/ 192405 h 200025"/>
                <a:gd name="connsiteX2" fmla="*/ 32195 w 95250"/>
                <a:gd name="connsiteY2" fmla="*/ 184594 h 200025"/>
                <a:gd name="connsiteX3" fmla="*/ 25908 w 95250"/>
                <a:gd name="connsiteY3" fmla="*/ 176117 h 200025"/>
                <a:gd name="connsiteX4" fmla="*/ 20384 w 95250"/>
                <a:gd name="connsiteY4" fmla="*/ 167068 h 200025"/>
                <a:gd name="connsiteX5" fmla="*/ 15716 w 95250"/>
                <a:gd name="connsiteY5" fmla="*/ 157448 h 200025"/>
                <a:gd name="connsiteX6" fmla="*/ 12002 w 95250"/>
                <a:gd name="connsiteY6" fmla="*/ 147352 h 200025"/>
                <a:gd name="connsiteX7" fmla="*/ 9335 w 95250"/>
                <a:gd name="connsiteY7" fmla="*/ 136779 h 200025"/>
                <a:gd name="connsiteX8" fmla="*/ 7715 w 95250"/>
                <a:gd name="connsiteY8" fmla="*/ 125921 h 200025"/>
                <a:gd name="connsiteX9" fmla="*/ 7144 w 95250"/>
                <a:gd name="connsiteY9" fmla="*/ 114681 h 200025"/>
                <a:gd name="connsiteX10" fmla="*/ 7715 w 95250"/>
                <a:gd name="connsiteY10" fmla="*/ 103442 h 200025"/>
                <a:gd name="connsiteX11" fmla="*/ 9335 w 95250"/>
                <a:gd name="connsiteY11" fmla="*/ 92583 h 200025"/>
                <a:gd name="connsiteX12" fmla="*/ 12002 w 95250"/>
                <a:gd name="connsiteY12" fmla="*/ 82105 h 200025"/>
                <a:gd name="connsiteX13" fmla="*/ 15716 w 95250"/>
                <a:gd name="connsiteY13" fmla="*/ 72009 h 200025"/>
                <a:gd name="connsiteX14" fmla="*/ 20384 w 95250"/>
                <a:gd name="connsiteY14" fmla="*/ 62389 h 200025"/>
                <a:gd name="connsiteX15" fmla="*/ 25908 w 95250"/>
                <a:gd name="connsiteY15" fmla="*/ 53340 h 200025"/>
                <a:gd name="connsiteX16" fmla="*/ 32195 w 95250"/>
                <a:gd name="connsiteY16" fmla="*/ 44863 h 200025"/>
                <a:gd name="connsiteX17" fmla="*/ 39243 w 95250"/>
                <a:gd name="connsiteY17" fmla="*/ 37052 h 200025"/>
                <a:gd name="connsiteX18" fmla="*/ 47054 w 95250"/>
                <a:gd name="connsiteY18" fmla="*/ 30004 h 200025"/>
                <a:gd name="connsiteX19" fmla="*/ 55531 w 95250"/>
                <a:gd name="connsiteY19" fmla="*/ 23717 h 200025"/>
                <a:gd name="connsiteX20" fmla="*/ 64580 w 95250"/>
                <a:gd name="connsiteY20" fmla="*/ 18193 h 200025"/>
                <a:gd name="connsiteX21" fmla="*/ 74200 w 95250"/>
                <a:gd name="connsiteY21" fmla="*/ 13525 h 200025"/>
                <a:gd name="connsiteX22" fmla="*/ 84296 w 95250"/>
                <a:gd name="connsiteY22" fmla="*/ 9811 h 200025"/>
                <a:gd name="connsiteX23" fmla="*/ 94774 w 95250"/>
                <a:gd name="connsiteY23" fmla="*/ 7144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5250" h="200025">
                  <a:moveTo>
                    <a:pt x="47054" y="199453"/>
                  </a:moveTo>
                  <a:cubicBezTo>
                    <a:pt x="44387" y="197263"/>
                    <a:pt x="41720" y="194881"/>
                    <a:pt x="39243" y="192405"/>
                  </a:cubicBezTo>
                  <a:cubicBezTo>
                    <a:pt x="36767" y="189928"/>
                    <a:pt x="34385" y="187357"/>
                    <a:pt x="32195" y="184594"/>
                  </a:cubicBezTo>
                  <a:cubicBezTo>
                    <a:pt x="30004" y="181927"/>
                    <a:pt x="27813" y="179070"/>
                    <a:pt x="25908" y="176117"/>
                  </a:cubicBezTo>
                  <a:cubicBezTo>
                    <a:pt x="24003" y="173164"/>
                    <a:pt x="22098" y="170212"/>
                    <a:pt x="20384" y="167068"/>
                  </a:cubicBezTo>
                  <a:cubicBezTo>
                    <a:pt x="18669" y="163925"/>
                    <a:pt x="17145" y="160782"/>
                    <a:pt x="15716" y="157448"/>
                  </a:cubicBezTo>
                  <a:cubicBezTo>
                    <a:pt x="14288" y="154210"/>
                    <a:pt x="13049" y="150781"/>
                    <a:pt x="12002" y="147352"/>
                  </a:cubicBezTo>
                  <a:cubicBezTo>
                    <a:pt x="10954" y="143923"/>
                    <a:pt x="10001" y="140398"/>
                    <a:pt x="9335" y="136779"/>
                  </a:cubicBezTo>
                  <a:cubicBezTo>
                    <a:pt x="8573" y="133159"/>
                    <a:pt x="8001" y="129540"/>
                    <a:pt x="7715" y="125921"/>
                  </a:cubicBezTo>
                  <a:cubicBezTo>
                    <a:pt x="7334" y="122206"/>
                    <a:pt x="7144" y="118491"/>
                    <a:pt x="7144" y="114681"/>
                  </a:cubicBezTo>
                  <a:cubicBezTo>
                    <a:pt x="7144" y="110871"/>
                    <a:pt x="7334" y="107156"/>
                    <a:pt x="7715" y="103442"/>
                  </a:cubicBezTo>
                  <a:cubicBezTo>
                    <a:pt x="8096" y="99727"/>
                    <a:pt x="8668" y="96107"/>
                    <a:pt x="9335" y="92583"/>
                  </a:cubicBezTo>
                  <a:cubicBezTo>
                    <a:pt x="10001" y="89059"/>
                    <a:pt x="10954" y="85534"/>
                    <a:pt x="12002" y="82105"/>
                  </a:cubicBezTo>
                  <a:cubicBezTo>
                    <a:pt x="13049" y="78676"/>
                    <a:pt x="14288" y="75343"/>
                    <a:pt x="15716" y="72009"/>
                  </a:cubicBezTo>
                  <a:cubicBezTo>
                    <a:pt x="17145" y="68771"/>
                    <a:pt x="18669" y="65532"/>
                    <a:pt x="20384" y="62389"/>
                  </a:cubicBezTo>
                  <a:cubicBezTo>
                    <a:pt x="22098" y="59246"/>
                    <a:pt x="23908" y="56293"/>
                    <a:pt x="25908" y="53340"/>
                  </a:cubicBezTo>
                  <a:cubicBezTo>
                    <a:pt x="27908" y="50387"/>
                    <a:pt x="30004" y="47625"/>
                    <a:pt x="32195" y="44863"/>
                  </a:cubicBezTo>
                  <a:cubicBezTo>
                    <a:pt x="34481" y="42196"/>
                    <a:pt x="36767" y="39529"/>
                    <a:pt x="39243" y="37052"/>
                  </a:cubicBezTo>
                  <a:cubicBezTo>
                    <a:pt x="41720" y="34576"/>
                    <a:pt x="44291" y="32194"/>
                    <a:pt x="47054" y="30004"/>
                  </a:cubicBezTo>
                  <a:cubicBezTo>
                    <a:pt x="49720" y="27813"/>
                    <a:pt x="52578" y="25622"/>
                    <a:pt x="55531" y="23717"/>
                  </a:cubicBezTo>
                  <a:cubicBezTo>
                    <a:pt x="58484" y="21812"/>
                    <a:pt x="61436" y="19907"/>
                    <a:pt x="64580" y="18193"/>
                  </a:cubicBezTo>
                  <a:cubicBezTo>
                    <a:pt x="67723" y="16478"/>
                    <a:pt x="70866" y="14954"/>
                    <a:pt x="74200" y="13525"/>
                  </a:cubicBezTo>
                  <a:cubicBezTo>
                    <a:pt x="77438" y="12097"/>
                    <a:pt x="80867" y="10858"/>
                    <a:pt x="84296" y="9811"/>
                  </a:cubicBezTo>
                  <a:cubicBezTo>
                    <a:pt x="87725" y="8763"/>
                    <a:pt x="91250" y="7810"/>
                    <a:pt x="94774" y="7144"/>
                  </a:cubicBezTo>
                </a:path>
              </a:pathLst>
            </a:custGeom>
            <a:noFill/>
            <a:ln w="952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74BFCE87-67BA-45AA-91A0-D831F0049833}"/>
              </a:ext>
            </a:extLst>
          </p:cNvPr>
          <p:cNvGrpSpPr/>
          <p:nvPr/>
        </p:nvGrpSpPr>
        <p:grpSpPr>
          <a:xfrm>
            <a:off x="4877355" y="1971255"/>
            <a:ext cx="487607" cy="503196"/>
            <a:chOff x="2797335" y="2430191"/>
            <a:chExt cx="821749" cy="848020"/>
          </a:xfrm>
        </p:grpSpPr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F17EDE17-8096-4302-8B54-9D10BA8F0C3A}"/>
                </a:ext>
              </a:extLst>
            </p:cNvPr>
            <p:cNvSpPr/>
            <p:nvPr/>
          </p:nvSpPr>
          <p:spPr>
            <a:xfrm>
              <a:off x="2949906" y="2582185"/>
              <a:ext cx="519637" cy="461900"/>
            </a:xfrm>
            <a:custGeom>
              <a:avLst/>
              <a:gdLst>
                <a:gd name="connsiteX0" fmla="*/ 103103 w 519637"/>
                <a:gd name="connsiteY0" fmla="*/ 458910 h 461899"/>
                <a:gd name="connsiteX1" fmla="*/ 10867 w 519637"/>
                <a:gd name="connsiteY1" fmla="*/ 263613 h 461899"/>
                <a:gd name="connsiteX2" fmla="*/ 263613 w 519637"/>
                <a:gd name="connsiteY2" fmla="*/ 10867 h 461899"/>
                <a:gd name="connsiteX3" fmla="*/ 516359 w 519637"/>
                <a:gd name="connsiteY3" fmla="*/ 263613 h 461899"/>
                <a:gd name="connsiteX4" fmla="*/ 424412 w 519637"/>
                <a:gd name="connsiteY4" fmla="*/ 458621 h 461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637" h="461899">
                  <a:moveTo>
                    <a:pt x="103103" y="458910"/>
                  </a:moveTo>
                  <a:cubicBezTo>
                    <a:pt x="46809" y="412576"/>
                    <a:pt x="10867" y="342280"/>
                    <a:pt x="10867" y="263613"/>
                  </a:cubicBezTo>
                  <a:cubicBezTo>
                    <a:pt x="10867" y="124033"/>
                    <a:pt x="124033" y="10867"/>
                    <a:pt x="263613" y="10867"/>
                  </a:cubicBezTo>
                  <a:cubicBezTo>
                    <a:pt x="403194" y="10867"/>
                    <a:pt x="516359" y="124033"/>
                    <a:pt x="516359" y="263613"/>
                  </a:cubicBezTo>
                  <a:cubicBezTo>
                    <a:pt x="516359" y="342136"/>
                    <a:pt x="480562" y="412287"/>
                    <a:pt x="424412" y="458621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21E02D01-850B-4D8F-9FDC-851480F878F5}"/>
                </a:ext>
              </a:extLst>
            </p:cNvPr>
            <p:cNvSpPr/>
            <p:nvPr/>
          </p:nvSpPr>
          <p:spPr>
            <a:xfrm>
              <a:off x="3041997" y="3030372"/>
              <a:ext cx="72172" cy="129909"/>
            </a:xfrm>
            <a:custGeom>
              <a:avLst/>
              <a:gdLst>
                <a:gd name="connsiteX0" fmla="*/ 10867 w 72171"/>
                <a:gd name="connsiteY0" fmla="*/ 10867 h 129909"/>
                <a:gd name="connsiteX1" fmla="*/ 68316 w 72171"/>
                <a:gd name="connsiteY1" fmla="*/ 125909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129909">
                  <a:moveTo>
                    <a:pt x="10867" y="10867"/>
                  </a:moveTo>
                  <a:cubicBezTo>
                    <a:pt x="45798" y="37138"/>
                    <a:pt x="68316" y="78853"/>
                    <a:pt x="68316" y="125909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7A35059F-A927-4357-A04A-2B4AE3220104}"/>
                </a:ext>
              </a:extLst>
            </p:cNvPr>
            <p:cNvSpPr/>
            <p:nvPr/>
          </p:nvSpPr>
          <p:spPr>
            <a:xfrm>
              <a:off x="3302826" y="3030372"/>
              <a:ext cx="72172" cy="129909"/>
            </a:xfrm>
            <a:custGeom>
              <a:avLst/>
              <a:gdLst>
                <a:gd name="connsiteX0" fmla="*/ 10867 w 72171"/>
                <a:gd name="connsiteY0" fmla="*/ 128507 h 129909"/>
                <a:gd name="connsiteX1" fmla="*/ 71925 w 72171"/>
                <a:gd name="connsiteY1" fmla="*/ 10867 h 1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129909">
                  <a:moveTo>
                    <a:pt x="10867" y="128507"/>
                  </a:moveTo>
                  <a:cubicBezTo>
                    <a:pt x="10867" y="79864"/>
                    <a:pt x="34973" y="36849"/>
                    <a:pt x="71925" y="10867"/>
                  </a:cubicBezTo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2D981F8A-127E-42EC-AA10-4A63E7D381B1}"/>
                </a:ext>
              </a:extLst>
            </p:cNvPr>
            <p:cNvSpPr/>
            <p:nvPr/>
          </p:nvSpPr>
          <p:spPr>
            <a:xfrm>
              <a:off x="3099446" y="3177170"/>
              <a:ext cx="216516" cy="101041"/>
            </a:xfrm>
            <a:custGeom>
              <a:avLst/>
              <a:gdLst>
                <a:gd name="connsiteX0" fmla="*/ 10867 w 216515"/>
                <a:gd name="connsiteY0" fmla="*/ 10867 h 101040"/>
                <a:gd name="connsiteX1" fmla="*/ 10867 w 216515"/>
                <a:gd name="connsiteY1" fmla="*/ 66151 h 101040"/>
                <a:gd name="connsiteX2" fmla="*/ 40313 w 216515"/>
                <a:gd name="connsiteY2" fmla="*/ 95597 h 101040"/>
                <a:gd name="connsiteX3" fmla="*/ 184946 w 216515"/>
                <a:gd name="connsiteY3" fmla="*/ 95597 h 101040"/>
                <a:gd name="connsiteX4" fmla="*/ 214392 w 216515"/>
                <a:gd name="connsiteY4" fmla="*/ 66151 h 101040"/>
                <a:gd name="connsiteX5" fmla="*/ 214392 w 216515"/>
                <a:gd name="connsiteY5" fmla="*/ 10867 h 101040"/>
                <a:gd name="connsiteX6" fmla="*/ 11012 w 216515"/>
                <a:gd name="connsiteY6" fmla="*/ 10867 h 10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15" h="101040">
                  <a:moveTo>
                    <a:pt x="10867" y="10867"/>
                  </a:moveTo>
                  <a:lnTo>
                    <a:pt x="10867" y="66151"/>
                  </a:lnTo>
                  <a:cubicBezTo>
                    <a:pt x="10867" y="82317"/>
                    <a:pt x="24147" y="95597"/>
                    <a:pt x="40313" y="95597"/>
                  </a:cubicBezTo>
                  <a:lnTo>
                    <a:pt x="184946" y="95597"/>
                  </a:lnTo>
                  <a:cubicBezTo>
                    <a:pt x="201112" y="95597"/>
                    <a:pt x="214392" y="82317"/>
                    <a:pt x="214392" y="66151"/>
                  </a:cubicBezTo>
                  <a:lnTo>
                    <a:pt x="214392" y="10867"/>
                  </a:lnTo>
                  <a:lnTo>
                    <a:pt x="11012" y="10867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87DD3BFD-5E4F-4361-B938-82098CE1E1BF}"/>
                </a:ext>
              </a:extLst>
            </p:cNvPr>
            <p:cNvSpPr/>
            <p:nvPr/>
          </p:nvSpPr>
          <p:spPr>
            <a:xfrm>
              <a:off x="3201064" y="2430191"/>
              <a:ext cx="14434" cy="101041"/>
            </a:xfrm>
            <a:custGeom>
              <a:avLst/>
              <a:gdLst>
                <a:gd name="connsiteX0" fmla="*/ 10867 w 14434"/>
                <a:gd name="connsiteY0" fmla="*/ 10867 h 101040"/>
                <a:gd name="connsiteX1" fmla="*/ 10867 w 14434"/>
                <a:gd name="connsiteY1" fmla="*/ 100793 h 101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34" h="101040">
                  <a:moveTo>
                    <a:pt x="10867" y="10867"/>
                  </a:moveTo>
                  <a:lnTo>
                    <a:pt x="10867" y="100793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9199D791-BF44-4229-9A23-6864E7870BE1}"/>
                </a:ext>
              </a:extLst>
            </p:cNvPr>
            <p:cNvSpPr/>
            <p:nvPr/>
          </p:nvSpPr>
          <p:spPr>
            <a:xfrm>
              <a:off x="2896787" y="2546243"/>
              <a:ext cx="72172" cy="72172"/>
            </a:xfrm>
            <a:custGeom>
              <a:avLst/>
              <a:gdLst>
                <a:gd name="connsiteX0" fmla="*/ 10867 w 72171"/>
                <a:gd name="connsiteY0" fmla="*/ 10867 h 72171"/>
                <a:gd name="connsiteX1" fmla="*/ 74378 w 72171"/>
                <a:gd name="connsiteY1" fmla="*/ 74523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72171">
                  <a:moveTo>
                    <a:pt x="10867" y="10867"/>
                  </a:moveTo>
                  <a:lnTo>
                    <a:pt x="74378" y="74523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1F95A84-D533-4998-A658-9CFA9DE6AA7B}"/>
                </a:ext>
              </a:extLst>
            </p:cNvPr>
            <p:cNvSpPr/>
            <p:nvPr/>
          </p:nvSpPr>
          <p:spPr>
            <a:xfrm>
              <a:off x="3448036" y="3037012"/>
              <a:ext cx="72172" cy="72172"/>
            </a:xfrm>
            <a:custGeom>
              <a:avLst/>
              <a:gdLst>
                <a:gd name="connsiteX0" fmla="*/ 10867 w 72171"/>
                <a:gd name="connsiteY0" fmla="*/ 10867 h 72171"/>
                <a:gd name="connsiteX1" fmla="*/ 74378 w 72171"/>
                <a:gd name="connsiteY1" fmla="*/ 74523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72171">
                  <a:moveTo>
                    <a:pt x="10867" y="10867"/>
                  </a:moveTo>
                  <a:lnTo>
                    <a:pt x="74378" y="74523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2BBFF250-E0D0-4CAC-8539-3F5763C4C270}"/>
                </a:ext>
              </a:extLst>
            </p:cNvPr>
            <p:cNvSpPr/>
            <p:nvPr/>
          </p:nvSpPr>
          <p:spPr>
            <a:xfrm>
              <a:off x="2797335" y="2806206"/>
              <a:ext cx="101041" cy="14434"/>
            </a:xfrm>
            <a:custGeom>
              <a:avLst/>
              <a:gdLst>
                <a:gd name="connsiteX0" fmla="*/ 10867 w 101040"/>
                <a:gd name="connsiteY0" fmla="*/ 10867 h 14434"/>
                <a:gd name="connsiteX1" fmla="*/ 100793 w 101040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40" h="14434">
                  <a:moveTo>
                    <a:pt x="10867" y="10867"/>
                  </a:moveTo>
                  <a:lnTo>
                    <a:pt x="100793" y="10867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C980BD9D-0021-4B70-90C7-11916BBA36BA}"/>
                </a:ext>
              </a:extLst>
            </p:cNvPr>
            <p:cNvSpPr/>
            <p:nvPr/>
          </p:nvSpPr>
          <p:spPr>
            <a:xfrm>
              <a:off x="3518043" y="2806206"/>
              <a:ext cx="101041" cy="14434"/>
            </a:xfrm>
            <a:custGeom>
              <a:avLst/>
              <a:gdLst>
                <a:gd name="connsiteX0" fmla="*/ 10867 w 101040"/>
                <a:gd name="connsiteY0" fmla="*/ 10867 h 14434"/>
                <a:gd name="connsiteX1" fmla="*/ 100938 w 101040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40" h="14434">
                  <a:moveTo>
                    <a:pt x="10867" y="10867"/>
                  </a:moveTo>
                  <a:lnTo>
                    <a:pt x="100938" y="10867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393D72D1-2F1B-4724-A923-6714DC024080}"/>
                </a:ext>
              </a:extLst>
            </p:cNvPr>
            <p:cNvSpPr/>
            <p:nvPr/>
          </p:nvSpPr>
          <p:spPr>
            <a:xfrm>
              <a:off x="3448036" y="2553605"/>
              <a:ext cx="72172" cy="72172"/>
            </a:xfrm>
            <a:custGeom>
              <a:avLst/>
              <a:gdLst>
                <a:gd name="connsiteX0" fmla="*/ 10867 w 72171"/>
                <a:gd name="connsiteY0" fmla="*/ 74523 h 72171"/>
                <a:gd name="connsiteX1" fmla="*/ 74378 w 72171"/>
                <a:gd name="connsiteY1" fmla="*/ 10867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72171">
                  <a:moveTo>
                    <a:pt x="10867" y="74523"/>
                  </a:moveTo>
                  <a:lnTo>
                    <a:pt x="74378" y="10867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7ED6A918-AA7D-4312-B98B-CEB7FDFB5231}"/>
                </a:ext>
              </a:extLst>
            </p:cNvPr>
            <p:cNvSpPr/>
            <p:nvPr/>
          </p:nvSpPr>
          <p:spPr>
            <a:xfrm>
              <a:off x="2896787" y="3043219"/>
              <a:ext cx="72172" cy="72172"/>
            </a:xfrm>
            <a:custGeom>
              <a:avLst/>
              <a:gdLst>
                <a:gd name="connsiteX0" fmla="*/ 10867 w 72171"/>
                <a:gd name="connsiteY0" fmla="*/ 74379 h 72171"/>
                <a:gd name="connsiteX1" fmla="*/ 74378 w 72171"/>
                <a:gd name="connsiteY1" fmla="*/ 10867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72171">
                  <a:moveTo>
                    <a:pt x="10867" y="74379"/>
                  </a:moveTo>
                  <a:lnTo>
                    <a:pt x="74378" y="10867"/>
                  </a:lnTo>
                </a:path>
              </a:pathLst>
            </a:custGeom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7C753888-0CF2-404F-A3DF-80AE9C983CE0}"/>
                </a:ext>
              </a:extLst>
            </p:cNvPr>
            <p:cNvSpPr/>
            <p:nvPr/>
          </p:nvSpPr>
          <p:spPr>
            <a:xfrm>
              <a:off x="3136687" y="2775605"/>
              <a:ext cx="144344" cy="144344"/>
            </a:xfrm>
            <a:custGeom>
              <a:avLst/>
              <a:gdLst>
                <a:gd name="connsiteX0" fmla="*/ 139911 w 144343"/>
                <a:gd name="connsiteY0" fmla="*/ 75389 h 144343"/>
                <a:gd name="connsiteX1" fmla="*/ 75389 w 144343"/>
                <a:gd name="connsiteY1" fmla="*/ 139911 h 144343"/>
                <a:gd name="connsiteX2" fmla="*/ 10867 w 144343"/>
                <a:gd name="connsiteY2" fmla="*/ 75389 h 144343"/>
                <a:gd name="connsiteX3" fmla="*/ 75389 w 144343"/>
                <a:gd name="connsiteY3" fmla="*/ 10867 h 144343"/>
                <a:gd name="connsiteX4" fmla="*/ 139911 w 144343"/>
                <a:gd name="connsiteY4" fmla="*/ 75389 h 14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343" h="144343">
                  <a:moveTo>
                    <a:pt x="139911" y="75389"/>
                  </a:moveTo>
                  <a:cubicBezTo>
                    <a:pt x="139911" y="111023"/>
                    <a:pt x="111023" y="139911"/>
                    <a:pt x="75389" y="139911"/>
                  </a:cubicBezTo>
                  <a:cubicBezTo>
                    <a:pt x="39754" y="139911"/>
                    <a:pt x="10867" y="111023"/>
                    <a:pt x="10867" y="75389"/>
                  </a:cubicBezTo>
                  <a:cubicBezTo>
                    <a:pt x="10867" y="39755"/>
                    <a:pt x="39754" y="10867"/>
                    <a:pt x="75389" y="10867"/>
                  </a:cubicBezTo>
                  <a:cubicBezTo>
                    <a:pt x="111023" y="10867"/>
                    <a:pt x="139911" y="39755"/>
                    <a:pt x="139911" y="75389"/>
                  </a:cubicBez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E3832D85-278A-4E02-80DA-907D44650AC1}"/>
                </a:ext>
              </a:extLst>
            </p:cNvPr>
            <p:cNvSpPr/>
            <p:nvPr/>
          </p:nvSpPr>
          <p:spPr>
            <a:xfrm>
              <a:off x="3037523" y="2675431"/>
              <a:ext cx="346425" cy="346425"/>
            </a:xfrm>
            <a:custGeom>
              <a:avLst/>
              <a:gdLst>
                <a:gd name="connsiteX0" fmla="*/ 103103 w 346424"/>
                <a:gd name="connsiteY0" fmla="*/ 288007 h 346424"/>
                <a:gd name="connsiteX1" fmla="*/ 147272 w 346424"/>
                <a:gd name="connsiteY1" fmla="*/ 306339 h 346424"/>
                <a:gd name="connsiteX2" fmla="*/ 147272 w 346424"/>
                <a:gd name="connsiteY2" fmla="*/ 340260 h 346424"/>
                <a:gd name="connsiteX3" fmla="*/ 203855 w 346424"/>
                <a:gd name="connsiteY3" fmla="*/ 340260 h 346424"/>
                <a:gd name="connsiteX4" fmla="*/ 203855 w 346424"/>
                <a:gd name="connsiteY4" fmla="*/ 306339 h 346424"/>
                <a:gd name="connsiteX5" fmla="*/ 248024 w 346424"/>
                <a:gd name="connsiteY5" fmla="*/ 288007 h 346424"/>
                <a:gd name="connsiteX6" fmla="*/ 272129 w 346424"/>
                <a:gd name="connsiteY6" fmla="*/ 312113 h 346424"/>
                <a:gd name="connsiteX7" fmla="*/ 312113 w 346424"/>
                <a:gd name="connsiteY7" fmla="*/ 272129 h 346424"/>
                <a:gd name="connsiteX8" fmla="*/ 288007 w 346424"/>
                <a:gd name="connsiteY8" fmla="*/ 248024 h 346424"/>
                <a:gd name="connsiteX9" fmla="*/ 306339 w 346424"/>
                <a:gd name="connsiteY9" fmla="*/ 203855 h 346424"/>
                <a:gd name="connsiteX10" fmla="*/ 340260 w 346424"/>
                <a:gd name="connsiteY10" fmla="*/ 203855 h 346424"/>
                <a:gd name="connsiteX11" fmla="*/ 340260 w 346424"/>
                <a:gd name="connsiteY11" fmla="*/ 147272 h 346424"/>
                <a:gd name="connsiteX12" fmla="*/ 306339 w 346424"/>
                <a:gd name="connsiteY12" fmla="*/ 147272 h 346424"/>
                <a:gd name="connsiteX13" fmla="*/ 288007 w 346424"/>
                <a:gd name="connsiteY13" fmla="*/ 103103 h 346424"/>
                <a:gd name="connsiteX14" fmla="*/ 312113 w 346424"/>
                <a:gd name="connsiteY14" fmla="*/ 78997 h 346424"/>
                <a:gd name="connsiteX15" fmla="*/ 272129 w 346424"/>
                <a:gd name="connsiteY15" fmla="*/ 39014 h 346424"/>
                <a:gd name="connsiteX16" fmla="*/ 248024 w 346424"/>
                <a:gd name="connsiteY16" fmla="*/ 63120 h 346424"/>
                <a:gd name="connsiteX17" fmla="*/ 203855 w 346424"/>
                <a:gd name="connsiteY17" fmla="*/ 44788 h 346424"/>
                <a:gd name="connsiteX18" fmla="*/ 203855 w 346424"/>
                <a:gd name="connsiteY18" fmla="*/ 10867 h 346424"/>
                <a:gd name="connsiteX19" fmla="*/ 147272 w 346424"/>
                <a:gd name="connsiteY19" fmla="*/ 10867 h 346424"/>
                <a:gd name="connsiteX20" fmla="*/ 147272 w 346424"/>
                <a:gd name="connsiteY20" fmla="*/ 44788 h 346424"/>
                <a:gd name="connsiteX21" fmla="*/ 103103 w 346424"/>
                <a:gd name="connsiteY21" fmla="*/ 63120 h 346424"/>
                <a:gd name="connsiteX22" fmla="*/ 78997 w 346424"/>
                <a:gd name="connsiteY22" fmla="*/ 39014 h 346424"/>
                <a:gd name="connsiteX23" fmla="*/ 39014 w 346424"/>
                <a:gd name="connsiteY23" fmla="*/ 78997 h 346424"/>
                <a:gd name="connsiteX24" fmla="*/ 63120 w 346424"/>
                <a:gd name="connsiteY24" fmla="*/ 103103 h 346424"/>
                <a:gd name="connsiteX25" fmla="*/ 44788 w 346424"/>
                <a:gd name="connsiteY25" fmla="*/ 147272 h 346424"/>
                <a:gd name="connsiteX26" fmla="*/ 10867 w 346424"/>
                <a:gd name="connsiteY26" fmla="*/ 147272 h 346424"/>
                <a:gd name="connsiteX27" fmla="*/ 10867 w 346424"/>
                <a:gd name="connsiteY27" fmla="*/ 203855 h 346424"/>
                <a:gd name="connsiteX28" fmla="*/ 44788 w 346424"/>
                <a:gd name="connsiteY28" fmla="*/ 203855 h 346424"/>
                <a:gd name="connsiteX29" fmla="*/ 63120 w 346424"/>
                <a:gd name="connsiteY29" fmla="*/ 248024 h 346424"/>
                <a:gd name="connsiteX30" fmla="*/ 39014 w 346424"/>
                <a:gd name="connsiteY30" fmla="*/ 272129 h 346424"/>
                <a:gd name="connsiteX31" fmla="*/ 78997 w 346424"/>
                <a:gd name="connsiteY31" fmla="*/ 312113 h 346424"/>
                <a:gd name="connsiteX32" fmla="*/ 103103 w 346424"/>
                <a:gd name="connsiteY32" fmla="*/ 288007 h 346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46424" h="346424">
                  <a:moveTo>
                    <a:pt x="103103" y="288007"/>
                  </a:moveTo>
                  <a:cubicBezTo>
                    <a:pt x="116382" y="296523"/>
                    <a:pt x="131250" y="302875"/>
                    <a:pt x="147272" y="306339"/>
                  </a:cubicBezTo>
                  <a:lnTo>
                    <a:pt x="147272" y="340260"/>
                  </a:lnTo>
                  <a:lnTo>
                    <a:pt x="203855" y="340260"/>
                  </a:lnTo>
                  <a:lnTo>
                    <a:pt x="203855" y="306339"/>
                  </a:lnTo>
                  <a:cubicBezTo>
                    <a:pt x="219877" y="302875"/>
                    <a:pt x="234744" y="296523"/>
                    <a:pt x="248024" y="288007"/>
                  </a:cubicBezTo>
                  <a:lnTo>
                    <a:pt x="272129" y="312113"/>
                  </a:lnTo>
                  <a:lnTo>
                    <a:pt x="312113" y="272129"/>
                  </a:lnTo>
                  <a:lnTo>
                    <a:pt x="288007" y="248024"/>
                  </a:lnTo>
                  <a:cubicBezTo>
                    <a:pt x="296523" y="234744"/>
                    <a:pt x="302875" y="219877"/>
                    <a:pt x="306339" y="203855"/>
                  </a:cubicBezTo>
                  <a:lnTo>
                    <a:pt x="340260" y="203855"/>
                  </a:lnTo>
                  <a:lnTo>
                    <a:pt x="340260" y="147272"/>
                  </a:lnTo>
                  <a:lnTo>
                    <a:pt x="306339" y="147272"/>
                  </a:lnTo>
                  <a:cubicBezTo>
                    <a:pt x="302875" y="131250"/>
                    <a:pt x="296523" y="116383"/>
                    <a:pt x="288007" y="103103"/>
                  </a:cubicBezTo>
                  <a:lnTo>
                    <a:pt x="312113" y="78997"/>
                  </a:lnTo>
                  <a:lnTo>
                    <a:pt x="272129" y="39014"/>
                  </a:lnTo>
                  <a:lnTo>
                    <a:pt x="248024" y="63120"/>
                  </a:lnTo>
                  <a:cubicBezTo>
                    <a:pt x="234744" y="54603"/>
                    <a:pt x="219877" y="48252"/>
                    <a:pt x="203855" y="44788"/>
                  </a:cubicBezTo>
                  <a:lnTo>
                    <a:pt x="203855" y="10867"/>
                  </a:lnTo>
                  <a:lnTo>
                    <a:pt x="147272" y="10867"/>
                  </a:lnTo>
                  <a:lnTo>
                    <a:pt x="147272" y="44788"/>
                  </a:lnTo>
                  <a:cubicBezTo>
                    <a:pt x="131250" y="48252"/>
                    <a:pt x="116382" y="54603"/>
                    <a:pt x="103103" y="63120"/>
                  </a:cubicBezTo>
                  <a:lnTo>
                    <a:pt x="78997" y="39014"/>
                  </a:lnTo>
                  <a:lnTo>
                    <a:pt x="39014" y="78997"/>
                  </a:lnTo>
                  <a:lnTo>
                    <a:pt x="63120" y="103103"/>
                  </a:lnTo>
                  <a:cubicBezTo>
                    <a:pt x="54603" y="116383"/>
                    <a:pt x="48252" y="131250"/>
                    <a:pt x="44788" y="147272"/>
                  </a:cubicBezTo>
                  <a:lnTo>
                    <a:pt x="10867" y="147272"/>
                  </a:lnTo>
                  <a:lnTo>
                    <a:pt x="10867" y="203855"/>
                  </a:lnTo>
                  <a:lnTo>
                    <a:pt x="44788" y="203855"/>
                  </a:lnTo>
                  <a:cubicBezTo>
                    <a:pt x="48252" y="219877"/>
                    <a:pt x="54603" y="234744"/>
                    <a:pt x="63120" y="248024"/>
                  </a:cubicBezTo>
                  <a:lnTo>
                    <a:pt x="39014" y="272129"/>
                  </a:lnTo>
                  <a:lnTo>
                    <a:pt x="78997" y="312113"/>
                  </a:lnTo>
                  <a:lnTo>
                    <a:pt x="103103" y="288007"/>
                  </a:lnTo>
                  <a:close/>
                </a:path>
              </a:pathLst>
            </a:custGeom>
            <a:noFill/>
            <a:ln w="9525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830FA6FC-707E-4576-8E8E-3FB73EEA1D67}"/>
              </a:ext>
            </a:extLst>
          </p:cNvPr>
          <p:cNvGrpSpPr>
            <a:grpSpLocks/>
          </p:cNvGrpSpPr>
          <p:nvPr/>
        </p:nvGrpSpPr>
        <p:grpSpPr bwMode="auto">
          <a:xfrm>
            <a:off x="5322148" y="3917388"/>
            <a:ext cx="1558197" cy="1101773"/>
            <a:chOff x="488" y="2644"/>
            <a:chExt cx="1864" cy="1318"/>
          </a:xfrm>
        </p:grpSpPr>
        <p:sp>
          <p:nvSpPr>
            <p:cNvPr id="156" name="Freeform 2216">
              <a:extLst>
                <a:ext uri="{FF2B5EF4-FFF2-40B4-BE49-F238E27FC236}">
                  <a16:creationId xmlns:a16="http://schemas.microsoft.com/office/drawing/2014/main" id="{B884367B-8D64-4F82-8390-C9E99C058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7" y="3601"/>
              <a:ext cx="10" cy="6"/>
            </a:xfrm>
            <a:custGeom>
              <a:avLst/>
              <a:gdLst>
                <a:gd name="T0" fmla="*/ 36 w 36"/>
                <a:gd name="T1" fmla="*/ 11 h 21"/>
                <a:gd name="T2" fmla="*/ 30 w 36"/>
                <a:gd name="T3" fmla="*/ 7 h 21"/>
                <a:gd name="T4" fmla="*/ 23 w 36"/>
                <a:gd name="T5" fmla="*/ 11 h 21"/>
                <a:gd name="T6" fmla="*/ 24 w 36"/>
                <a:gd name="T7" fmla="*/ 4 h 21"/>
                <a:gd name="T8" fmla="*/ 18 w 36"/>
                <a:gd name="T9" fmla="*/ 0 h 21"/>
                <a:gd name="T10" fmla="*/ 0 w 36"/>
                <a:gd name="T11" fmla="*/ 11 h 21"/>
                <a:gd name="T12" fmla="*/ 18 w 36"/>
                <a:gd name="T13" fmla="*/ 21 h 21"/>
                <a:gd name="T14" fmla="*/ 36 w 36"/>
                <a:gd name="T15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1">
                  <a:moveTo>
                    <a:pt x="36" y="11"/>
                  </a:moveTo>
                  <a:cubicBezTo>
                    <a:pt x="30" y="7"/>
                    <a:pt x="30" y="7"/>
                    <a:pt x="30" y="7"/>
                  </a:cubicBezTo>
                  <a:cubicBezTo>
                    <a:pt x="28" y="9"/>
                    <a:pt x="26" y="10"/>
                    <a:pt x="23" y="11"/>
                  </a:cubicBezTo>
                  <a:cubicBezTo>
                    <a:pt x="23" y="9"/>
                    <a:pt x="24" y="6"/>
                    <a:pt x="24" y="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8" y="21"/>
                    <a:pt x="18" y="21"/>
                    <a:pt x="18" y="21"/>
                  </a:cubicBezTo>
                  <a:lnTo>
                    <a:pt x="36" y="11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7" name="Freeform 2217">
              <a:extLst>
                <a:ext uri="{FF2B5EF4-FFF2-40B4-BE49-F238E27FC236}">
                  <a16:creationId xmlns:a16="http://schemas.microsoft.com/office/drawing/2014/main" id="{1CA6202F-3F10-4B31-803E-9045A4845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5" y="3593"/>
              <a:ext cx="10" cy="5"/>
            </a:xfrm>
            <a:custGeom>
              <a:avLst/>
              <a:gdLst>
                <a:gd name="T0" fmla="*/ 10 w 10"/>
                <a:gd name="T1" fmla="*/ 3 h 5"/>
                <a:gd name="T2" fmla="*/ 10 w 10"/>
                <a:gd name="T3" fmla="*/ 3 h 5"/>
                <a:gd name="T4" fmla="*/ 10 w 10"/>
                <a:gd name="T5" fmla="*/ 3 h 5"/>
                <a:gd name="T6" fmla="*/ 7 w 10"/>
                <a:gd name="T7" fmla="*/ 1 h 5"/>
                <a:gd name="T8" fmla="*/ 5 w 10"/>
                <a:gd name="T9" fmla="*/ 0 h 5"/>
                <a:gd name="T10" fmla="*/ 5 w 10"/>
                <a:gd name="T11" fmla="*/ 0 h 5"/>
                <a:gd name="T12" fmla="*/ 2 w 10"/>
                <a:gd name="T13" fmla="*/ 1 h 5"/>
                <a:gd name="T14" fmla="*/ 2 w 10"/>
                <a:gd name="T15" fmla="*/ 1 h 5"/>
                <a:gd name="T16" fmla="*/ 0 w 10"/>
                <a:gd name="T17" fmla="*/ 3 h 5"/>
                <a:gd name="T18" fmla="*/ 0 w 10"/>
                <a:gd name="T19" fmla="*/ 3 h 5"/>
                <a:gd name="T20" fmla="*/ 5 w 10"/>
                <a:gd name="T21" fmla="*/ 5 h 5"/>
                <a:gd name="T22" fmla="*/ 10 w 10"/>
                <a:gd name="T2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5">
                  <a:moveTo>
                    <a:pt x="10" y="3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7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5" y="5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8" name="Freeform 2218">
              <a:extLst>
                <a:ext uri="{FF2B5EF4-FFF2-40B4-BE49-F238E27FC236}">
                  <a16:creationId xmlns:a16="http://schemas.microsoft.com/office/drawing/2014/main" id="{B90997E5-9D53-413F-8C6F-C71ACCE64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0" y="3593"/>
              <a:ext cx="10" cy="5"/>
            </a:xfrm>
            <a:custGeom>
              <a:avLst/>
              <a:gdLst>
                <a:gd name="T0" fmla="*/ 2 w 10"/>
                <a:gd name="T1" fmla="*/ 1 h 5"/>
                <a:gd name="T2" fmla="*/ 0 w 10"/>
                <a:gd name="T3" fmla="*/ 3 h 5"/>
                <a:gd name="T4" fmla="*/ 0 w 10"/>
                <a:gd name="T5" fmla="*/ 3 h 5"/>
                <a:gd name="T6" fmla="*/ 5 w 10"/>
                <a:gd name="T7" fmla="*/ 5 h 5"/>
                <a:gd name="T8" fmla="*/ 10 w 10"/>
                <a:gd name="T9" fmla="*/ 3 h 5"/>
                <a:gd name="T10" fmla="*/ 10 w 10"/>
                <a:gd name="T11" fmla="*/ 3 h 5"/>
                <a:gd name="T12" fmla="*/ 10 w 10"/>
                <a:gd name="T13" fmla="*/ 3 h 5"/>
                <a:gd name="T14" fmla="*/ 8 w 10"/>
                <a:gd name="T15" fmla="*/ 1 h 5"/>
                <a:gd name="T16" fmla="*/ 5 w 10"/>
                <a:gd name="T17" fmla="*/ 0 h 5"/>
                <a:gd name="T18" fmla="*/ 3 w 10"/>
                <a:gd name="T19" fmla="*/ 1 h 5"/>
                <a:gd name="T20" fmla="*/ 2 w 10"/>
                <a:gd name="T2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5">
                  <a:moveTo>
                    <a:pt x="2" y="1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5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1"/>
                  </a:lnTo>
                  <a:lnTo>
                    <a:pt x="5" y="0"/>
                  </a:lnTo>
                  <a:lnTo>
                    <a:pt x="3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9" name="Freeform 2219">
              <a:extLst>
                <a:ext uri="{FF2B5EF4-FFF2-40B4-BE49-F238E27FC236}">
                  <a16:creationId xmlns:a16="http://schemas.microsoft.com/office/drawing/2014/main" id="{FB96D23B-A721-46C7-A2C7-09AE1EA55C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" y="3318"/>
              <a:ext cx="134" cy="77"/>
            </a:xfrm>
            <a:custGeom>
              <a:avLst/>
              <a:gdLst>
                <a:gd name="T0" fmla="*/ 472 w 485"/>
                <a:gd name="T1" fmla="*/ 119 h 280"/>
                <a:gd name="T2" fmla="*/ 485 w 485"/>
                <a:gd name="T3" fmla="*/ 161 h 280"/>
                <a:gd name="T4" fmla="*/ 480 w 485"/>
                <a:gd name="T5" fmla="*/ 186 h 280"/>
                <a:gd name="T6" fmla="*/ 423 w 485"/>
                <a:gd name="T7" fmla="*/ 244 h 280"/>
                <a:gd name="T8" fmla="*/ 322 w 485"/>
                <a:gd name="T9" fmla="*/ 277 h 280"/>
                <a:gd name="T10" fmla="*/ 279 w 485"/>
                <a:gd name="T11" fmla="*/ 280 h 280"/>
                <a:gd name="T12" fmla="*/ 206 w 485"/>
                <a:gd name="T13" fmla="*/ 272 h 280"/>
                <a:gd name="T14" fmla="*/ 90 w 485"/>
                <a:gd name="T15" fmla="*/ 228 h 280"/>
                <a:gd name="T16" fmla="*/ 13 w 485"/>
                <a:gd name="T17" fmla="*/ 161 h 280"/>
                <a:gd name="T18" fmla="*/ 0 w 485"/>
                <a:gd name="T19" fmla="*/ 119 h 280"/>
                <a:gd name="T20" fmla="*/ 5 w 485"/>
                <a:gd name="T21" fmla="*/ 94 h 280"/>
                <a:gd name="T22" fmla="*/ 63 w 485"/>
                <a:gd name="T23" fmla="*/ 36 h 280"/>
                <a:gd name="T24" fmla="*/ 163 w 485"/>
                <a:gd name="T25" fmla="*/ 3 h 280"/>
                <a:gd name="T26" fmla="*/ 205 w 485"/>
                <a:gd name="T27" fmla="*/ 0 h 280"/>
                <a:gd name="T28" fmla="*/ 207 w 485"/>
                <a:gd name="T29" fmla="*/ 0 h 280"/>
                <a:gd name="T30" fmla="*/ 279 w 485"/>
                <a:gd name="T31" fmla="*/ 7 h 280"/>
                <a:gd name="T32" fmla="*/ 395 w 485"/>
                <a:gd name="T33" fmla="*/ 52 h 280"/>
                <a:gd name="T34" fmla="*/ 472 w 485"/>
                <a:gd name="T35" fmla="*/ 119 h 280"/>
                <a:gd name="T36" fmla="*/ 343 w 485"/>
                <a:gd name="T37" fmla="*/ 197 h 280"/>
                <a:gd name="T38" fmla="*/ 358 w 485"/>
                <a:gd name="T39" fmla="*/ 161 h 280"/>
                <a:gd name="T40" fmla="*/ 297 w 485"/>
                <a:gd name="T41" fmla="*/ 109 h 280"/>
                <a:gd name="T42" fmla="*/ 206 w 485"/>
                <a:gd name="T43" fmla="*/ 73 h 280"/>
                <a:gd name="T44" fmla="*/ 143 w 485"/>
                <a:gd name="T45" fmla="*/ 82 h 280"/>
                <a:gd name="T46" fmla="*/ 127 w 485"/>
                <a:gd name="T47" fmla="*/ 119 h 280"/>
                <a:gd name="T48" fmla="*/ 188 w 485"/>
                <a:gd name="T49" fmla="*/ 171 h 280"/>
                <a:gd name="T50" fmla="*/ 279 w 485"/>
                <a:gd name="T51" fmla="*/ 207 h 280"/>
                <a:gd name="T52" fmla="*/ 343 w 485"/>
                <a:gd name="T53" fmla="*/ 197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5" h="280">
                  <a:moveTo>
                    <a:pt x="472" y="119"/>
                  </a:moveTo>
                  <a:cubicBezTo>
                    <a:pt x="481" y="133"/>
                    <a:pt x="485" y="147"/>
                    <a:pt x="485" y="161"/>
                  </a:cubicBezTo>
                  <a:cubicBezTo>
                    <a:pt x="485" y="169"/>
                    <a:pt x="483" y="178"/>
                    <a:pt x="480" y="186"/>
                  </a:cubicBezTo>
                  <a:cubicBezTo>
                    <a:pt x="471" y="207"/>
                    <a:pt x="452" y="227"/>
                    <a:pt x="423" y="244"/>
                  </a:cubicBezTo>
                  <a:cubicBezTo>
                    <a:pt x="393" y="261"/>
                    <a:pt x="360" y="272"/>
                    <a:pt x="322" y="277"/>
                  </a:cubicBezTo>
                  <a:cubicBezTo>
                    <a:pt x="308" y="279"/>
                    <a:pt x="293" y="280"/>
                    <a:pt x="279" y="280"/>
                  </a:cubicBezTo>
                  <a:cubicBezTo>
                    <a:pt x="255" y="280"/>
                    <a:pt x="231" y="277"/>
                    <a:pt x="206" y="272"/>
                  </a:cubicBezTo>
                  <a:cubicBezTo>
                    <a:pt x="166" y="264"/>
                    <a:pt x="127" y="249"/>
                    <a:pt x="90" y="228"/>
                  </a:cubicBezTo>
                  <a:cubicBezTo>
                    <a:pt x="53" y="206"/>
                    <a:pt x="27" y="184"/>
                    <a:pt x="13" y="161"/>
                  </a:cubicBezTo>
                  <a:cubicBezTo>
                    <a:pt x="4" y="147"/>
                    <a:pt x="0" y="133"/>
                    <a:pt x="0" y="119"/>
                  </a:cubicBezTo>
                  <a:cubicBezTo>
                    <a:pt x="0" y="111"/>
                    <a:pt x="2" y="102"/>
                    <a:pt x="5" y="94"/>
                  </a:cubicBezTo>
                  <a:cubicBezTo>
                    <a:pt x="14" y="72"/>
                    <a:pt x="33" y="53"/>
                    <a:pt x="63" y="36"/>
                  </a:cubicBezTo>
                  <a:cubicBezTo>
                    <a:pt x="92" y="19"/>
                    <a:pt x="126" y="8"/>
                    <a:pt x="163" y="3"/>
                  </a:cubicBezTo>
                  <a:cubicBezTo>
                    <a:pt x="177" y="1"/>
                    <a:pt x="191" y="0"/>
                    <a:pt x="205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30" y="0"/>
                    <a:pt x="254" y="2"/>
                    <a:pt x="279" y="7"/>
                  </a:cubicBezTo>
                  <a:cubicBezTo>
                    <a:pt x="319" y="16"/>
                    <a:pt x="358" y="31"/>
                    <a:pt x="395" y="52"/>
                  </a:cubicBezTo>
                  <a:cubicBezTo>
                    <a:pt x="432" y="74"/>
                    <a:pt x="458" y="96"/>
                    <a:pt x="472" y="119"/>
                  </a:cubicBezTo>
                  <a:close/>
                  <a:moveTo>
                    <a:pt x="343" y="197"/>
                  </a:moveTo>
                  <a:cubicBezTo>
                    <a:pt x="359" y="188"/>
                    <a:pt x="364" y="176"/>
                    <a:pt x="358" y="161"/>
                  </a:cubicBezTo>
                  <a:cubicBezTo>
                    <a:pt x="352" y="146"/>
                    <a:pt x="331" y="129"/>
                    <a:pt x="297" y="109"/>
                  </a:cubicBezTo>
                  <a:cubicBezTo>
                    <a:pt x="262" y="89"/>
                    <a:pt x="232" y="77"/>
                    <a:pt x="206" y="73"/>
                  </a:cubicBezTo>
                  <a:cubicBezTo>
                    <a:pt x="181" y="70"/>
                    <a:pt x="159" y="73"/>
                    <a:pt x="143" y="82"/>
                  </a:cubicBezTo>
                  <a:cubicBezTo>
                    <a:pt x="126" y="92"/>
                    <a:pt x="121" y="104"/>
                    <a:pt x="127" y="119"/>
                  </a:cubicBezTo>
                  <a:cubicBezTo>
                    <a:pt x="133" y="134"/>
                    <a:pt x="154" y="151"/>
                    <a:pt x="188" y="171"/>
                  </a:cubicBezTo>
                  <a:cubicBezTo>
                    <a:pt x="223" y="191"/>
                    <a:pt x="253" y="203"/>
                    <a:pt x="279" y="207"/>
                  </a:cubicBezTo>
                  <a:cubicBezTo>
                    <a:pt x="305" y="210"/>
                    <a:pt x="326" y="207"/>
                    <a:pt x="343" y="1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0" name="Freeform 2220">
              <a:extLst>
                <a:ext uri="{FF2B5EF4-FFF2-40B4-BE49-F238E27FC236}">
                  <a16:creationId xmlns:a16="http://schemas.microsoft.com/office/drawing/2014/main" id="{BD958F6F-F1F0-420C-B0DD-72D6A26F5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" y="3351"/>
              <a:ext cx="134" cy="74"/>
            </a:xfrm>
            <a:custGeom>
              <a:avLst/>
              <a:gdLst>
                <a:gd name="T0" fmla="*/ 485 w 485"/>
                <a:gd name="T1" fmla="*/ 42 h 268"/>
                <a:gd name="T2" fmla="*/ 485 w 485"/>
                <a:gd name="T3" fmla="*/ 149 h 268"/>
                <a:gd name="T4" fmla="*/ 480 w 485"/>
                <a:gd name="T5" fmla="*/ 174 h 268"/>
                <a:gd name="T6" fmla="*/ 423 w 485"/>
                <a:gd name="T7" fmla="*/ 232 h 268"/>
                <a:gd name="T8" fmla="*/ 322 w 485"/>
                <a:gd name="T9" fmla="*/ 265 h 268"/>
                <a:gd name="T10" fmla="*/ 279 w 485"/>
                <a:gd name="T11" fmla="*/ 268 h 268"/>
                <a:gd name="T12" fmla="*/ 206 w 485"/>
                <a:gd name="T13" fmla="*/ 261 h 268"/>
                <a:gd name="T14" fmla="*/ 90 w 485"/>
                <a:gd name="T15" fmla="*/ 216 h 268"/>
                <a:gd name="T16" fmla="*/ 13 w 485"/>
                <a:gd name="T17" fmla="*/ 149 h 268"/>
                <a:gd name="T18" fmla="*/ 0 w 485"/>
                <a:gd name="T19" fmla="*/ 107 h 268"/>
                <a:gd name="T20" fmla="*/ 0 w 485"/>
                <a:gd name="T21" fmla="*/ 0 h 268"/>
                <a:gd name="T22" fmla="*/ 13 w 485"/>
                <a:gd name="T23" fmla="*/ 42 h 268"/>
                <a:gd name="T24" fmla="*/ 90 w 485"/>
                <a:gd name="T25" fmla="*/ 109 h 268"/>
                <a:gd name="T26" fmla="*/ 206 w 485"/>
                <a:gd name="T27" fmla="*/ 153 h 268"/>
                <a:gd name="T28" fmla="*/ 279 w 485"/>
                <a:gd name="T29" fmla="*/ 161 h 268"/>
                <a:gd name="T30" fmla="*/ 322 w 485"/>
                <a:gd name="T31" fmla="*/ 158 h 268"/>
                <a:gd name="T32" fmla="*/ 423 w 485"/>
                <a:gd name="T33" fmla="*/ 125 h 268"/>
                <a:gd name="T34" fmla="*/ 480 w 485"/>
                <a:gd name="T35" fmla="*/ 67 h 268"/>
                <a:gd name="T36" fmla="*/ 485 w 485"/>
                <a:gd name="T37" fmla="*/ 4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5" h="268">
                  <a:moveTo>
                    <a:pt x="485" y="42"/>
                  </a:moveTo>
                  <a:cubicBezTo>
                    <a:pt x="485" y="149"/>
                    <a:pt x="485" y="149"/>
                    <a:pt x="485" y="149"/>
                  </a:cubicBezTo>
                  <a:cubicBezTo>
                    <a:pt x="485" y="158"/>
                    <a:pt x="483" y="166"/>
                    <a:pt x="480" y="174"/>
                  </a:cubicBezTo>
                  <a:cubicBezTo>
                    <a:pt x="471" y="196"/>
                    <a:pt x="452" y="215"/>
                    <a:pt x="423" y="232"/>
                  </a:cubicBezTo>
                  <a:cubicBezTo>
                    <a:pt x="393" y="249"/>
                    <a:pt x="360" y="260"/>
                    <a:pt x="322" y="265"/>
                  </a:cubicBezTo>
                  <a:cubicBezTo>
                    <a:pt x="308" y="267"/>
                    <a:pt x="293" y="268"/>
                    <a:pt x="279" y="268"/>
                  </a:cubicBezTo>
                  <a:cubicBezTo>
                    <a:pt x="255" y="268"/>
                    <a:pt x="231" y="266"/>
                    <a:pt x="206" y="261"/>
                  </a:cubicBezTo>
                  <a:cubicBezTo>
                    <a:pt x="166" y="253"/>
                    <a:pt x="127" y="238"/>
                    <a:pt x="90" y="216"/>
                  </a:cubicBezTo>
                  <a:cubicBezTo>
                    <a:pt x="53" y="195"/>
                    <a:pt x="27" y="172"/>
                    <a:pt x="13" y="149"/>
                  </a:cubicBezTo>
                  <a:cubicBezTo>
                    <a:pt x="4" y="135"/>
                    <a:pt x="0" y="121"/>
                    <a:pt x="0" y="10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4" y="28"/>
                    <a:pt x="13" y="42"/>
                  </a:cubicBezTo>
                  <a:cubicBezTo>
                    <a:pt x="27" y="65"/>
                    <a:pt x="53" y="87"/>
                    <a:pt x="90" y="109"/>
                  </a:cubicBezTo>
                  <a:cubicBezTo>
                    <a:pt x="127" y="130"/>
                    <a:pt x="166" y="145"/>
                    <a:pt x="206" y="153"/>
                  </a:cubicBezTo>
                  <a:cubicBezTo>
                    <a:pt x="231" y="158"/>
                    <a:pt x="255" y="161"/>
                    <a:pt x="279" y="161"/>
                  </a:cubicBezTo>
                  <a:cubicBezTo>
                    <a:pt x="293" y="161"/>
                    <a:pt x="308" y="160"/>
                    <a:pt x="322" y="158"/>
                  </a:cubicBezTo>
                  <a:cubicBezTo>
                    <a:pt x="360" y="153"/>
                    <a:pt x="393" y="142"/>
                    <a:pt x="423" y="125"/>
                  </a:cubicBezTo>
                  <a:cubicBezTo>
                    <a:pt x="452" y="108"/>
                    <a:pt x="471" y="88"/>
                    <a:pt x="480" y="67"/>
                  </a:cubicBezTo>
                  <a:cubicBezTo>
                    <a:pt x="483" y="59"/>
                    <a:pt x="485" y="50"/>
                    <a:pt x="485" y="42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" name="Freeform 2221">
              <a:extLst>
                <a:ext uri="{FF2B5EF4-FFF2-40B4-BE49-F238E27FC236}">
                  <a16:creationId xmlns:a16="http://schemas.microsoft.com/office/drawing/2014/main" id="{58DABEAB-1B4E-4686-A685-7140644A9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" y="3337"/>
              <a:ext cx="68" cy="39"/>
            </a:xfrm>
            <a:custGeom>
              <a:avLst/>
              <a:gdLst>
                <a:gd name="T0" fmla="*/ 237 w 243"/>
                <a:gd name="T1" fmla="*/ 91 h 140"/>
                <a:gd name="T2" fmla="*/ 222 w 243"/>
                <a:gd name="T3" fmla="*/ 127 h 140"/>
                <a:gd name="T4" fmla="*/ 158 w 243"/>
                <a:gd name="T5" fmla="*/ 137 h 140"/>
                <a:gd name="T6" fmla="*/ 67 w 243"/>
                <a:gd name="T7" fmla="*/ 101 h 140"/>
                <a:gd name="T8" fmla="*/ 6 w 243"/>
                <a:gd name="T9" fmla="*/ 49 h 140"/>
                <a:gd name="T10" fmla="*/ 22 w 243"/>
                <a:gd name="T11" fmla="*/ 12 h 140"/>
                <a:gd name="T12" fmla="*/ 85 w 243"/>
                <a:gd name="T13" fmla="*/ 3 h 140"/>
                <a:gd name="T14" fmla="*/ 176 w 243"/>
                <a:gd name="T15" fmla="*/ 39 h 140"/>
                <a:gd name="T16" fmla="*/ 237 w 243"/>
                <a:gd name="T17" fmla="*/ 9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" h="140">
                  <a:moveTo>
                    <a:pt x="237" y="91"/>
                  </a:moveTo>
                  <a:cubicBezTo>
                    <a:pt x="243" y="106"/>
                    <a:pt x="238" y="118"/>
                    <a:pt x="222" y="127"/>
                  </a:cubicBezTo>
                  <a:cubicBezTo>
                    <a:pt x="205" y="137"/>
                    <a:pt x="184" y="140"/>
                    <a:pt x="158" y="137"/>
                  </a:cubicBezTo>
                  <a:cubicBezTo>
                    <a:pt x="132" y="133"/>
                    <a:pt x="102" y="121"/>
                    <a:pt x="67" y="101"/>
                  </a:cubicBezTo>
                  <a:cubicBezTo>
                    <a:pt x="33" y="81"/>
                    <a:pt x="12" y="64"/>
                    <a:pt x="6" y="49"/>
                  </a:cubicBezTo>
                  <a:cubicBezTo>
                    <a:pt x="0" y="34"/>
                    <a:pt x="5" y="22"/>
                    <a:pt x="22" y="12"/>
                  </a:cubicBezTo>
                  <a:cubicBezTo>
                    <a:pt x="38" y="3"/>
                    <a:pt x="60" y="0"/>
                    <a:pt x="85" y="3"/>
                  </a:cubicBezTo>
                  <a:cubicBezTo>
                    <a:pt x="111" y="7"/>
                    <a:pt x="141" y="19"/>
                    <a:pt x="176" y="39"/>
                  </a:cubicBezTo>
                  <a:cubicBezTo>
                    <a:pt x="210" y="59"/>
                    <a:pt x="231" y="76"/>
                    <a:pt x="237" y="9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" name="Freeform 2222">
              <a:extLst>
                <a:ext uri="{FF2B5EF4-FFF2-40B4-BE49-F238E27FC236}">
                  <a16:creationId xmlns:a16="http://schemas.microsoft.com/office/drawing/2014/main" id="{39BA5C7D-71CF-4E9A-B9AA-C832FA139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" y="3314"/>
              <a:ext cx="140" cy="84"/>
            </a:xfrm>
            <a:custGeom>
              <a:avLst/>
              <a:gdLst>
                <a:gd name="T0" fmla="*/ 291 w 509"/>
                <a:gd name="T1" fmla="*/ 304 h 304"/>
                <a:gd name="T2" fmla="*/ 216 w 509"/>
                <a:gd name="T3" fmla="*/ 296 h 304"/>
                <a:gd name="T4" fmla="*/ 96 w 509"/>
                <a:gd name="T5" fmla="*/ 250 h 304"/>
                <a:gd name="T6" fmla="*/ 15 w 509"/>
                <a:gd name="T7" fmla="*/ 179 h 304"/>
                <a:gd name="T8" fmla="*/ 0 w 509"/>
                <a:gd name="T9" fmla="*/ 131 h 304"/>
                <a:gd name="T10" fmla="*/ 6 w 509"/>
                <a:gd name="T11" fmla="*/ 101 h 304"/>
                <a:gd name="T12" fmla="*/ 69 w 509"/>
                <a:gd name="T13" fmla="*/ 38 h 304"/>
                <a:gd name="T14" fmla="*/ 173 w 509"/>
                <a:gd name="T15" fmla="*/ 3 h 304"/>
                <a:gd name="T16" fmla="*/ 217 w 509"/>
                <a:gd name="T17" fmla="*/ 0 h 304"/>
                <a:gd name="T18" fmla="*/ 218 w 509"/>
                <a:gd name="T19" fmla="*/ 0 h 304"/>
                <a:gd name="T20" fmla="*/ 219 w 509"/>
                <a:gd name="T21" fmla="*/ 0 h 304"/>
                <a:gd name="T22" fmla="*/ 293 w 509"/>
                <a:gd name="T23" fmla="*/ 8 h 304"/>
                <a:gd name="T24" fmla="*/ 413 w 509"/>
                <a:gd name="T25" fmla="*/ 54 h 304"/>
                <a:gd name="T26" fmla="*/ 494 w 509"/>
                <a:gd name="T27" fmla="*/ 125 h 304"/>
                <a:gd name="T28" fmla="*/ 509 w 509"/>
                <a:gd name="T29" fmla="*/ 173 h 304"/>
                <a:gd name="T30" fmla="*/ 503 w 509"/>
                <a:gd name="T31" fmla="*/ 203 h 304"/>
                <a:gd name="T32" fmla="*/ 441 w 509"/>
                <a:gd name="T33" fmla="*/ 266 h 304"/>
                <a:gd name="T34" fmla="*/ 336 w 509"/>
                <a:gd name="T35" fmla="*/ 301 h 304"/>
                <a:gd name="T36" fmla="*/ 291 w 509"/>
                <a:gd name="T37" fmla="*/ 304 h 304"/>
                <a:gd name="T38" fmla="*/ 218 w 509"/>
                <a:gd name="T39" fmla="*/ 24 h 304"/>
                <a:gd name="T40" fmla="*/ 217 w 509"/>
                <a:gd name="T41" fmla="*/ 24 h 304"/>
                <a:gd name="T42" fmla="*/ 176 w 509"/>
                <a:gd name="T43" fmla="*/ 27 h 304"/>
                <a:gd name="T44" fmla="*/ 81 w 509"/>
                <a:gd name="T45" fmla="*/ 58 h 304"/>
                <a:gd name="T46" fmla="*/ 28 w 509"/>
                <a:gd name="T47" fmla="*/ 110 h 304"/>
                <a:gd name="T48" fmla="*/ 24 w 509"/>
                <a:gd name="T49" fmla="*/ 131 h 304"/>
                <a:gd name="T50" fmla="*/ 35 w 509"/>
                <a:gd name="T51" fmla="*/ 167 h 304"/>
                <a:gd name="T52" fmla="*/ 108 w 509"/>
                <a:gd name="T53" fmla="*/ 230 h 304"/>
                <a:gd name="T54" fmla="*/ 221 w 509"/>
                <a:gd name="T55" fmla="*/ 273 h 304"/>
                <a:gd name="T56" fmla="*/ 333 w 509"/>
                <a:gd name="T57" fmla="*/ 277 h 304"/>
                <a:gd name="T58" fmla="*/ 429 w 509"/>
                <a:gd name="T59" fmla="*/ 245 h 304"/>
                <a:gd name="T60" fmla="*/ 481 w 509"/>
                <a:gd name="T61" fmla="*/ 193 h 304"/>
                <a:gd name="T62" fmla="*/ 485 w 509"/>
                <a:gd name="T63" fmla="*/ 173 h 304"/>
                <a:gd name="T64" fmla="*/ 474 w 509"/>
                <a:gd name="T65" fmla="*/ 137 h 304"/>
                <a:gd name="T66" fmla="*/ 401 w 509"/>
                <a:gd name="T67" fmla="*/ 74 h 304"/>
                <a:gd name="T68" fmla="*/ 288 w 509"/>
                <a:gd name="T69" fmla="*/ 31 h 304"/>
                <a:gd name="T70" fmla="*/ 219 w 509"/>
                <a:gd name="T71" fmla="*/ 24 h 304"/>
                <a:gd name="T72" fmla="*/ 218 w 509"/>
                <a:gd name="T73" fmla="*/ 2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09" h="304">
                  <a:moveTo>
                    <a:pt x="291" y="304"/>
                  </a:moveTo>
                  <a:cubicBezTo>
                    <a:pt x="266" y="304"/>
                    <a:pt x="241" y="301"/>
                    <a:pt x="216" y="296"/>
                  </a:cubicBezTo>
                  <a:cubicBezTo>
                    <a:pt x="175" y="288"/>
                    <a:pt x="135" y="272"/>
                    <a:pt x="96" y="250"/>
                  </a:cubicBezTo>
                  <a:cubicBezTo>
                    <a:pt x="57" y="228"/>
                    <a:pt x="30" y="204"/>
                    <a:pt x="15" y="179"/>
                  </a:cubicBezTo>
                  <a:cubicBezTo>
                    <a:pt x="5" y="163"/>
                    <a:pt x="0" y="147"/>
                    <a:pt x="0" y="131"/>
                  </a:cubicBezTo>
                  <a:cubicBezTo>
                    <a:pt x="0" y="121"/>
                    <a:pt x="2" y="111"/>
                    <a:pt x="6" y="101"/>
                  </a:cubicBezTo>
                  <a:cubicBezTo>
                    <a:pt x="16" y="77"/>
                    <a:pt x="37" y="56"/>
                    <a:pt x="69" y="38"/>
                  </a:cubicBezTo>
                  <a:cubicBezTo>
                    <a:pt x="100" y="20"/>
                    <a:pt x="135" y="8"/>
                    <a:pt x="173" y="3"/>
                  </a:cubicBezTo>
                  <a:cubicBezTo>
                    <a:pt x="188" y="1"/>
                    <a:pt x="202" y="0"/>
                    <a:pt x="217" y="0"/>
                  </a:cubicBezTo>
                  <a:cubicBezTo>
                    <a:pt x="217" y="0"/>
                    <a:pt x="218" y="0"/>
                    <a:pt x="218" y="0"/>
                  </a:cubicBezTo>
                  <a:cubicBezTo>
                    <a:pt x="218" y="0"/>
                    <a:pt x="218" y="0"/>
                    <a:pt x="219" y="0"/>
                  </a:cubicBezTo>
                  <a:cubicBezTo>
                    <a:pt x="243" y="0"/>
                    <a:pt x="268" y="3"/>
                    <a:pt x="293" y="8"/>
                  </a:cubicBezTo>
                  <a:cubicBezTo>
                    <a:pt x="334" y="16"/>
                    <a:pt x="375" y="31"/>
                    <a:pt x="413" y="54"/>
                  </a:cubicBezTo>
                  <a:cubicBezTo>
                    <a:pt x="452" y="76"/>
                    <a:pt x="479" y="100"/>
                    <a:pt x="494" y="125"/>
                  </a:cubicBezTo>
                  <a:cubicBezTo>
                    <a:pt x="504" y="141"/>
                    <a:pt x="509" y="157"/>
                    <a:pt x="509" y="173"/>
                  </a:cubicBezTo>
                  <a:cubicBezTo>
                    <a:pt x="509" y="183"/>
                    <a:pt x="507" y="193"/>
                    <a:pt x="503" y="203"/>
                  </a:cubicBezTo>
                  <a:cubicBezTo>
                    <a:pt x="493" y="226"/>
                    <a:pt x="472" y="248"/>
                    <a:pt x="441" y="266"/>
                  </a:cubicBezTo>
                  <a:cubicBezTo>
                    <a:pt x="410" y="284"/>
                    <a:pt x="375" y="296"/>
                    <a:pt x="336" y="301"/>
                  </a:cubicBezTo>
                  <a:cubicBezTo>
                    <a:pt x="321" y="303"/>
                    <a:pt x="306" y="304"/>
                    <a:pt x="291" y="304"/>
                  </a:cubicBezTo>
                  <a:close/>
                  <a:moveTo>
                    <a:pt x="218" y="24"/>
                  </a:moveTo>
                  <a:cubicBezTo>
                    <a:pt x="218" y="24"/>
                    <a:pt x="218" y="24"/>
                    <a:pt x="217" y="24"/>
                  </a:cubicBezTo>
                  <a:cubicBezTo>
                    <a:pt x="204" y="24"/>
                    <a:pt x="190" y="25"/>
                    <a:pt x="176" y="27"/>
                  </a:cubicBezTo>
                  <a:cubicBezTo>
                    <a:pt x="141" y="32"/>
                    <a:pt x="109" y="42"/>
                    <a:pt x="81" y="58"/>
                  </a:cubicBezTo>
                  <a:cubicBezTo>
                    <a:pt x="54" y="74"/>
                    <a:pt x="36" y="92"/>
                    <a:pt x="28" y="110"/>
                  </a:cubicBezTo>
                  <a:cubicBezTo>
                    <a:pt x="25" y="117"/>
                    <a:pt x="24" y="124"/>
                    <a:pt x="24" y="131"/>
                  </a:cubicBezTo>
                  <a:cubicBezTo>
                    <a:pt x="24" y="143"/>
                    <a:pt x="28" y="154"/>
                    <a:pt x="35" y="167"/>
                  </a:cubicBezTo>
                  <a:cubicBezTo>
                    <a:pt x="48" y="188"/>
                    <a:pt x="73" y="209"/>
                    <a:pt x="108" y="230"/>
                  </a:cubicBezTo>
                  <a:cubicBezTo>
                    <a:pt x="144" y="250"/>
                    <a:pt x="182" y="265"/>
                    <a:pt x="221" y="273"/>
                  </a:cubicBezTo>
                  <a:cubicBezTo>
                    <a:pt x="259" y="281"/>
                    <a:pt x="297" y="282"/>
                    <a:pt x="333" y="277"/>
                  </a:cubicBezTo>
                  <a:cubicBezTo>
                    <a:pt x="368" y="272"/>
                    <a:pt x="400" y="261"/>
                    <a:pt x="429" y="245"/>
                  </a:cubicBezTo>
                  <a:cubicBezTo>
                    <a:pt x="455" y="230"/>
                    <a:pt x="473" y="212"/>
                    <a:pt x="481" y="193"/>
                  </a:cubicBezTo>
                  <a:cubicBezTo>
                    <a:pt x="484" y="187"/>
                    <a:pt x="485" y="180"/>
                    <a:pt x="485" y="173"/>
                  </a:cubicBezTo>
                  <a:cubicBezTo>
                    <a:pt x="485" y="161"/>
                    <a:pt x="481" y="150"/>
                    <a:pt x="474" y="137"/>
                  </a:cubicBezTo>
                  <a:cubicBezTo>
                    <a:pt x="461" y="116"/>
                    <a:pt x="436" y="95"/>
                    <a:pt x="401" y="74"/>
                  </a:cubicBezTo>
                  <a:cubicBezTo>
                    <a:pt x="365" y="54"/>
                    <a:pt x="327" y="39"/>
                    <a:pt x="288" y="31"/>
                  </a:cubicBezTo>
                  <a:cubicBezTo>
                    <a:pt x="265" y="26"/>
                    <a:pt x="241" y="24"/>
                    <a:pt x="219" y="24"/>
                  </a:cubicBezTo>
                  <a:cubicBezTo>
                    <a:pt x="218" y="24"/>
                    <a:pt x="218" y="24"/>
                    <a:pt x="218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" name="Freeform 2223">
              <a:extLst>
                <a:ext uri="{FF2B5EF4-FFF2-40B4-BE49-F238E27FC236}">
                  <a16:creationId xmlns:a16="http://schemas.microsoft.com/office/drawing/2014/main" id="{A1E1158E-1119-4B69-B88E-A144DF2491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" y="3334"/>
              <a:ext cx="74" cy="45"/>
            </a:xfrm>
            <a:custGeom>
              <a:avLst/>
              <a:gdLst>
                <a:gd name="T0" fmla="*/ 191 w 270"/>
                <a:gd name="T1" fmla="*/ 162 h 162"/>
                <a:gd name="T2" fmla="*/ 169 w 270"/>
                <a:gd name="T3" fmla="*/ 160 h 162"/>
                <a:gd name="T4" fmla="*/ 74 w 270"/>
                <a:gd name="T5" fmla="*/ 124 h 162"/>
                <a:gd name="T6" fmla="*/ 8 w 270"/>
                <a:gd name="T7" fmla="*/ 66 h 162"/>
                <a:gd name="T8" fmla="*/ 29 w 270"/>
                <a:gd name="T9" fmla="*/ 14 h 162"/>
                <a:gd name="T10" fmla="*/ 100 w 270"/>
                <a:gd name="T11" fmla="*/ 3 h 162"/>
                <a:gd name="T12" fmla="*/ 195 w 270"/>
                <a:gd name="T13" fmla="*/ 40 h 162"/>
                <a:gd name="T14" fmla="*/ 261 w 270"/>
                <a:gd name="T15" fmla="*/ 98 h 162"/>
                <a:gd name="T16" fmla="*/ 241 w 270"/>
                <a:gd name="T17" fmla="*/ 150 h 162"/>
                <a:gd name="T18" fmla="*/ 191 w 270"/>
                <a:gd name="T19" fmla="*/ 162 h 162"/>
                <a:gd name="T20" fmla="*/ 78 w 270"/>
                <a:gd name="T21" fmla="*/ 26 h 162"/>
                <a:gd name="T22" fmla="*/ 41 w 270"/>
                <a:gd name="T23" fmla="*/ 35 h 162"/>
                <a:gd name="T24" fmla="*/ 30 w 270"/>
                <a:gd name="T25" fmla="*/ 56 h 162"/>
                <a:gd name="T26" fmla="*/ 86 w 270"/>
                <a:gd name="T27" fmla="*/ 103 h 162"/>
                <a:gd name="T28" fmla="*/ 173 w 270"/>
                <a:gd name="T29" fmla="*/ 137 h 162"/>
                <a:gd name="T30" fmla="*/ 229 w 270"/>
                <a:gd name="T31" fmla="*/ 129 h 162"/>
                <a:gd name="T32" fmla="*/ 239 w 270"/>
                <a:gd name="T33" fmla="*/ 108 h 162"/>
                <a:gd name="T34" fmla="*/ 183 w 270"/>
                <a:gd name="T35" fmla="*/ 61 h 162"/>
                <a:gd name="T36" fmla="*/ 97 w 270"/>
                <a:gd name="T37" fmla="*/ 27 h 162"/>
                <a:gd name="T38" fmla="*/ 78 w 270"/>
                <a:gd name="T39" fmla="*/ 2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0" h="162">
                  <a:moveTo>
                    <a:pt x="191" y="162"/>
                  </a:moveTo>
                  <a:cubicBezTo>
                    <a:pt x="184" y="162"/>
                    <a:pt x="177" y="161"/>
                    <a:pt x="169" y="160"/>
                  </a:cubicBezTo>
                  <a:cubicBezTo>
                    <a:pt x="142" y="157"/>
                    <a:pt x="110" y="144"/>
                    <a:pt x="74" y="124"/>
                  </a:cubicBezTo>
                  <a:cubicBezTo>
                    <a:pt x="37" y="102"/>
                    <a:pt x="16" y="83"/>
                    <a:pt x="8" y="66"/>
                  </a:cubicBezTo>
                  <a:cubicBezTo>
                    <a:pt x="0" y="45"/>
                    <a:pt x="7" y="26"/>
                    <a:pt x="29" y="14"/>
                  </a:cubicBezTo>
                  <a:cubicBezTo>
                    <a:pt x="48" y="3"/>
                    <a:pt x="72" y="0"/>
                    <a:pt x="100" y="3"/>
                  </a:cubicBezTo>
                  <a:cubicBezTo>
                    <a:pt x="127" y="7"/>
                    <a:pt x="159" y="20"/>
                    <a:pt x="195" y="40"/>
                  </a:cubicBezTo>
                  <a:cubicBezTo>
                    <a:pt x="232" y="62"/>
                    <a:pt x="254" y="81"/>
                    <a:pt x="261" y="98"/>
                  </a:cubicBezTo>
                  <a:cubicBezTo>
                    <a:pt x="266" y="110"/>
                    <a:pt x="270" y="133"/>
                    <a:pt x="241" y="150"/>
                  </a:cubicBezTo>
                  <a:cubicBezTo>
                    <a:pt x="227" y="158"/>
                    <a:pt x="210" y="162"/>
                    <a:pt x="191" y="162"/>
                  </a:cubicBezTo>
                  <a:close/>
                  <a:moveTo>
                    <a:pt x="78" y="26"/>
                  </a:moveTo>
                  <a:cubicBezTo>
                    <a:pt x="64" y="26"/>
                    <a:pt x="51" y="29"/>
                    <a:pt x="41" y="35"/>
                  </a:cubicBezTo>
                  <a:cubicBezTo>
                    <a:pt x="26" y="43"/>
                    <a:pt x="28" y="50"/>
                    <a:pt x="30" y="56"/>
                  </a:cubicBezTo>
                  <a:cubicBezTo>
                    <a:pt x="34" y="65"/>
                    <a:pt x="47" y="80"/>
                    <a:pt x="86" y="103"/>
                  </a:cubicBezTo>
                  <a:cubicBezTo>
                    <a:pt x="120" y="122"/>
                    <a:pt x="149" y="133"/>
                    <a:pt x="173" y="137"/>
                  </a:cubicBezTo>
                  <a:cubicBezTo>
                    <a:pt x="195" y="140"/>
                    <a:pt x="214" y="137"/>
                    <a:pt x="229" y="129"/>
                  </a:cubicBezTo>
                  <a:cubicBezTo>
                    <a:pt x="243" y="121"/>
                    <a:pt x="242" y="114"/>
                    <a:pt x="239" y="108"/>
                  </a:cubicBezTo>
                  <a:cubicBezTo>
                    <a:pt x="235" y="99"/>
                    <a:pt x="223" y="84"/>
                    <a:pt x="183" y="61"/>
                  </a:cubicBezTo>
                  <a:cubicBezTo>
                    <a:pt x="150" y="42"/>
                    <a:pt x="121" y="31"/>
                    <a:pt x="97" y="27"/>
                  </a:cubicBezTo>
                  <a:cubicBezTo>
                    <a:pt x="90" y="26"/>
                    <a:pt x="84" y="26"/>
                    <a:pt x="78" y="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" name="Freeform 2224">
              <a:extLst>
                <a:ext uri="{FF2B5EF4-FFF2-40B4-BE49-F238E27FC236}">
                  <a16:creationId xmlns:a16="http://schemas.microsoft.com/office/drawing/2014/main" id="{E98141D3-D5D3-44C1-8971-E14F78546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" y="3347"/>
              <a:ext cx="140" cy="81"/>
            </a:xfrm>
            <a:custGeom>
              <a:avLst/>
              <a:gdLst>
                <a:gd name="T0" fmla="*/ 291 w 509"/>
                <a:gd name="T1" fmla="*/ 292 h 292"/>
                <a:gd name="T2" fmla="*/ 216 w 509"/>
                <a:gd name="T3" fmla="*/ 284 h 292"/>
                <a:gd name="T4" fmla="*/ 96 w 509"/>
                <a:gd name="T5" fmla="*/ 239 h 292"/>
                <a:gd name="T6" fmla="*/ 15 w 509"/>
                <a:gd name="T7" fmla="*/ 167 h 292"/>
                <a:gd name="T8" fmla="*/ 0 w 509"/>
                <a:gd name="T9" fmla="*/ 119 h 292"/>
                <a:gd name="T10" fmla="*/ 0 w 509"/>
                <a:gd name="T11" fmla="*/ 12 h 292"/>
                <a:gd name="T12" fmla="*/ 12 w 509"/>
                <a:gd name="T13" fmla="*/ 0 h 292"/>
                <a:gd name="T14" fmla="*/ 24 w 509"/>
                <a:gd name="T15" fmla="*/ 12 h 292"/>
                <a:gd name="T16" fmla="*/ 24 w 509"/>
                <a:gd name="T17" fmla="*/ 119 h 292"/>
                <a:gd name="T18" fmla="*/ 35 w 509"/>
                <a:gd name="T19" fmla="*/ 155 h 292"/>
                <a:gd name="T20" fmla="*/ 108 w 509"/>
                <a:gd name="T21" fmla="*/ 218 h 292"/>
                <a:gd name="T22" fmla="*/ 221 w 509"/>
                <a:gd name="T23" fmla="*/ 261 h 292"/>
                <a:gd name="T24" fmla="*/ 333 w 509"/>
                <a:gd name="T25" fmla="*/ 265 h 292"/>
                <a:gd name="T26" fmla="*/ 429 w 509"/>
                <a:gd name="T27" fmla="*/ 234 h 292"/>
                <a:gd name="T28" fmla="*/ 481 w 509"/>
                <a:gd name="T29" fmla="*/ 182 h 292"/>
                <a:gd name="T30" fmla="*/ 485 w 509"/>
                <a:gd name="T31" fmla="*/ 161 h 292"/>
                <a:gd name="T32" fmla="*/ 485 w 509"/>
                <a:gd name="T33" fmla="*/ 54 h 292"/>
                <a:gd name="T34" fmla="*/ 497 w 509"/>
                <a:gd name="T35" fmla="*/ 42 h 292"/>
                <a:gd name="T36" fmla="*/ 509 w 509"/>
                <a:gd name="T37" fmla="*/ 54 h 292"/>
                <a:gd name="T38" fmla="*/ 509 w 509"/>
                <a:gd name="T39" fmla="*/ 161 h 292"/>
                <a:gd name="T40" fmla="*/ 503 w 509"/>
                <a:gd name="T41" fmla="*/ 191 h 292"/>
                <a:gd name="T42" fmla="*/ 441 w 509"/>
                <a:gd name="T43" fmla="*/ 254 h 292"/>
                <a:gd name="T44" fmla="*/ 336 w 509"/>
                <a:gd name="T45" fmla="*/ 289 h 292"/>
                <a:gd name="T46" fmla="*/ 291 w 509"/>
                <a:gd name="T47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9" h="292">
                  <a:moveTo>
                    <a:pt x="291" y="292"/>
                  </a:moveTo>
                  <a:cubicBezTo>
                    <a:pt x="266" y="292"/>
                    <a:pt x="241" y="290"/>
                    <a:pt x="216" y="284"/>
                  </a:cubicBezTo>
                  <a:cubicBezTo>
                    <a:pt x="175" y="276"/>
                    <a:pt x="134" y="261"/>
                    <a:pt x="96" y="239"/>
                  </a:cubicBezTo>
                  <a:cubicBezTo>
                    <a:pt x="57" y="216"/>
                    <a:pt x="30" y="192"/>
                    <a:pt x="15" y="167"/>
                  </a:cubicBezTo>
                  <a:cubicBezTo>
                    <a:pt x="5" y="152"/>
                    <a:pt x="0" y="135"/>
                    <a:pt x="0" y="11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19"/>
                    <a:pt x="24" y="119"/>
                    <a:pt x="24" y="119"/>
                  </a:cubicBezTo>
                  <a:cubicBezTo>
                    <a:pt x="24" y="131"/>
                    <a:pt x="28" y="143"/>
                    <a:pt x="35" y="155"/>
                  </a:cubicBezTo>
                  <a:cubicBezTo>
                    <a:pt x="48" y="176"/>
                    <a:pt x="73" y="197"/>
                    <a:pt x="108" y="218"/>
                  </a:cubicBezTo>
                  <a:cubicBezTo>
                    <a:pt x="144" y="239"/>
                    <a:pt x="182" y="253"/>
                    <a:pt x="221" y="261"/>
                  </a:cubicBezTo>
                  <a:cubicBezTo>
                    <a:pt x="259" y="269"/>
                    <a:pt x="297" y="270"/>
                    <a:pt x="333" y="265"/>
                  </a:cubicBezTo>
                  <a:cubicBezTo>
                    <a:pt x="368" y="261"/>
                    <a:pt x="400" y="250"/>
                    <a:pt x="429" y="234"/>
                  </a:cubicBezTo>
                  <a:cubicBezTo>
                    <a:pt x="455" y="218"/>
                    <a:pt x="473" y="201"/>
                    <a:pt x="481" y="182"/>
                  </a:cubicBezTo>
                  <a:cubicBezTo>
                    <a:pt x="484" y="175"/>
                    <a:pt x="485" y="168"/>
                    <a:pt x="485" y="161"/>
                  </a:cubicBezTo>
                  <a:cubicBezTo>
                    <a:pt x="485" y="54"/>
                    <a:pt x="485" y="54"/>
                    <a:pt x="485" y="54"/>
                  </a:cubicBezTo>
                  <a:cubicBezTo>
                    <a:pt x="485" y="47"/>
                    <a:pt x="490" y="42"/>
                    <a:pt x="497" y="42"/>
                  </a:cubicBezTo>
                  <a:cubicBezTo>
                    <a:pt x="504" y="42"/>
                    <a:pt x="509" y="47"/>
                    <a:pt x="509" y="54"/>
                  </a:cubicBezTo>
                  <a:cubicBezTo>
                    <a:pt x="509" y="161"/>
                    <a:pt x="509" y="161"/>
                    <a:pt x="509" y="161"/>
                  </a:cubicBezTo>
                  <a:cubicBezTo>
                    <a:pt x="509" y="171"/>
                    <a:pt x="507" y="181"/>
                    <a:pt x="503" y="191"/>
                  </a:cubicBezTo>
                  <a:cubicBezTo>
                    <a:pt x="493" y="215"/>
                    <a:pt x="472" y="236"/>
                    <a:pt x="441" y="254"/>
                  </a:cubicBezTo>
                  <a:cubicBezTo>
                    <a:pt x="410" y="272"/>
                    <a:pt x="375" y="284"/>
                    <a:pt x="336" y="289"/>
                  </a:cubicBezTo>
                  <a:cubicBezTo>
                    <a:pt x="321" y="291"/>
                    <a:pt x="306" y="292"/>
                    <a:pt x="291" y="29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Freeform 2225">
              <a:extLst>
                <a:ext uri="{FF2B5EF4-FFF2-40B4-BE49-F238E27FC236}">
                  <a16:creationId xmlns:a16="http://schemas.microsoft.com/office/drawing/2014/main" id="{7F029A94-5444-4BD6-95D1-A03B01C7B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2653"/>
              <a:ext cx="365" cy="513"/>
            </a:xfrm>
            <a:custGeom>
              <a:avLst/>
              <a:gdLst>
                <a:gd name="T0" fmla="*/ 766 w 1321"/>
                <a:gd name="T1" fmla="*/ 863 h 1858"/>
                <a:gd name="T2" fmla="*/ 949 w 1321"/>
                <a:gd name="T3" fmla="*/ 287 h 1858"/>
                <a:gd name="T4" fmla="*/ 981 w 1321"/>
                <a:gd name="T5" fmla="*/ 257 h 1858"/>
                <a:gd name="T6" fmla="*/ 1021 w 1321"/>
                <a:gd name="T7" fmla="*/ 276 h 1858"/>
                <a:gd name="T8" fmla="*/ 974 w 1321"/>
                <a:gd name="T9" fmla="*/ 697 h 1858"/>
                <a:gd name="T10" fmla="*/ 876 w 1321"/>
                <a:gd name="T11" fmla="*/ 1174 h 1858"/>
                <a:gd name="T12" fmla="*/ 882 w 1321"/>
                <a:gd name="T13" fmla="*/ 1188 h 1858"/>
                <a:gd name="T14" fmla="*/ 898 w 1321"/>
                <a:gd name="T15" fmla="*/ 1191 h 1858"/>
                <a:gd name="T16" fmla="*/ 1129 w 1321"/>
                <a:gd name="T17" fmla="*/ 1050 h 1858"/>
                <a:gd name="T18" fmla="*/ 1287 w 1321"/>
                <a:gd name="T19" fmla="*/ 1018 h 1858"/>
                <a:gd name="T20" fmla="*/ 1317 w 1321"/>
                <a:gd name="T21" fmla="*/ 1049 h 1858"/>
                <a:gd name="T22" fmla="*/ 1308 w 1321"/>
                <a:gd name="T23" fmla="*/ 1091 h 1858"/>
                <a:gd name="T24" fmla="*/ 1184 w 1321"/>
                <a:gd name="T25" fmla="*/ 1231 h 1858"/>
                <a:gd name="T26" fmla="*/ 1117 w 1321"/>
                <a:gd name="T27" fmla="*/ 1290 h 1858"/>
                <a:gd name="T28" fmla="*/ 917 w 1321"/>
                <a:gd name="T29" fmla="*/ 1449 h 1858"/>
                <a:gd name="T30" fmla="*/ 691 w 1321"/>
                <a:gd name="T31" fmla="*/ 1612 h 1858"/>
                <a:gd name="T32" fmla="*/ 266 w 1321"/>
                <a:gd name="T33" fmla="*/ 1858 h 1858"/>
                <a:gd name="T34" fmla="*/ 269 w 1321"/>
                <a:gd name="T35" fmla="*/ 1814 h 1858"/>
                <a:gd name="T36" fmla="*/ 203 w 1321"/>
                <a:gd name="T37" fmla="*/ 1590 h 1858"/>
                <a:gd name="T38" fmla="*/ 38 w 1321"/>
                <a:gd name="T39" fmla="*/ 1414 h 1858"/>
                <a:gd name="T40" fmla="*/ 0 w 1321"/>
                <a:gd name="T41" fmla="*/ 1396 h 1858"/>
                <a:gd name="T42" fmla="*/ 12 w 1321"/>
                <a:gd name="T43" fmla="*/ 1389 h 1858"/>
                <a:gd name="T44" fmla="*/ 185 w 1321"/>
                <a:gd name="T45" fmla="*/ 1196 h 1858"/>
                <a:gd name="T46" fmla="*/ 262 w 1321"/>
                <a:gd name="T47" fmla="*/ 967 h 1858"/>
                <a:gd name="T48" fmla="*/ 293 w 1321"/>
                <a:gd name="T49" fmla="*/ 235 h 1858"/>
                <a:gd name="T50" fmla="*/ 321 w 1321"/>
                <a:gd name="T51" fmla="*/ 194 h 1858"/>
                <a:gd name="T52" fmla="*/ 369 w 1321"/>
                <a:gd name="T53" fmla="*/ 207 h 1858"/>
                <a:gd name="T54" fmla="*/ 407 w 1321"/>
                <a:gd name="T55" fmla="*/ 321 h 1858"/>
                <a:gd name="T56" fmla="*/ 448 w 1321"/>
                <a:gd name="T57" fmla="*/ 723 h 1858"/>
                <a:gd name="T58" fmla="*/ 515 w 1321"/>
                <a:gd name="T59" fmla="*/ 64 h 1858"/>
                <a:gd name="T60" fmla="*/ 545 w 1321"/>
                <a:gd name="T61" fmla="*/ 20 h 1858"/>
                <a:gd name="T62" fmla="*/ 598 w 1321"/>
                <a:gd name="T63" fmla="*/ 30 h 1858"/>
                <a:gd name="T64" fmla="*/ 651 w 1321"/>
                <a:gd name="T65" fmla="*/ 241 h 1858"/>
                <a:gd name="T66" fmla="*/ 608 w 1321"/>
                <a:gd name="T67" fmla="*/ 778 h 1858"/>
                <a:gd name="T68" fmla="*/ 746 w 1321"/>
                <a:gd name="T69" fmla="*/ 44 h 1858"/>
                <a:gd name="T70" fmla="*/ 771 w 1321"/>
                <a:gd name="T71" fmla="*/ 7 h 1858"/>
                <a:gd name="T72" fmla="*/ 815 w 1321"/>
                <a:gd name="T73" fmla="*/ 10 h 1858"/>
                <a:gd name="T74" fmla="*/ 857 w 1321"/>
                <a:gd name="T75" fmla="*/ 282 h 1858"/>
                <a:gd name="T76" fmla="*/ 766 w 1321"/>
                <a:gd name="T77" fmla="*/ 863 h 1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21" h="1858">
                  <a:moveTo>
                    <a:pt x="766" y="863"/>
                  </a:moveTo>
                  <a:cubicBezTo>
                    <a:pt x="848" y="643"/>
                    <a:pt x="898" y="502"/>
                    <a:pt x="949" y="287"/>
                  </a:cubicBezTo>
                  <a:cubicBezTo>
                    <a:pt x="953" y="271"/>
                    <a:pt x="965" y="260"/>
                    <a:pt x="981" y="257"/>
                  </a:cubicBezTo>
                  <a:cubicBezTo>
                    <a:pt x="997" y="255"/>
                    <a:pt x="1012" y="262"/>
                    <a:pt x="1021" y="276"/>
                  </a:cubicBezTo>
                  <a:cubicBezTo>
                    <a:pt x="1066" y="351"/>
                    <a:pt x="1021" y="534"/>
                    <a:pt x="974" y="697"/>
                  </a:cubicBezTo>
                  <a:cubicBezTo>
                    <a:pt x="919" y="887"/>
                    <a:pt x="890" y="1041"/>
                    <a:pt x="876" y="1174"/>
                  </a:cubicBezTo>
                  <a:cubicBezTo>
                    <a:pt x="875" y="1179"/>
                    <a:pt x="878" y="1185"/>
                    <a:pt x="882" y="1188"/>
                  </a:cubicBezTo>
                  <a:cubicBezTo>
                    <a:pt x="886" y="1192"/>
                    <a:pt x="892" y="1193"/>
                    <a:pt x="898" y="1191"/>
                  </a:cubicBezTo>
                  <a:cubicBezTo>
                    <a:pt x="982" y="1162"/>
                    <a:pt x="1087" y="1093"/>
                    <a:pt x="1129" y="1050"/>
                  </a:cubicBezTo>
                  <a:cubicBezTo>
                    <a:pt x="1182" y="1006"/>
                    <a:pt x="1245" y="1004"/>
                    <a:pt x="1287" y="1018"/>
                  </a:cubicBezTo>
                  <a:cubicBezTo>
                    <a:pt x="1302" y="1022"/>
                    <a:pt x="1313" y="1034"/>
                    <a:pt x="1317" y="1049"/>
                  </a:cubicBezTo>
                  <a:cubicBezTo>
                    <a:pt x="1321" y="1063"/>
                    <a:pt x="1318" y="1079"/>
                    <a:pt x="1308" y="1091"/>
                  </a:cubicBezTo>
                  <a:cubicBezTo>
                    <a:pt x="1184" y="1231"/>
                    <a:pt x="1184" y="1231"/>
                    <a:pt x="1184" y="1231"/>
                  </a:cubicBezTo>
                  <a:cubicBezTo>
                    <a:pt x="1164" y="1253"/>
                    <a:pt x="1141" y="1274"/>
                    <a:pt x="1117" y="1290"/>
                  </a:cubicBezTo>
                  <a:cubicBezTo>
                    <a:pt x="1036" y="1347"/>
                    <a:pt x="978" y="1394"/>
                    <a:pt x="917" y="1449"/>
                  </a:cubicBezTo>
                  <a:cubicBezTo>
                    <a:pt x="848" y="1510"/>
                    <a:pt x="771" y="1566"/>
                    <a:pt x="691" y="1612"/>
                  </a:cubicBezTo>
                  <a:cubicBezTo>
                    <a:pt x="266" y="1858"/>
                    <a:pt x="266" y="1858"/>
                    <a:pt x="266" y="1858"/>
                  </a:cubicBezTo>
                  <a:cubicBezTo>
                    <a:pt x="268" y="1844"/>
                    <a:pt x="269" y="1830"/>
                    <a:pt x="269" y="1814"/>
                  </a:cubicBezTo>
                  <a:cubicBezTo>
                    <a:pt x="269" y="1742"/>
                    <a:pt x="244" y="1661"/>
                    <a:pt x="203" y="1590"/>
                  </a:cubicBezTo>
                  <a:cubicBezTo>
                    <a:pt x="161" y="1516"/>
                    <a:pt x="103" y="1451"/>
                    <a:pt x="38" y="1414"/>
                  </a:cubicBezTo>
                  <a:cubicBezTo>
                    <a:pt x="25" y="1407"/>
                    <a:pt x="13" y="1401"/>
                    <a:pt x="0" y="1396"/>
                  </a:cubicBezTo>
                  <a:cubicBezTo>
                    <a:pt x="12" y="1389"/>
                    <a:pt x="12" y="1389"/>
                    <a:pt x="12" y="1389"/>
                  </a:cubicBezTo>
                  <a:cubicBezTo>
                    <a:pt x="89" y="1345"/>
                    <a:pt x="149" y="1277"/>
                    <a:pt x="185" y="1196"/>
                  </a:cubicBezTo>
                  <a:cubicBezTo>
                    <a:pt x="215" y="1127"/>
                    <a:pt x="248" y="1041"/>
                    <a:pt x="262" y="967"/>
                  </a:cubicBezTo>
                  <a:cubicBezTo>
                    <a:pt x="293" y="834"/>
                    <a:pt x="296" y="422"/>
                    <a:pt x="293" y="235"/>
                  </a:cubicBezTo>
                  <a:cubicBezTo>
                    <a:pt x="292" y="217"/>
                    <a:pt x="304" y="200"/>
                    <a:pt x="321" y="194"/>
                  </a:cubicBezTo>
                  <a:cubicBezTo>
                    <a:pt x="338" y="187"/>
                    <a:pt x="357" y="193"/>
                    <a:pt x="369" y="207"/>
                  </a:cubicBezTo>
                  <a:cubicBezTo>
                    <a:pt x="390" y="233"/>
                    <a:pt x="403" y="268"/>
                    <a:pt x="407" y="321"/>
                  </a:cubicBezTo>
                  <a:cubicBezTo>
                    <a:pt x="418" y="460"/>
                    <a:pt x="434" y="558"/>
                    <a:pt x="448" y="723"/>
                  </a:cubicBezTo>
                  <a:cubicBezTo>
                    <a:pt x="490" y="464"/>
                    <a:pt x="514" y="298"/>
                    <a:pt x="515" y="64"/>
                  </a:cubicBezTo>
                  <a:cubicBezTo>
                    <a:pt x="515" y="45"/>
                    <a:pt x="527" y="27"/>
                    <a:pt x="545" y="20"/>
                  </a:cubicBezTo>
                  <a:cubicBezTo>
                    <a:pt x="563" y="12"/>
                    <a:pt x="584" y="16"/>
                    <a:pt x="598" y="30"/>
                  </a:cubicBezTo>
                  <a:cubicBezTo>
                    <a:pt x="642" y="73"/>
                    <a:pt x="656" y="132"/>
                    <a:pt x="651" y="241"/>
                  </a:cubicBezTo>
                  <a:cubicBezTo>
                    <a:pt x="643" y="415"/>
                    <a:pt x="634" y="560"/>
                    <a:pt x="608" y="778"/>
                  </a:cubicBezTo>
                  <a:cubicBezTo>
                    <a:pt x="682" y="494"/>
                    <a:pt x="731" y="295"/>
                    <a:pt x="746" y="44"/>
                  </a:cubicBezTo>
                  <a:cubicBezTo>
                    <a:pt x="747" y="28"/>
                    <a:pt x="757" y="14"/>
                    <a:pt x="771" y="7"/>
                  </a:cubicBezTo>
                  <a:cubicBezTo>
                    <a:pt x="785" y="0"/>
                    <a:pt x="802" y="1"/>
                    <a:pt x="815" y="10"/>
                  </a:cubicBezTo>
                  <a:cubicBezTo>
                    <a:pt x="876" y="53"/>
                    <a:pt x="877" y="167"/>
                    <a:pt x="857" y="282"/>
                  </a:cubicBezTo>
                  <a:cubicBezTo>
                    <a:pt x="822" y="475"/>
                    <a:pt x="768" y="852"/>
                    <a:pt x="766" y="863"/>
                  </a:cubicBez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2226">
              <a:extLst>
                <a:ext uri="{FF2B5EF4-FFF2-40B4-BE49-F238E27FC236}">
                  <a16:creationId xmlns:a16="http://schemas.microsoft.com/office/drawing/2014/main" id="{18A848C8-336E-496E-96E6-9ED6830C5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3033"/>
              <a:ext cx="212" cy="222"/>
            </a:xfrm>
            <a:custGeom>
              <a:avLst/>
              <a:gdLst>
                <a:gd name="T0" fmla="*/ 767 w 767"/>
                <a:gd name="T1" fmla="*/ 437 h 802"/>
                <a:gd name="T2" fmla="*/ 764 w 767"/>
                <a:gd name="T3" fmla="*/ 481 h 802"/>
                <a:gd name="T4" fmla="*/ 699 w 767"/>
                <a:gd name="T5" fmla="*/ 587 h 802"/>
                <a:gd name="T6" fmla="*/ 327 w 767"/>
                <a:gd name="T7" fmla="*/ 802 h 802"/>
                <a:gd name="T8" fmla="*/ 394 w 767"/>
                <a:gd name="T9" fmla="*/ 652 h 802"/>
                <a:gd name="T10" fmla="*/ 328 w 767"/>
                <a:gd name="T11" fmla="*/ 428 h 802"/>
                <a:gd name="T12" fmla="*/ 163 w 767"/>
                <a:gd name="T13" fmla="*/ 252 h 802"/>
                <a:gd name="T14" fmla="*/ 0 w 767"/>
                <a:gd name="T15" fmla="*/ 236 h 802"/>
                <a:gd name="T16" fmla="*/ 373 w 767"/>
                <a:gd name="T17" fmla="*/ 21 h 802"/>
                <a:gd name="T18" fmla="*/ 498 w 767"/>
                <a:gd name="T19" fmla="*/ 19 h 802"/>
                <a:gd name="T20" fmla="*/ 536 w 767"/>
                <a:gd name="T21" fmla="*/ 37 h 802"/>
                <a:gd name="T22" fmla="*/ 701 w 767"/>
                <a:gd name="T23" fmla="*/ 213 h 802"/>
                <a:gd name="T24" fmla="*/ 767 w 767"/>
                <a:gd name="T25" fmla="*/ 437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7" h="802">
                  <a:moveTo>
                    <a:pt x="767" y="437"/>
                  </a:moveTo>
                  <a:cubicBezTo>
                    <a:pt x="767" y="453"/>
                    <a:pt x="766" y="467"/>
                    <a:pt x="764" y="481"/>
                  </a:cubicBezTo>
                  <a:cubicBezTo>
                    <a:pt x="755" y="531"/>
                    <a:pt x="732" y="568"/>
                    <a:pt x="699" y="587"/>
                  </a:cubicBezTo>
                  <a:cubicBezTo>
                    <a:pt x="327" y="802"/>
                    <a:pt x="327" y="802"/>
                    <a:pt x="327" y="802"/>
                  </a:cubicBezTo>
                  <a:cubicBezTo>
                    <a:pt x="368" y="778"/>
                    <a:pt x="394" y="726"/>
                    <a:pt x="394" y="652"/>
                  </a:cubicBezTo>
                  <a:cubicBezTo>
                    <a:pt x="394" y="580"/>
                    <a:pt x="369" y="500"/>
                    <a:pt x="328" y="428"/>
                  </a:cubicBezTo>
                  <a:cubicBezTo>
                    <a:pt x="287" y="354"/>
                    <a:pt x="228" y="290"/>
                    <a:pt x="163" y="252"/>
                  </a:cubicBezTo>
                  <a:cubicBezTo>
                    <a:pt x="99" y="216"/>
                    <a:pt x="42" y="212"/>
                    <a:pt x="0" y="236"/>
                  </a:cubicBezTo>
                  <a:cubicBezTo>
                    <a:pt x="373" y="21"/>
                    <a:pt x="373" y="21"/>
                    <a:pt x="373" y="21"/>
                  </a:cubicBezTo>
                  <a:cubicBezTo>
                    <a:pt x="406" y="2"/>
                    <a:pt x="450" y="0"/>
                    <a:pt x="498" y="19"/>
                  </a:cubicBezTo>
                  <a:cubicBezTo>
                    <a:pt x="511" y="24"/>
                    <a:pt x="523" y="30"/>
                    <a:pt x="536" y="37"/>
                  </a:cubicBezTo>
                  <a:cubicBezTo>
                    <a:pt x="601" y="74"/>
                    <a:pt x="659" y="139"/>
                    <a:pt x="701" y="213"/>
                  </a:cubicBezTo>
                  <a:cubicBezTo>
                    <a:pt x="742" y="284"/>
                    <a:pt x="767" y="365"/>
                    <a:pt x="767" y="43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" name="Freeform 2227">
              <a:extLst>
                <a:ext uri="{FF2B5EF4-FFF2-40B4-BE49-F238E27FC236}">
                  <a16:creationId xmlns:a16="http://schemas.microsoft.com/office/drawing/2014/main" id="{FBE21245-B805-4FEF-8298-0D385A08C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9" y="3092"/>
              <a:ext cx="128" cy="169"/>
            </a:xfrm>
            <a:custGeom>
              <a:avLst/>
              <a:gdLst>
                <a:gd name="T0" fmla="*/ 396 w 462"/>
                <a:gd name="T1" fmla="*/ 216 h 614"/>
                <a:gd name="T2" fmla="*/ 462 w 462"/>
                <a:gd name="T3" fmla="*/ 440 h 614"/>
                <a:gd name="T4" fmla="*/ 395 w 462"/>
                <a:gd name="T5" fmla="*/ 590 h 614"/>
                <a:gd name="T6" fmla="*/ 231 w 462"/>
                <a:gd name="T7" fmla="*/ 574 h 614"/>
                <a:gd name="T8" fmla="*/ 68 w 462"/>
                <a:gd name="T9" fmla="*/ 401 h 614"/>
                <a:gd name="T10" fmla="*/ 0 w 462"/>
                <a:gd name="T11" fmla="*/ 174 h 614"/>
                <a:gd name="T12" fmla="*/ 68 w 462"/>
                <a:gd name="T13" fmla="*/ 24 h 614"/>
                <a:gd name="T14" fmla="*/ 231 w 462"/>
                <a:gd name="T15" fmla="*/ 40 h 614"/>
                <a:gd name="T16" fmla="*/ 396 w 462"/>
                <a:gd name="T17" fmla="*/ 216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2" h="614">
                  <a:moveTo>
                    <a:pt x="396" y="216"/>
                  </a:moveTo>
                  <a:cubicBezTo>
                    <a:pt x="437" y="288"/>
                    <a:pt x="462" y="368"/>
                    <a:pt x="462" y="440"/>
                  </a:cubicBezTo>
                  <a:cubicBezTo>
                    <a:pt x="462" y="514"/>
                    <a:pt x="436" y="566"/>
                    <a:pt x="395" y="590"/>
                  </a:cubicBezTo>
                  <a:cubicBezTo>
                    <a:pt x="353" y="614"/>
                    <a:pt x="295" y="611"/>
                    <a:pt x="231" y="574"/>
                  </a:cubicBezTo>
                  <a:cubicBezTo>
                    <a:pt x="167" y="537"/>
                    <a:pt x="110" y="474"/>
                    <a:pt x="68" y="401"/>
                  </a:cubicBezTo>
                  <a:cubicBezTo>
                    <a:pt x="26" y="329"/>
                    <a:pt x="0" y="247"/>
                    <a:pt x="0" y="174"/>
                  </a:cubicBezTo>
                  <a:cubicBezTo>
                    <a:pt x="0" y="100"/>
                    <a:pt x="26" y="48"/>
                    <a:pt x="68" y="24"/>
                  </a:cubicBezTo>
                  <a:cubicBezTo>
                    <a:pt x="110" y="0"/>
                    <a:pt x="167" y="4"/>
                    <a:pt x="231" y="40"/>
                  </a:cubicBezTo>
                  <a:cubicBezTo>
                    <a:pt x="296" y="78"/>
                    <a:pt x="355" y="142"/>
                    <a:pt x="396" y="216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" name="Freeform 2228">
              <a:extLst>
                <a:ext uri="{FF2B5EF4-FFF2-40B4-BE49-F238E27FC236}">
                  <a16:creationId xmlns:a16="http://schemas.microsoft.com/office/drawing/2014/main" id="{55F3503A-421D-48B6-95E9-73FF65058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2" y="2649"/>
              <a:ext cx="250" cy="393"/>
            </a:xfrm>
            <a:custGeom>
              <a:avLst/>
              <a:gdLst>
                <a:gd name="T0" fmla="*/ 13 w 906"/>
                <a:gd name="T1" fmla="*/ 1421 h 1421"/>
                <a:gd name="T2" fmla="*/ 3 w 906"/>
                <a:gd name="T3" fmla="*/ 1415 h 1421"/>
                <a:gd name="T4" fmla="*/ 7 w 906"/>
                <a:gd name="T5" fmla="*/ 1398 h 1421"/>
                <a:gd name="T6" fmla="*/ 19 w 906"/>
                <a:gd name="T7" fmla="*/ 1392 h 1421"/>
                <a:gd name="T8" fmla="*/ 187 w 906"/>
                <a:gd name="T9" fmla="*/ 1204 h 1421"/>
                <a:gd name="T10" fmla="*/ 263 w 906"/>
                <a:gd name="T11" fmla="*/ 977 h 1421"/>
                <a:gd name="T12" fmla="*/ 294 w 906"/>
                <a:gd name="T13" fmla="*/ 248 h 1421"/>
                <a:gd name="T14" fmla="*/ 330 w 906"/>
                <a:gd name="T15" fmla="*/ 196 h 1421"/>
                <a:gd name="T16" fmla="*/ 391 w 906"/>
                <a:gd name="T17" fmla="*/ 212 h 1421"/>
                <a:gd name="T18" fmla="*/ 432 w 906"/>
                <a:gd name="T19" fmla="*/ 333 h 1421"/>
                <a:gd name="T20" fmla="*/ 451 w 906"/>
                <a:gd name="T21" fmla="*/ 520 h 1421"/>
                <a:gd name="T22" fmla="*/ 464 w 906"/>
                <a:gd name="T23" fmla="*/ 640 h 1421"/>
                <a:gd name="T24" fmla="*/ 516 w 906"/>
                <a:gd name="T25" fmla="*/ 77 h 1421"/>
                <a:gd name="T26" fmla="*/ 553 w 906"/>
                <a:gd name="T27" fmla="*/ 21 h 1421"/>
                <a:gd name="T28" fmla="*/ 619 w 906"/>
                <a:gd name="T29" fmla="*/ 34 h 1421"/>
                <a:gd name="T30" fmla="*/ 676 w 906"/>
                <a:gd name="T31" fmla="*/ 254 h 1421"/>
                <a:gd name="T32" fmla="*/ 651 w 906"/>
                <a:gd name="T33" fmla="*/ 624 h 1421"/>
                <a:gd name="T34" fmla="*/ 747 w 906"/>
                <a:gd name="T35" fmla="*/ 56 h 1421"/>
                <a:gd name="T36" fmla="*/ 779 w 906"/>
                <a:gd name="T37" fmla="*/ 9 h 1421"/>
                <a:gd name="T38" fmla="*/ 835 w 906"/>
                <a:gd name="T39" fmla="*/ 14 h 1421"/>
                <a:gd name="T40" fmla="*/ 882 w 906"/>
                <a:gd name="T41" fmla="*/ 297 h 1421"/>
                <a:gd name="T42" fmla="*/ 791 w 906"/>
                <a:gd name="T43" fmla="*/ 878 h 1421"/>
                <a:gd name="T44" fmla="*/ 777 w 906"/>
                <a:gd name="T45" fmla="*/ 888 h 1421"/>
                <a:gd name="T46" fmla="*/ 767 w 906"/>
                <a:gd name="T47" fmla="*/ 875 h 1421"/>
                <a:gd name="T48" fmla="*/ 858 w 906"/>
                <a:gd name="T49" fmla="*/ 293 h 1421"/>
                <a:gd name="T50" fmla="*/ 821 w 906"/>
                <a:gd name="T51" fmla="*/ 33 h 1421"/>
                <a:gd name="T52" fmla="*/ 789 w 906"/>
                <a:gd name="T53" fmla="*/ 31 h 1421"/>
                <a:gd name="T54" fmla="*/ 771 w 906"/>
                <a:gd name="T55" fmla="*/ 57 h 1421"/>
                <a:gd name="T56" fmla="*/ 633 w 906"/>
                <a:gd name="T57" fmla="*/ 794 h 1421"/>
                <a:gd name="T58" fmla="*/ 619 w 906"/>
                <a:gd name="T59" fmla="*/ 803 h 1421"/>
                <a:gd name="T60" fmla="*/ 609 w 906"/>
                <a:gd name="T61" fmla="*/ 790 h 1421"/>
                <a:gd name="T62" fmla="*/ 652 w 906"/>
                <a:gd name="T63" fmla="*/ 253 h 1421"/>
                <a:gd name="T64" fmla="*/ 602 w 906"/>
                <a:gd name="T65" fmla="*/ 51 h 1421"/>
                <a:gd name="T66" fmla="*/ 563 w 906"/>
                <a:gd name="T67" fmla="*/ 44 h 1421"/>
                <a:gd name="T68" fmla="*/ 540 w 906"/>
                <a:gd name="T69" fmla="*/ 77 h 1421"/>
                <a:gd name="T70" fmla="*/ 472 w 906"/>
                <a:gd name="T71" fmla="*/ 738 h 1421"/>
                <a:gd name="T72" fmla="*/ 460 w 906"/>
                <a:gd name="T73" fmla="*/ 748 h 1421"/>
                <a:gd name="T74" fmla="*/ 449 w 906"/>
                <a:gd name="T75" fmla="*/ 737 h 1421"/>
                <a:gd name="T76" fmla="*/ 427 w 906"/>
                <a:gd name="T77" fmla="*/ 523 h 1421"/>
                <a:gd name="T78" fmla="*/ 408 w 906"/>
                <a:gd name="T79" fmla="*/ 335 h 1421"/>
                <a:gd name="T80" fmla="*/ 373 w 906"/>
                <a:gd name="T81" fmla="*/ 227 h 1421"/>
                <a:gd name="T82" fmla="*/ 338 w 906"/>
                <a:gd name="T83" fmla="*/ 218 h 1421"/>
                <a:gd name="T84" fmla="*/ 318 w 906"/>
                <a:gd name="T85" fmla="*/ 248 h 1421"/>
                <a:gd name="T86" fmla="*/ 287 w 906"/>
                <a:gd name="T87" fmla="*/ 982 h 1421"/>
                <a:gd name="T88" fmla="*/ 209 w 906"/>
                <a:gd name="T89" fmla="*/ 1214 h 1421"/>
                <a:gd name="T90" fmla="*/ 31 w 906"/>
                <a:gd name="T91" fmla="*/ 1413 h 1421"/>
                <a:gd name="T92" fmla="*/ 19 w 906"/>
                <a:gd name="T93" fmla="*/ 1419 h 1421"/>
                <a:gd name="T94" fmla="*/ 13 w 906"/>
                <a:gd name="T95" fmla="*/ 142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6" h="1421">
                  <a:moveTo>
                    <a:pt x="13" y="1421"/>
                  </a:moveTo>
                  <a:cubicBezTo>
                    <a:pt x="9" y="1421"/>
                    <a:pt x="5" y="1419"/>
                    <a:pt x="3" y="1415"/>
                  </a:cubicBezTo>
                  <a:cubicBezTo>
                    <a:pt x="0" y="1409"/>
                    <a:pt x="2" y="1402"/>
                    <a:pt x="7" y="1398"/>
                  </a:cubicBezTo>
                  <a:cubicBezTo>
                    <a:pt x="19" y="1392"/>
                    <a:pt x="19" y="1392"/>
                    <a:pt x="19" y="1392"/>
                  </a:cubicBezTo>
                  <a:cubicBezTo>
                    <a:pt x="93" y="1349"/>
                    <a:pt x="152" y="1282"/>
                    <a:pt x="187" y="1204"/>
                  </a:cubicBezTo>
                  <a:cubicBezTo>
                    <a:pt x="226" y="1115"/>
                    <a:pt x="251" y="1039"/>
                    <a:pt x="263" y="977"/>
                  </a:cubicBezTo>
                  <a:cubicBezTo>
                    <a:pt x="296" y="838"/>
                    <a:pt x="296" y="404"/>
                    <a:pt x="294" y="248"/>
                  </a:cubicBezTo>
                  <a:cubicBezTo>
                    <a:pt x="293" y="225"/>
                    <a:pt x="308" y="204"/>
                    <a:pt x="330" y="196"/>
                  </a:cubicBezTo>
                  <a:cubicBezTo>
                    <a:pt x="351" y="187"/>
                    <a:pt x="376" y="194"/>
                    <a:pt x="391" y="212"/>
                  </a:cubicBezTo>
                  <a:cubicBezTo>
                    <a:pt x="415" y="240"/>
                    <a:pt x="427" y="279"/>
                    <a:pt x="432" y="333"/>
                  </a:cubicBezTo>
                  <a:cubicBezTo>
                    <a:pt x="437" y="401"/>
                    <a:pt x="444" y="459"/>
                    <a:pt x="451" y="520"/>
                  </a:cubicBezTo>
                  <a:cubicBezTo>
                    <a:pt x="455" y="558"/>
                    <a:pt x="459" y="597"/>
                    <a:pt x="464" y="640"/>
                  </a:cubicBezTo>
                  <a:cubicBezTo>
                    <a:pt x="496" y="437"/>
                    <a:pt x="515" y="284"/>
                    <a:pt x="516" y="77"/>
                  </a:cubicBezTo>
                  <a:cubicBezTo>
                    <a:pt x="516" y="53"/>
                    <a:pt x="531" y="31"/>
                    <a:pt x="553" y="21"/>
                  </a:cubicBezTo>
                  <a:cubicBezTo>
                    <a:pt x="576" y="12"/>
                    <a:pt x="602" y="17"/>
                    <a:pt x="619" y="34"/>
                  </a:cubicBezTo>
                  <a:cubicBezTo>
                    <a:pt x="665" y="79"/>
                    <a:pt x="681" y="141"/>
                    <a:pt x="676" y="254"/>
                  </a:cubicBezTo>
                  <a:cubicBezTo>
                    <a:pt x="670" y="377"/>
                    <a:pt x="664" y="487"/>
                    <a:pt x="651" y="624"/>
                  </a:cubicBezTo>
                  <a:cubicBezTo>
                    <a:pt x="703" y="416"/>
                    <a:pt x="736" y="254"/>
                    <a:pt x="747" y="56"/>
                  </a:cubicBezTo>
                  <a:cubicBezTo>
                    <a:pt x="749" y="36"/>
                    <a:pt x="761" y="18"/>
                    <a:pt x="779" y="9"/>
                  </a:cubicBezTo>
                  <a:cubicBezTo>
                    <a:pt x="797" y="0"/>
                    <a:pt x="819" y="2"/>
                    <a:pt x="835" y="14"/>
                  </a:cubicBezTo>
                  <a:cubicBezTo>
                    <a:pt x="906" y="64"/>
                    <a:pt x="900" y="195"/>
                    <a:pt x="882" y="297"/>
                  </a:cubicBezTo>
                  <a:cubicBezTo>
                    <a:pt x="846" y="495"/>
                    <a:pt x="791" y="875"/>
                    <a:pt x="791" y="878"/>
                  </a:cubicBezTo>
                  <a:cubicBezTo>
                    <a:pt x="790" y="885"/>
                    <a:pt x="784" y="889"/>
                    <a:pt x="777" y="888"/>
                  </a:cubicBezTo>
                  <a:cubicBezTo>
                    <a:pt x="771" y="887"/>
                    <a:pt x="766" y="881"/>
                    <a:pt x="767" y="875"/>
                  </a:cubicBezTo>
                  <a:cubicBezTo>
                    <a:pt x="768" y="872"/>
                    <a:pt x="823" y="491"/>
                    <a:pt x="858" y="293"/>
                  </a:cubicBezTo>
                  <a:cubicBezTo>
                    <a:pt x="882" y="159"/>
                    <a:pt x="869" y="67"/>
                    <a:pt x="821" y="33"/>
                  </a:cubicBezTo>
                  <a:cubicBezTo>
                    <a:pt x="812" y="27"/>
                    <a:pt x="800" y="26"/>
                    <a:pt x="789" y="31"/>
                  </a:cubicBezTo>
                  <a:cubicBezTo>
                    <a:pt x="779" y="36"/>
                    <a:pt x="772" y="46"/>
                    <a:pt x="771" y="57"/>
                  </a:cubicBezTo>
                  <a:cubicBezTo>
                    <a:pt x="756" y="307"/>
                    <a:pt x="709" y="500"/>
                    <a:pt x="633" y="794"/>
                  </a:cubicBezTo>
                  <a:cubicBezTo>
                    <a:pt x="631" y="800"/>
                    <a:pt x="625" y="804"/>
                    <a:pt x="619" y="803"/>
                  </a:cubicBezTo>
                  <a:cubicBezTo>
                    <a:pt x="612" y="802"/>
                    <a:pt x="608" y="796"/>
                    <a:pt x="609" y="790"/>
                  </a:cubicBezTo>
                  <a:cubicBezTo>
                    <a:pt x="636" y="568"/>
                    <a:pt x="644" y="421"/>
                    <a:pt x="652" y="253"/>
                  </a:cubicBezTo>
                  <a:cubicBezTo>
                    <a:pt x="657" y="146"/>
                    <a:pt x="644" y="91"/>
                    <a:pt x="602" y="51"/>
                  </a:cubicBezTo>
                  <a:cubicBezTo>
                    <a:pt x="592" y="41"/>
                    <a:pt x="576" y="38"/>
                    <a:pt x="563" y="44"/>
                  </a:cubicBezTo>
                  <a:cubicBezTo>
                    <a:pt x="549" y="49"/>
                    <a:pt x="540" y="62"/>
                    <a:pt x="540" y="77"/>
                  </a:cubicBezTo>
                  <a:cubicBezTo>
                    <a:pt x="539" y="317"/>
                    <a:pt x="513" y="484"/>
                    <a:pt x="472" y="738"/>
                  </a:cubicBezTo>
                  <a:cubicBezTo>
                    <a:pt x="471" y="744"/>
                    <a:pt x="466" y="748"/>
                    <a:pt x="460" y="748"/>
                  </a:cubicBezTo>
                  <a:cubicBezTo>
                    <a:pt x="454" y="748"/>
                    <a:pt x="449" y="743"/>
                    <a:pt x="449" y="737"/>
                  </a:cubicBezTo>
                  <a:cubicBezTo>
                    <a:pt x="442" y="653"/>
                    <a:pt x="434" y="587"/>
                    <a:pt x="427" y="523"/>
                  </a:cubicBezTo>
                  <a:cubicBezTo>
                    <a:pt x="420" y="461"/>
                    <a:pt x="414" y="403"/>
                    <a:pt x="408" y="335"/>
                  </a:cubicBezTo>
                  <a:cubicBezTo>
                    <a:pt x="404" y="286"/>
                    <a:pt x="393" y="252"/>
                    <a:pt x="373" y="227"/>
                  </a:cubicBezTo>
                  <a:cubicBezTo>
                    <a:pt x="364" y="217"/>
                    <a:pt x="350" y="214"/>
                    <a:pt x="338" y="218"/>
                  </a:cubicBezTo>
                  <a:cubicBezTo>
                    <a:pt x="326" y="223"/>
                    <a:pt x="317" y="235"/>
                    <a:pt x="318" y="248"/>
                  </a:cubicBezTo>
                  <a:cubicBezTo>
                    <a:pt x="320" y="404"/>
                    <a:pt x="320" y="841"/>
                    <a:pt x="287" y="982"/>
                  </a:cubicBezTo>
                  <a:cubicBezTo>
                    <a:pt x="275" y="1045"/>
                    <a:pt x="248" y="1123"/>
                    <a:pt x="209" y="1214"/>
                  </a:cubicBezTo>
                  <a:cubicBezTo>
                    <a:pt x="172" y="1297"/>
                    <a:pt x="109" y="1367"/>
                    <a:pt x="31" y="1413"/>
                  </a:cubicBezTo>
                  <a:cubicBezTo>
                    <a:pt x="19" y="1419"/>
                    <a:pt x="19" y="1419"/>
                    <a:pt x="19" y="1419"/>
                  </a:cubicBezTo>
                  <a:cubicBezTo>
                    <a:pt x="17" y="1420"/>
                    <a:pt x="15" y="1421"/>
                    <a:pt x="13" y="142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" name="Freeform 2229">
              <a:extLst>
                <a:ext uri="{FF2B5EF4-FFF2-40B4-BE49-F238E27FC236}">
                  <a16:creationId xmlns:a16="http://schemas.microsoft.com/office/drawing/2014/main" id="{99B3C9F4-B036-44A3-A448-D4EBF788B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5" y="2719"/>
              <a:ext cx="299" cy="450"/>
            </a:xfrm>
            <a:custGeom>
              <a:avLst/>
              <a:gdLst>
                <a:gd name="T0" fmla="*/ 14 w 1082"/>
                <a:gd name="T1" fmla="*/ 1628 h 1628"/>
                <a:gd name="T2" fmla="*/ 3 w 1082"/>
                <a:gd name="T3" fmla="*/ 1622 h 1628"/>
                <a:gd name="T4" fmla="*/ 8 w 1082"/>
                <a:gd name="T5" fmla="*/ 1606 h 1628"/>
                <a:gd name="T6" fmla="*/ 433 w 1082"/>
                <a:gd name="T7" fmla="*/ 1360 h 1628"/>
                <a:gd name="T8" fmla="*/ 657 w 1082"/>
                <a:gd name="T9" fmla="*/ 1198 h 1628"/>
                <a:gd name="T10" fmla="*/ 858 w 1082"/>
                <a:gd name="T11" fmla="*/ 1039 h 1628"/>
                <a:gd name="T12" fmla="*/ 923 w 1082"/>
                <a:gd name="T13" fmla="*/ 981 h 1628"/>
                <a:gd name="T14" fmla="*/ 1047 w 1082"/>
                <a:gd name="T15" fmla="*/ 841 h 1628"/>
                <a:gd name="T16" fmla="*/ 1054 w 1082"/>
                <a:gd name="T17" fmla="*/ 810 h 1628"/>
                <a:gd name="T18" fmla="*/ 1032 w 1082"/>
                <a:gd name="T19" fmla="*/ 787 h 1628"/>
                <a:gd name="T20" fmla="*/ 886 w 1082"/>
                <a:gd name="T21" fmla="*/ 817 h 1628"/>
                <a:gd name="T22" fmla="*/ 650 w 1082"/>
                <a:gd name="T23" fmla="*/ 960 h 1628"/>
                <a:gd name="T24" fmla="*/ 623 w 1082"/>
                <a:gd name="T25" fmla="*/ 956 h 1628"/>
                <a:gd name="T26" fmla="*/ 612 w 1082"/>
                <a:gd name="T27" fmla="*/ 930 h 1628"/>
                <a:gd name="T28" fmla="*/ 710 w 1082"/>
                <a:gd name="T29" fmla="*/ 452 h 1628"/>
                <a:gd name="T30" fmla="*/ 758 w 1082"/>
                <a:gd name="T31" fmla="*/ 40 h 1628"/>
                <a:gd name="T32" fmla="*/ 731 w 1082"/>
                <a:gd name="T33" fmla="*/ 27 h 1628"/>
                <a:gd name="T34" fmla="*/ 709 w 1082"/>
                <a:gd name="T35" fmla="*/ 48 h 1628"/>
                <a:gd name="T36" fmla="*/ 525 w 1082"/>
                <a:gd name="T37" fmla="*/ 625 h 1628"/>
                <a:gd name="T38" fmla="*/ 514 w 1082"/>
                <a:gd name="T39" fmla="*/ 634 h 1628"/>
                <a:gd name="T40" fmla="*/ 502 w 1082"/>
                <a:gd name="T41" fmla="*/ 622 h 1628"/>
                <a:gd name="T42" fmla="*/ 503 w 1082"/>
                <a:gd name="T43" fmla="*/ 618 h 1628"/>
                <a:gd name="T44" fmla="*/ 503 w 1082"/>
                <a:gd name="T45" fmla="*/ 617 h 1628"/>
                <a:gd name="T46" fmla="*/ 685 w 1082"/>
                <a:gd name="T47" fmla="*/ 42 h 1628"/>
                <a:gd name="T48" fmla="*/ 727 w 1082"/>
                <a:gd name="T49" fmla="*/ 3 h 1628"/>
                <a:gd name="T50" fmla="*/ 779 w 1082"/>
                <a:gd name="T51" fmla="*/ 27 h 1628"/>
                <a:gd name="T52" fmla="*/ 734 w 1082"/>
                <a:gd name="T53" fmla="*/ 458 h 1628"/>
                <a:gd name="T54" fmla="*/ 636 w 1082"/>
                <a:gd name="T55" fmla="*/ 933 h 1628"/>
                <a:gd name="T56" fmla="*/ 638 w 1082"/>
                <a:gd name="T57" fmla="*/ 937 h 1628"/>
                <a:gd name="T58" fmla="*/ 642 w 1082"/>
                <a:gd name="T59" fmla="*/ 938 h 1628"/>
                <a:gd name="T60" fmla="*/ 869 w 1082"/>
                <a:gd name="T61" fmla="*/ 800 h 1628"/>
                <a:gd name="T62" fmla="*/ 870 w 1082"/>
                <a:gd name="T63" fmla="*/ 799 h 1628"/>
                <a:gd name="T64" fmla="*/ 1039 w 1082"/>
                <a:gd name="T65" fmla="*/ 764 h 1628"/>
                <a:gd name="T66" fmla="*/ 1077 w 1082"/>
                <a:gd name="T67" fmla="*/ 804 h 1628"/>
                <a:gd name="T68" fmla="*/ 1065 w 1082"/>
                <a:gd name="T69" fmla="*/ 857 h 1628"/>
                <a:gd name="T70" fmla="*/ 941 w 1082"/>
                <a:gd name="T71" fmla="*/ 997 h 1628"/>
                <a:gd name="T72" fmla="*/ 872 w 1082"/>
                <a:gd name="T73" fmla="*/ 1058 h 1628"/>
                <a:gd name="T74" fmla="*/ 673 w 1082"/>
                <a:gd name="T75" fmla="*/ 1216 h 1628"/>
                <a:gd name="T76" fmla="*/ 445 w 1082"/>
                <a:gd name="T77" fmla="*/ 1381 h 1628"/>
                <a:gd name="T78" fmla="*/ 20 w 1082"/>
                <a:gd name="T79" fmla="*/ 1626 h 1628"/>
                <a:gd name="T80" fmla="*/ 14 w 1082"/>
                <a:gd name="T81" fmla="*/ 1628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82" h="1628">
                  <a:moveTo>
                    <a:pt x="14" y="1628"/>
                  </a:moveTo>
                  <a:cubicBezTo>
                    <a:pt x="9" y="1628"/>
                    <a:pt x="5" y="1626"/>
                    <a:pt x="3" y="1622"/>
                  </a:cubicBezTo>
                  <a:cubicBezTo>
                    <a:pt x="0" y="1616"/>
                    <a:pt x="2" y="1609"/>
                    <a:pt x="8" y="1606"/>
                  </a:cubicBezTo>
                  <a:cubicBezTo>
                    <a:pt x="433" y="1360"/>
                    <a:pt x="433" y="1360"/>
                    <a:pt x="433" y="1360"/>
                  </a:cubicBezTo>
                  <a:cubicBezTo>
                    <a:pt x="512" y="1314"/>
                    <a:pt x="589" y="1258"/>
                    <a:pt x="657" y="1198"/>
                  </a:cubicBezTo>
                  <a:cubicBezTo>
                    <a:pt x="723" y="1139"/>
                    <a:pt x="781" y="1093"/>
                    <a:pt x="858" y="1039"/>
                  </a:cubicBezTo>
                  <a:cubicBezTo>
                    <a:pt x="882" y="1022"/>
                    <a:pt x="904" y="1002"/>
                    <a:pt x="923" y="981"/>
                  </a:cubicBezTo>
                  <a:cubicBezTo>
                    <a:pt x="1047" y="841"/>
                    <a:pt x="1047" y="841"/>
                    <a:pt x="1047" y="841"/>
                  </a:cubicBezTo>
                  <a:cubicBezTo>
                    <a:pt x="1054" y="832"/>
                    <a:pt x="1057" y="821"/>
                    <a:pt x="1054" y="810"/>
                  </a:cubicBezTo>
                  <a:cubicBezTo>
                    <a:pt x="1051" y="799"/>
                    <a:pt x="1042" y="791"/>
                    <a:pt x="1032" y="787"/>
                  </a:cubicBezTo>
                  <a:cubicBezTo>
                    <a:pt x="993" y="775"/>
                    <a:pt x="934" y="776"/>
                    <a:pt x="886" y="817"/>
                  </a:cubicBezTo>
                  <a:cubicBezTo>
                    <a:pt x="842" y="862"/>
                    <a:pt x="734" y="932"/>
                    <a:pt x="650" y="960"/>
                  </a:cubicBezTo>
                  <a:cubicBezTo>
                    <a:pt x="640" y="963"/>
                    <a:pt x="630" y="962"/>
                    <a:pt x="623" y="956"/>
                  </a:cubicBezTo>
                  <a:cubicBezTo>
                    <a:pt x="615" y="949"/>
                    <a:pt x="611" y="940"/>
                    <a:pt x="612" y="930"/>
                  </a:cubicBezTo>
                  <a:cubicBezTo>
                    <a:pt x="628" y="781"/>
                    <a:pt x="661" y="624"/>
                    <a:pt x="710" y="452"/>
                  </a:cubicBezTo>
                  <a:cubicBezTo>
                    <a:pt x="758" y="287"/>
                    <a:pt x="801" y="110"/>
                    <a:pt x="758" y="40"/>
                  </a:cubicBezTo>
                  <a:cubicBezTo>
                    <a:pt x="753" y="30"/>
                    <a:pt x="742" y="25"/>
                    <a:pt x="731" y="27"/>
                  </a:cubicBezTo>
                  <a:cubicBezTo>
                    <a:pt x="720" y="29"/>
                    <a:pt x="711" y="37"/>
                    <a:pt x="709" y="48"/>
                  </a:cubicBezTo>
                  <a:cubicBezTo>
                    <a:pt x="657" y="266"/>
                    <a:pt x="605" y="411"/>
                    <a:pt x="525" y="625"/>
                  </a:cubicBezTo>
                  <a:cubicBezTo>
                    <a:pt x="524" y="630"/>
                    <a:pt x="519" y="634"/>
                    <a:pt x="514" y="634"/>
                  </a:cubicBezTo>
                  <a:cubicBezTo>
                    <a:pt x="507" y="634"/>
                    <a:pt x="502" y="628"/>
                    <a:pt x="502" y="622"/>
                  </a:cubicBezTo>
                  <a:cubicBezTo>
                    <a:pt x="502" y="620"/>
                    <a:pt x="502" y="619"/>
                    <a:pt x="503" y="618"/>
                  </a:cubicBezTo>
                  <a:cubicBezTo>
                    <a:pt x="503" y="617"/>
                    <a:pt x="503" y="617"/>
                    <a:pt x="503" y="617"/>
                  </a:cubicBezTo>
                  <a:cubicBezTo>
                    <a:pt x="582" y="404"/>
                    <a:pt x="634" y="259"/>
                    <a:pt x="685" y="42"/>
                  </a:cubicBezTo>
                  <a:cubicBezTo>
                    <a:pt x="690" y="22"/>
                    <a:pt x="707" y="6"/>
                    <a:pt x="727" y="3"/>
                  </a:cubicBezTo>
                  <a:cubicBezTo>
                    <a:pt x="748" y="0"/>
                    <a:pt x="768" y="9"/>
                    <a:pt x="779" y="27"/>
                  </a:cubicBezTo>
                  <a:cubicBezTo>
                    <a:pt x="826" y="105"/>
                    <a:pt x="785" y="280"/>
                    <a:pt x="734" y="458"/>
                  </a:cubicBezTo>
                  <a:cubicBezTo>
                    <a:pt x="684" y="629"/>
                    <a:pt x="652" y="785"/>
                    <a:pt x="636" y="933"/>
                  </a:cubicBezTo>
                  <a:cubicBezTo>
                    <a:pt x="636" y="934"/>
                    <a:pt x="636" y="936"/>
                    <a:pt x="638" y="937"/>
                  </a:cubicBezTo>
                  <a:cubicBezTo>
                    <a:pt x="639" y="938"/>
                    <a:pt x="640" y="938"/>
                    <a:pt x="642" y="938"/>
                  </a:cubicBezTo>
                  <a:cubicBezTo>
                    <a:pt x="723" y="910"/>
                    <a:pt x="827" y="843"/>
                    <a:pt x="869" y="800"/>
                  </a:cubicBezTo>
                  <a:cubicBezTo>
                    <a:pt x="869" y="800"/>
                    <a:pt x="869" y="799"/>
                    <a:pt x="870" y="799"/>
                  </a:cubicBezTo>
                  <a:cubicBezTo>
                    <a:pt x="926" y="751"/>
                    <a:pt x="994" y="750"/>
                    <a:pt x="1039" y="764"/>
                  </a:cubicBezTo>
                  <a:cubicBezTo>
                    <a:pt x="1058" y="770"/>
                    <a:pt x="1072" y="785"/>
                    <a:pt x="1077" y="804"/>
                  </a:cubicBezTo>
                  <a:cubicBezTo>
                    <a:pt x="1082" y="822"/>
                    <a:pt x="1077" y="842"/>
                    <a:pt x="1065" y="857"/>
                  </a:cubicBezTo>
                  <a:cubicBezTo>
                    <a:pt x="941" y="997"/>
                    <a:pt x="941" y="997"/>
                    <a:pt x="941" y="997"/>
                  </a:cubicBezTo>
                  <a:cubicBezTo>
                    <a:pt x="921" y="1020"/>
                    <a:pt x="897" y="1041"/>
                    <a:pt x="872" y="1058"/>
                  </a:cubicBezTo>
                  <a:cubicBezTo>
                    <a:pt x="795" y="1112"/>
                    <a:pt x="738" y="1158"/>
                    <a:pt x="673" y="1216"/>
                  </a:cubicBezTo>
                  <a:cubicBezTo>
                    <a:pt x="604" y="1277"/>
                    <a:pt x="525" y="1334"/>
                    <a:pt x="445" y="1381"/>
                  </a:cubicBezTo>
                  <a:cubicBezTo>
                    <a:pt x="20" y="1626"/>
                    <a:pt x="20" y="1626"/>
                    <a:pt x="20" y="1626"/>
                  </a:cubicBezTo>
                  <a:cubicBezTo>
                    <a:pt x="18" y="1627"/>
                    <a:pt x="16" y="1628"/>
                    <a:pt x="14" y="162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" name="Freeform 2230">
              <a:extLst>
                <a:ext uri="{FF2B5EF4-FFF2-40B4-BE49-F238E27FC236}">
                  <a16:creationId xmlns:a16="http://schemas.microsoft.com/office/drawing/2014/main" id="{29318FB6-58BC-4ED5-B4FB-0147D24130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6" y="3088"/>
              <a:ext cx="134" cy="174"/>
            </a:xfrm>
            <a:custGeom>
              <a:avLst/>
              <a:gdLst>
                <a:gd name="T0" fmla="*/ 346 w 486"/>
                <a:gd name="T1" fmla="*/ 631 h 631"/>
                <a:gd name="T2" fmla="*/ 237 w 486"/>
                <a:gd name="T3" fmla="*/ 598 h 631"/>
                <a:gd name="T4" fmla="*/ 70 w 486"/>
                <a:gd name="T5" fmla="*/ 421 h 631"/>
                <a:gd name="T6" fmla="*/ 0 w 486"/>
                <a:gd name="T7" fmla="*/ 188 h 631"/>
                <a:gd name="T8" fmla="*/ 74 w 486"/>
                <a:gd name="T9" fmla="*/ 28 h 631"/>
                <a:gd name="T10" fmla="*/ 249 w 486"/>
                <a:gd name="T11" fmla="*/ 44 h 631"/>
                <a:gd name="T12" fmla="*/ 419 w 486"/>
                <a:gd name="T13" fmla="*/ 224 h 631"/>
                <a:gd name="T14" fmla="*/ 486 w 486"/>
                <a:gd name="T15" fmla="*/ 454 h 631"/>
                <a:gd name="T16" fmla="*/ 413 w 486"/>
                <a:gd name="T17" fmla="*/ 614 h 631"/>
                <a:gd name="T18" fmla="*/ 346 w 486"/>
                <a:gd name="T19" fmla="*/ 631 h 631"/>
                <a:gd name="T20" fmla="*/ 86 w 486"/>
                <a:gd name="T21" fmla="*/ 49 h 631"/>
                <a:gd name="T22" fmla="*/ 24 w 486"/>
                <a:gd name="T23" fmla="*/ 188 h 631"/>
                <a:gd name="T24" fmla="*/ 90 w 486"/>
                <a:gd name="T25" fmla="*/ 409 h 631"/>
                <a:gd name="T26" fmla="*/ 249 w 486"/>
                <a:gd name="T27" fmla="*/ 577 h 631"/>
                <a:gd name="T28" fmla="*/ 401 w 486"/>
                <a:gd name="T29" fmla="*/ 593 h 631"/>
                <a:gd name="T30" fmla="*/ 462 w 486"/>
                <a:gd name="T31" fmla="*/ 454 h 631"/>
                <a:gd name="T32" fmla="*/ 398 w 486"/>
                <a:gd name="T33" fmla="*/ 236 h 631"/>
                <a:gd name="T34" fmla="*/ 237 w 486"/>
                <a:gd name="T35" fmla="*/ 65 h 631"/>
                <a:gd name="T36" fmla="*/ 86 w 486"/>
                <a:gd name="T37" fmla="*/ 49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6" h="631">
                  <a:moveTo>
                    <a:pt x="346" y="631"/>
                  </a:moveTo>
                  <a:cubicBezTo>
                    <a:pt x="313" y="631"/>
                    <a:pt x="275" y="620"/>
                    <a:pt x="237" y="598"/>
                  </a:cubicBezTo>
                  <a:cubicBezTo>
                    <a:pt x="174" y="561"/>
                    <a:pt x="114" y="499"/>
                    <a:pt x="70" y="421"/>
                  </a:cubicBezTo>
                  <a:cubicBezTo>
                    <a:pt x="25" y="344"/>
                    <a:pt x="0" y="261"/>
                    <a:pt x="0" y="188"/>
                  </a:cubicBezTo>
                  <a:cubicBezTo>
                    <a:pt x="0" y="112"/>
                    <a:pt x="27" y="55"/>
                    <a:pt x="74" y="28"/>
                  </a:cubicBezTo>
                  <a:cubicBezTo>
                    <a:pt x="121" y="0"/>
                    <a:pt x="184" y="6"/>
                    <a:pt x="249" y="44"/>
                  </a:cubicBezTo>
                  <a:cubicBezTo>
                    <a:pt x="314" y="81"/>
                    <a:pt x="374" y="145"/>
                    <a:pt x="419" y="224"/>
                  </a:cubicBezTo>
                  <a:cubicBezTo>
                    <a:pt x="462" y="301"/>
                    <a:pt x="486" y="382"/>
                    <a:pt x="486" y="454"/>
                  </a:cubicBezTo>
                  <a:cubicBezTo>
                    <a:pt x="486" y="530"/>
                    <a:pt x="460" y="587"/>
                    <a:pt x="413" y="614"/>
                  </a:cubicBezTo>
                  <a:cubicBezTo>
                    <a:pt x="393" y="626"/>
                    <a:pt x="370" y="631"/>
                    <a:pt x="346" y="631"/>
                  </a:cubicBezTo>
                  <a:close/>
                  <a:moveTo>
                    <a:pt x="86" y="49"/>
                  </a:moveTo>
                  <a:cubicBezTo>
                    <a:pt x="46" y="72"/>
                    <a:pt x="24" y="121"/>
                    <a:pt x="24" y="188"/>
                  </a:cubicBezTo>
                  <a:cubicBezTo>
                    <a:pt x="24" y="257"/>
                    <a:pt x="48" y="336"/>
                    <a:pt x="90" y="409"/>
                  </a:cubicBezTo>
                  <a:cubicBezTo>
                    <a:pt x="133" y="483"/>
                    <a:pt x="189" y="543"/>
                    <a:pt x="249" y="577"/>
                  </a:cubicBezTo>
                  <a:cubicBezTo>
                    <a:pt x="307" y="611"/>
                    <a:pt x="361" y="616"/>
                    <a:pt x="401" y="593"/>
                  </a:cubicBezTo>
                  <a:cubicBezTo>
                    <a:pt x="440" y="571"/>
                    <a:pt x="462" y="521"/>
                    <a:pt x="462" y="454"/>
                  </a:cubicBezTo>
                  <a:cubicBezTo>
                    <a:pt x="462" y="386"/>
                    <a:pt x="439" y="309"/>
                    <a:pt x="398" y="236"/>
                  </a:cubicBezTo>
                  <a:cubicBezTo>
                    <a:pt x="355" y="161"/>
                    <a:pt x="298" y="100"/>
                    <a:pt x="237" y="65"/>
                  </a:cubicBezTo>
                  <a:cubicBezTo>
                    <a:pt x="179" y="31"/>
                    <a:pt x="126" y="26"/>
                    <a:pt x="86" y="4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" name="Freeform 2231">
              <a:extLst>
                <a:ext uri="{FF2B5EF4-FFF2-40B4-BE49-F238E27FC236}">
                  <a16:creationId xmlns:a16="http://schemas.microsoft.com/office/drawing/2014/main" id="{94B75D9A-1264-4CC8-AE2C-DD536F556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4" y="3030"/>
              <a:ext cx="219" cy="228"/>
            </a:xfrm>
            <a:custGeom>
              <a:avLst/>
              <a:gdLst>
                <a:gd name="T0" fmla="*/ 341 w 793"/>
                <a:gd name="T1" fmla="*/ 826 h 826"/>
                <a:gd name="T2" fmla="*/ 330 w 793"/>
                <a:gd name="T3" fmla="*/ 820 h 826"/>
                <a:gd name="T4" fmla="*/ 335 w 793"/>
                <a:gd name="T5" fmla="*/ 803 h 826"/>
                <a:gd name="T6" fmla="*/ 707 w 793"/>
                <a:gd name="T7" fmla="*/ 588 h 826"/>
                <a:gd name="T8" fmla="*/ 766 w 793"/>
                <a:gd name="T9" fmla="*/ 491 h 826"/>
                <a:gd name="T10" fmla="*/ 769 w 793"/>
                <a:gd name="T11" fmla="*/ 449 h 826"/>
                <a:gd name="T12" fmla="*/ 705 w 793"/>
                <a:gd name="T13" fmla="*/ 231 h 826"/>
                <a:gd name="T14" fmla="*/ 544 w 793"/>
                <a:gd name="T15" fmla="*/ 59 h 826"/>
                <a:gd name="T16" fmla="*/ 508 w 793"/>
                <a:gd name="T17" fmla="*/ 42 h 826"/>
                <a:gd name="T18" fmla="*/ 393 w 793"/>
                <a:gd name="T19" fmla="*/ 43 h 826"/>
                <a:gd name="T20" fmla="*/ 20 w 793"/>
                <a:gd name="T21" fmla="*/ 259 h 826"/>
                <a:gd name="T22" fmla="*/ 4 w 793"/>
                <a:gd name="T23" fmla="*/ 254 h 826"/>
                <a:gd name="T24" fmla="*/ 8 w 793"/>
                <a:gd name="T25" fmla="*/ 238 h 826"/>
                <a:gd name="T26" fmla="*/ 381 w 793"/>
                <a:gd name="T27" fmla="*/ 23 h 826"/>
                <a:gd name="T28" fmla="*/ 517 w 793"/>
                <a:gd name="T29" fmla="*/ 20 h 826"/>
                <a:gd name="T30" fmla="*/ 556 w 793"/>
                <a:gd name="T31" fmla="*/ 39 h 826"/>
                <a:gd name="T32" fmla="*/ 726 w 793"/>
                <a:gd name="T33" fmla="*/ 219 h 826"/>
                <a:gd name="T34" fmla="*/ 793 w 793"/>
                <a:gd name="T35" fmla="*/ 449 h 826"/>
                <a:gd name="T36" fmla="*/ 789 w 793"/>
                <a:gd name="T37" fmla="*/ 495 h 826"/>
                <a:gd name="T38" fmla="*/ 719 w 793"/>
                <a:gd name="T39" fmla="*/ 609 h 826"/>
                <a:gd name="T40" fmla="*/ 347 w 793"/>
                <a:gd name="T41" fmla="*/ 824 h 826"/>
                <a:gd name="T42" fmla="*/ 341 w 793"/>
                <a:gd name="T43" fmla="*/ 826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93" h="826">
                  <a:moveTo>
                    <a:pt x="341" y="826"/>
                  </a:moveTo>
                  <a:cubicBezTo>
                    <a:pt x="336" y="826"/>
                    <a:pt x="332" y="824"/>
                    <a:pt x="330" y="820"/>
                  </a:cubicBezTo>
                  <a:cubicBezTo>
                    <a:pt x="327" y="814"/>
                    <a:pt x="329" y="807"/>
                    <a:pt x="335" y="803"/>
                  </a:cubicBezTo>
                  <a:cubicBezTo>
                    <a:pt x="707" y="588"/>
                    <a:pt x="707" y="588"/>
                    <a:pt x="707" y="588"/>
                  </a:cubicBezTo>
                  <a:cubicBezTo>
                    <a:pt x="738" y="571"/>
                    <a:pt x="758" y="537"/>
                    <a:pt x="766" y="491"/>
                  </a:cubicBezTo>
                  <a:cubicBezTo>
                    <a:pt x="768" y="478"/>
                    <a:pt x="769" y="464"/>
                    <a:pt x="769" y="449"/>
                  </a:cubicBezTo>
                  <a:cubicBezTo>
                    <a:pt x="769" y="381"/>
                    <a:pt x="746" y="303"/>
                    <a:pt x="705" y="231"/>
                  </a:cubicBezTo>
                  <a:cubicBezTo>
                    <a:pt x="662" y="156"/>
                    <a:pt x="605" y="95"/>
                    <a:pt x="544" y="59"/>
                  </a:cubicBezTo>
                  <a:cubicBezTo>
                    <a:pt x="532" y="52"/>
                    <a:pt x="519" y="46"/>
                    <a:pt x="508" y="42"/>
                  </a:cubicBezTo>
                  <a:cubicBezTo>
                    <a:pt x="464" y="25"/>
                    <a:pt x="424" y="25"/>
                    <a:pt x="393" y="43"/>
                  </a:cubicBezTo>
                  <a:cubicBezTo>
                    <a:pt x="20" y="259"/>
                    <a:pt x="20" y="259"/>
                    <a:pt x="20" y="259"/>
                  </a:cubicBezTo>
                  <a:cubicBezTo>
                    <a:pt x="14" y="262"/>
                    <a:pt x="7" y="260"/>
                    <a:pt x="4" y="254"/>
                  </a:cubicBezTo>
                  <a:cubicBezTo>
                    <a:pt x="0" y="249"/>
                    <a:pt x="2" y="241"/>
                    <a:pt x="8" y="238"/>
                  </a:cubicBezTo>
                  <a:cubicBezTo>
                    <a:pt x="381" y="23"/>
                    <a:pt x="381" y="23"/>
                    <a:pt x="381" y="23"/>
                  </a:cubicBezTo>
                  <a:cubicBezTo>
                    <a:pt x="418" y="1"/>
                    <a:pt x="465" y="0"/>
                    <a:pt x="517" y="20"/>
                  </a:cubicBezTo>
                  <a:cubicBezTo>
                    <a:pt x="529" y="24"/>
                    <a:pt x="542" y="31"/>
                    <a:pt x="556" y="39"/>
                  </a:cubicBezTo>
                  <a:cubicBezTo>
                    <a:pt x="621" y="76"/>
                    <a:pt x="681" y="140"/>
                    <a:pt x="726" y="219"/>
                  </a:cubicBezTo>
                  <a:cubicBezTo>
                    <a:pt x="769" y="295"/>
                    <a:pt x="793" y="377"/>
                    <a:pt x="793" y="449"/>
                  </a:cubicBezTo>
                  <a:cubicBezTo>
                    <a:pt x="793" y="465"/>
                    <a:pt x="792" y="480"/>
                    <a:pt x="789" y="495"/>
                  </a:cubicBezTo>
                  <a:cubicBezTo>
                    <a:pt x="781" y="548"/>
                    <a:pt x="757" y="588"/>
                    <a:pt x="719" y="609"/>
                  </a:cubicBezTo>
                  <a:cubicBezTo>
                    <a:pt x="347" y="824"/>
                    <a:pt x="347" y="824"/>
                    <a:pt x="347" y="824"/>
                  </a:cubicBezTo>
                  <a:cubicBezTo>
                    <a:pt x="345" y="825"/>
                    <a:pt x="343" y="826"/>
                    <a:pt x="341" y="8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" name="Freeform 2232">
              <a:extLst>
                <a:ext uri="{FF2B5EF4-FFF2-40B4-BE49-F238E27FC236}">
                  <a16:creationId xmlns:a16="http://schemas.microsoft.com/office/drawing/2014/main" id="{04C35642-C4A8-4246-9F7B-480C55694B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8" y="3580"/>
              <a:ext cx="347" cy="200"/>
            </a:xfrm>
            <a:custGeom>
              <a:avLst/>
              <a:gdLst>
                <a:gd name="T0" fmla="*/ 763 w 1256"/>
                <a:gd name="T1" fmla="*/ 0 h 725"/>
                <a:gd name="T2" fmla="*/ 1256 w 1256"/>
                <a:gd name="T3" fmla="*/ 285 h 725"/>
                <a:gd name="T4" fmla="*/ 493 w 1256"/>
                <a:gd name="T5" fmla="*/ 725 h 725"/>
                <a:gd name="T6" fmla="*/ 0 w 1256"/>
                <a:gd name="T7" fmla="*/ 441 h 725"/>
                <a:gd name="T8" fmla="*/ 763 w 1256"/>
                <a:gd name="T9" fmla="*/ 0 h 725"/>
                <a:gd name="T10" fmla="*/ 685 w 1256"/>
                <a:gd name="T11" fmla="*/ 447 h 725"/>
                <a:gd name="T12" fmla="*/ 624 w 1256"/>
                <a:gd name="T13" fmla="*/ 360 h 725"/>
                <a:gd name="T14" fmla="*/ 329 w 1256"/>
                <a:gd name="T15" fmla="*/ 360 h 725"/>
                <a:gd name="T16" fmla="*/ 329 w 1256"/>
                <a:gd name="T17" fmla="*/ 530 h 725"/>
                <a:gd name="T18" fmla="*/ 479 w 1256"/>
                <a:gd name="T19" fmla="*/ 566 h 725"/>
                <a:gd name="T20" fmla="*/ 624 w 1256"/>
                <a:gd name="T21" fmla="*/ 530 h 725"/>
                <a:gd name="T22" fmla="*/ 685 w 1256"/>
                <a:gd name="T23" fmla="*/ 447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6" h="725">
                  <a:moveTo>
                    <a:pt x="763" y="0"/>
                  </a:moveTo>
                  <a:cubicBezTo>
                    <a:pt x="1256" y="285"/>
                    <a:pt x="1256" y="285"/>
                    <a:pt x="1256" y="285"/>
                  </a:cubicBezTo>
                  <a:cubicBezTo>
                    <a:pt x="493" y="725"/>
                    <a:pt x="493" y="725"/>
                    <a:pt x="493" y="725"/>
                  </a:cubicBezTo>
                  <a:cubicBezTo>
                    <a:pt x="0" y="441"/>
                    <a:pt x="0" y="441"/>
                    <a:pt x="0" y="441"/>
                  </a:cubicBezTo>
                  <a:lnTo>
                    <a:pt x="763" y="0"/>
                  </a:lnTo>
                  <a:close/>
                  <a:moveTo>
                    <a:pt x="685" y="447"/>
                  </a:moveTo>
                  <a:cubicBezTo>
                    <a:pt x="686" y="416"/>
                    <a:pt x="665" y="384"/>
                    <a:pt x="624" y="360"/>
                  </a:cubicBezTo>
                  <a:cubicBezTo>
                    <a:pt x="542" y="313"/>
                    <a:pt x="410" y="313"/>
                    <a:pt x="329" y="360"/>
                  </a:cubicBezTo>
                  <a:cubicBezTo>
                    <a:pt x="248" y="407"/>
                    <a:pt x="248" y="483"/>
                    <a:pt x="329" y="530"/>
                  </a:cubicBezTo>
                  <a:cubicBezTo>
                    <a:pt x="370" y="554"/>
                    <a:pt x="425" y="566"/>
                    <a:pt x="479" y="566"/>
                  </a:cubicBezTo>
                  <a:cubicBezTo>
                    <a:pt x="532" y="565"/>
                    <a:pt x="584" y="554"/>
                    <a:pt x="624" y="530"/>
                  </a:cubicBezTo>
                  <a:cubicBezTo>
                    <a:pt x="664" y="507"/>
                    <a:pt x="684" y="477"/>
                    <a:pt x="685" y="4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" name="Freeform 2233">
              <a:extLst>
                <a:ext uri="{FF2B5EF4-FFF2-40B4-BE49-F238E27FC236}">
                  <a16:creationId xmlns:a16="http://schemas.microsoft.com/office/drawing/2014/main" id="{620C59FA-A0E2-4339-83A9-31E3CCBF64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70" y="3604"/>
              <a:ext cx="87" cy="50"/>
            </a:xfrm>
            <a:custGeom>
              <a:avLst/>
              <a:gdLst>
                <a:gd name="T0" fmla="*/ 219 w 315"/>
                <a:gd name="T1" fmla="*/ 28 h 182"/>
                <a:gd name="T2" fmla="*/ 315 w 315"/>
                <a:gd name="T3" fmla="*/ 83 h 182"/>
                <a:gd name="T4" fmla="*/ 143 w 315"/>
                <a:gd name="T5" fmla="*/ 182 h 182"/>
                <a:gd name="T6" fmla="*/ 47 w 315"/>
                <a:gd name="T7" fmla="*/ 127 h 182"/>
                <a:gd name="T8" fmla="*/ 47 w 315"/>
                <a:gd name="T9" fmla="*/ 28 h 182"/>
                <a:gd name="T10" fmla="*/ 219 w 315"/>
                <a:gd name="T11" fmla="*/ 28 h 182"/>
                <a:gd name="T12" fmla="*/ 172 w 315"/>
                <a:gd name="T13" fmla="*/ 61 h 182"/>
                <a:gd name="T14" fmla="*/ 105 w 315"/>
                <a:gd name="T15" fmla="*/ 61 h 182"/>
                <a:gd name="T16" fmla="*/ 105 w 315"/>
                <a:gd name="T17" fmla="*/ 99 h 182"/>
                <a:gd name="T18" fmla="*/ 172 w 315"/>
                <a:gd name="T19" fmla="*/ 99 h 182"/>
                <a:gd name="T20" fmla="*/ 172 w 315"/>
                <a:gd name="T21" fmla="*/ 6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5" h="182">
                  <a:moveTo>
                    <a:pt x="219" y="28"/>
                  </a:moveTo>
                  <a:cubicBezTo>
                    <a:pt x="315" y="83"/>
                    <a:pt x="315" y="83"/>
                    <a:pt x="315" y="83"/>
                  </a:cubicBezTo>
                  <a:cubicBezTo>
                    <a:pt x="143" y="182"/>
                    <a:pt x="143" y="182"/>
                    <a:pt x="143" y="182"/>
                  </a:cubicBezTo>
                  <a:cubicBezTo>
                    <a:pt x="47" y="127"/>
                    <a:pt x="47" y="127"/>
                    <a:pt x="47" y="127"/>
                  </a:cubicBezTo>
                  <a:cubicBezTo>
                    <a:pt x="0" y="100"/>
                    <a:pt x="0" y="55"/>
                    <a:pt x="47" y="28"/>
                  </a:cubicBezTo>
                  <a:cubicBezTo>
                    <a:pt x="95" y="0"/>
                    <a:pt x="172" y="0"/>
                    <a:pt x="219" y="28"/>
                  </a:cubicBezTo>
                  <a:close/>
                  <a:moveTo>
                    <a:pt x="172" y="61"/>
                  </a:moveTo>
                  <a:cubicBezTo>
                    <a:pt x="153" y="50"/>
                    <a:pt x="123" y="50"/>
                    <a:pt x="105" y="61"/>
                  </a:cubicBezTo>
                  <a:cubicBezTo>
                    <a:pt x="86" y="71"/>
                    <a:pt x="86" y="89"/>
                    <a:pt x="105" y="99"/>
                  </a:cubicBezTo>
                  <a:cubicBezTo>
                    <a:pt x="123" y="110"/>
                    <a:pt x="153" y="110"/>
                    <a:pt x="172" y="99"/>
                  </a:cubicBezTo>
                  <a:cubicBezTo>
                    <a:pt x="190" y="89"/>
                    <a:pt x="190" y="71"/>
                    <a:pt x="172" y="61"/>
                  </a:cubicBez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Freeform 2234">
              <a:extLst>
                <a:ext uri="{FF2B5EF4-FFF2-40B4-BE49-F238E27FC236}">
                  <a16:creationId xmlns:a16="http://schemas.microsoft.com/office/drawing/2014/main" id="{8CB13B75-3568-4194-9EDF-ADADB8233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6" y="3666"/>
              <a:ext cx="121" cy="70"/>
            </a:xfrm>
            <a:custGeom>
              <a:avLst/>
              <a:gdLst>
                <a:gd name="T0" fmla="*/ 376 w 438"/>
                <a:gd name="T1" fmla="*/ 47 h 253"/>
                <a:gd name="T2" fmla="*/ 437 w 438"/>
                <a:gd name="T3" fmla="*/ 134 h 253"/>
                <a:gd name="T4" fmla="*/ 269 w 438"/>
                <a:gd name="T5" fmla="*/ 132 h 253"/>
                <a:gd name="T6" fmla="*/ 269 w 438"/>
                <a:gd name="T7" fmla="*/ 132 h 253"/>
                <a:gd name="T8" fmla="*/ 255 w 438"/>
                <a:gd name="T9" fmla="*/ 108 h 253"/>
                <a:gd name="T10" fmla="*/ 186 w 438"/>
                <a:gd name="T11" fmla="*/ 108 h 253"/>
                <a:gd name="T12" fmla="*/ 186 w 438"/>
                <a:gd name="T13" fmla="*/ 148 h 253"/>
                <a:gd name="T14" fmla="*/ 228 w 438"/>
                <a:gd name="T15" fmla="*/ 156 h 253"/>
                <a:gd name="T16" fmla="*/ 231 w 438"/>
                <a:gd name="T17" fmla="*/ 253 h 253"/>
                <a:gd name="T18" fmla="*/ 81 w 438"/>
                <a:gd name="T19" fmla="*/ 217 h 253"/>
                <a:gd name="T20" fmla="*/ 81 w 438"/>
                <a:gd name="T21" fmla="*/ 47 h 253"/>
                <a:gd name="T22" fmla="*/ 376 w 438"/>
                <a:gd name="T23" fmla="*/ 4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8" h="253">
                  <a:moveTo>
                    <a:pt x="376" y="47"/>
                  </a:moveTo>
                  <a:cubicBezTo>
                    <a:pt x="417" y="71"/>
                    <a:pt x="438" y="103"/>
                    <a:pt x="437" y="134"/>
                  </a:cubicBezTo>
                  <a:cubicBezTo>
                    <a:pt x="368" y="122"/>
                    <a:pt x="304" y="127"/>
                    <a:pt x="269" y="132"/>
                  </a:cubicBezTo>
                  <a:cubicBezTo>
                    <a:pt x="269" y="132"/>
                    <a:pt x="269" y="132"/>
                    <a:pt x="269" y="132"/>
                  </a:cubicBezTo>
                  <a:cubicBezTo>
                    <a:pt x="271" y="123"/>
                    <a:pt x="267" y="114"/>
                    <a:pt x="255" y="108"/>
                  </a:cubicBezTo>
                  <a:cubicBezTo>
                    <a:pt x="236" y="97"/>
                    <a:pt x="205" y="97"/>
                    <a:pt x="186" y="108"/>
                  </a:cubicBezTo>
                  <a:cubicBezTo>
                    <a:pt x="167" y="119"/>
                    <a:pt x="167" y="137"/>
                    <a:pt x="186" y="148"/>
                  </a:cubicBezTo>
                  <a:cubicBezTo>
                    <a:pt x="197" y="155"/>
                    <a:pt x="213" y="157"/>
                    <a:pt x="228" y="156"/>
                  </a:cubicBezTo>
                  <a:cubicBezTo>
                    <a:pt x="220" y="176"/>
                    <a:pt x="211" y="213"/>
                    <a:pt x="231" y="253"/>
                  </a:cubicBezTo>
                  <a:cubicBezTo>
                    <a:pt x="177" y="253"/>
                    <a:pt x="122" y="241"/>
                    <a:pt x="81" y="217"/>
                  </a:cubicBezTo>
                  <a:cubicBezTo>
                    <a:pt x="0" y="170"/>
                    <a:pt x="0" y="94"/>
                    <a:pt x="81" y="47"/>
                  </a:cubicBezTo>
                  <a:cubicBezTo>
                    <a:pt x="162" y="0"/>
                    <a:pt x="294" y="0"/>
                    <a:pt x="376" y="47"/>
                  </a:cubicBez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Freeform 2235">
              <a:extLst>
                <a:ext uri="{FF2B5EF4-FFF2-40B4-BE49-F238E27FC236}">
                  <a16:creationId xmlns:a16="http://schemas.microsoft.com/office/drawing/2014/main" id="{AE8A7105-1E1F-46EA-A923-E887ECF06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" y="3700"/>
              <a:ext cx="63" cy="36"/>
            </a:xfrm>
            <a:custGeom>
              <a:avLst/>
              <a:gdLst>
                <a:gd name="T0" fmla="*/ 58 w 226"/>
                <a:gd name="T1" fmla="*/ 10 h 131"/>
                <a:gd name="T2" fmla="*/ 226 w 226"/>
                <a:gd name="T3" fmla="*/ 12 h 131"/>
                <a:gd name="T4" fmla="*/ 165 w 226"/>
                <a:gd name="T5" fmla="*/ 95 h 131"/>
                <a:gd name="T6" fmla="*/ 20 w 226"/>
                <a:gd name="T7" fmla="*/ 131 h 131"/>
                <a:gd name="T8" fmla="*/ 17 w 226"/>
                <a:gd name="T9" fmla="*/ 34 h 131"/>
                <a:gd name="T10" fmla="*/ 44 w 226"/>
                <a:gd name="T11" fmla="*/ 26 h 131"/>
                <a:gd name="T12" fmla="*/ 58 w 226"/>
                <a:gd name="T13" fmla="*/ 1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6" h="131">
                  <a:moveTo>
                    <a:pt x="58" y="10"/>
                  </a:moveTo>
                  <a:cubicBezTo>
                    <a:pt x="93" y="5"/>
                    <a:pt x="157" y="0"/>
                    <a:pt x="226" y="12"/>
                  </a:cubicBezTo>
                  <a:cubicBezTo>
                    <a:pt x="225" y="42"/>
                    <a:pt x="205" y="72"/>
                    <a:pt x="165" y="95"/>
                  </a:cubicBezTo>
                  <a:cubicBezTo>
                    <a:pt x="125" y="119"/>
                    <a:pt x="73" y="130"/>
                    <a:pt x="20" y="131"/>
                  </a:cubicBezTo>
                  <a:cubicBezTo>
                    <a:pt x="0" y="91"/>
                    <a:pt x="9" y="54"/>
                    <a:pt x="17" y="34"/>
                  </a:cubicBezTo>
                  <a:cubicBezTo>
                    <a:pt x="27" y="33"/>
                    <a:pt x="37" y="30"/>
                    <a:pt x="44" y="26"/>
                  </a:cubicBezTo>
                  <a:cubicBezTo>
                    <a:pt x="52" y="21"/>
                    <a:pt x="57" y="16"/>
                    <a:pt x="58" y="1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Freeform 2236">
              <a:extLst>
                <a:ext uri="{FF2B5EF4-FFF2-40B4-BE49-F238E27FC236}">
                  <a16:creationId xmlns:a16="http://schemas.microsoft.com/office/drawing/2014/main" id="{4E289DC0-13F0-42F3-B657-3906FDDA2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" y="3693"/>
              <a:ext cx="29" cy="16"/>
            </a:xfrm>
            <a:custGeom>
              <a:avLst/>
              <a:gdLst>
                <a:gd name="T0" fmla="*/ 88 w 104"/>
                <a:gd name="T1" fmla="*/ 11 h 60"/>
                <a:gd name="T2" fmla="*/ 102 w 104"/>
                <a:gd name="T3" fmla="*/ 35 h 60"/>
                <a:gd name="T4" fmla="*/ 88 w 104"/>
                <a:gd name="T5" fmla="*/ 51 h 60"/>
                <a:gd name="T6" fmla="*/ 61 w 104"/>
                <a:gd name="T7" fmla="*/ 59 h 60"/>
                <a:gd name="T8" fmla="*/ 19 w 104"/>
                <a:gd name="T9" fmla="*/ 51 h 60"/>
                <a:gd name="T10" fmla="*/ 19 w 104"/>
                <a:gd name="T11" fmla="*/ 11 h 60"/>
                <a:gd name="T12" fmla="*/ 88 w 104"/>
                <a:gd name="T13" fmla="*/ 1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60">
                  <a:moveTo>
                    <a:pt x="88" y="11"/>
                  </a:moveTo>
                  <a:cubicBezTo>
                    <a:pt x="100" y="17"/>
                    <a:pt x="104" y="26"/>
                    <a:pt x="102" y="35"/>
                  </a:cubicBezTo>
                  <a:cubicBezTo>
                    <a:pt x="101" y="41"/>
                    <a:pt x="96" y="46"/>
                    <a:pt x="88" y="51"/>
                  </a:cubicBezTo>
                  <a:cubicBezTo>
                    <a:pt x="81" y="55"/>
                    <a:pt x="71" y="58"/>
                    <a:pt x="61" y="59"/>
                  </a:cubicBezTo>
                  <a:cubicBezTo>
                    <a:pt x="46" y="60"/>
                    <a:pt x="30" y="58"/>
                    <a:pt x="19" y="51"/>
                  </a:cubicBezTo>
                  <a:cubicBezTo>
                    <a:pt x="0" y="40"/>
                    <a:pt x="0" y="22"/>
                    <a:pt x="19" y="11"/>
                  </a:cubicBezTo>
                  <a:cubicBezTo>
                    <a:pt x="38" y="0"/>
                    <a:pt x="69" y="0"/>
                    <a:pt x="88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7" name="Freeform 2237">
              <a:extLst>
                <a:ext uri="{FF2B5EF4-FFF2-40B4-BE49-F238E27FC236}">
                  <a16:creationId xmlns:a16="http://schemas.microsoft.com/office/drawing/2014/main" id="{6DF412C4-3D6B-41D7-B3CB-7590EA975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4" y="3576"/>
              <a:ext cx="354" cy="207"/>
            </a:xfrm>
            <a:custGeom>
              <a:avLst/>
              <a:gdLst>
                <a:gd name="T0" fmla="*/ 505 w 1280"/>
                <a:gd name="T1" fmla="*/ 749 h 749"/>
                <a:gd name="T2" fmla="*/ 499 w 1280"/>
                <a:gd name="T3" fmla="*/ 748 h 749"/>
                <a:gd name="T4" fmla="*/ 6 w 1280"/>
                <a:gd name="T5" fmla="*/ 463 h 749"/>
                <a:gd name="T6" fmla="*/ 0 w 1280"/>
                <a:gd name="T7" fmla="*/ 453 h 749"/>
                <a:gd name="T8" fmla="*/ 6 w 1280"/>
                <a:gd name="T9" fmla="*/ 442 h 749"/>
                <a:gd name="T10" fmla="*/ 769 w 1280"/>
                <a:gd name="T11" fmla="*/ 2 h 749"/>
                <a:gd name="T12" fmla="*/ 781 w 1280"/>
                <a:gd name="T13" fmla="*/ 2 h 749"/>
                <a:gd name="T14" fmla="*/ 1274 w 1280"/>
                <a:gd name="T15" fmla="*/ 286 h 749"/>
                <a:gd name="T16" fmla="*/ 1280 w 1280"/>
                <a:gd name="T17" fmla="*/ 297 h 749"/>
                <a:gd name="T18" fmla="*/ 1274 w 1280"/>
                <a:gd name="T19" fmla="*/ 307 h 749"/>
                <a:gd name="T20" fmla="*/ 511 w 1280"/>
                <a:gd name="T21" fmla="*/ 748 h 749"/>
                <a:gd name="T22" fmla="*/ 505 w 1280"/>
                <a:gd name="T23" fmla="*/ 749 h 749"/>
                <a:gd name="T24" fmla="*/ 36 w 1280"/>
                <a:gd name="T25" fmla="*/ 453 h 749"/>
                <a:gd name="T26" fmla="*/ 505 w 1280"/>
                <a:gd name="T27" fmla="*/ 724 h 749"/>
                <a:gd name="T28" fmla="*/ 1244 w 1280"/>
                <a:gd name="T29" fmla="*/ 297 h 749"/>
                <a:gd name="T30" fmla="*/ 775 w 1280"/>
                <a:gd name="T31" fmla="*/ 26 h 749"/>
                <a:gd name="T32" fmla="*/ 36 w 1280"/>
                <a:gd name="T33" fmla="*/ 453 h 749"/>
                <a:gd name="T34" fmla="*/ 480 w 1280"/>
                <a:gd name="T35" fmla="*/ 183 h 749"/>
                <a:gd name="T36" fmla="*/ 480 w 1280"/>
                <a:gd name="T37" fmla="*/ 183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80" h="749">
                  <a:moveTo>
                    <a:pt x="505" y="749"/>
                  </a:moveTo>
                  <a:cubicBezTo>
                    <a:pt x="503" y="749"/>
                    <a:pt x="501" y="749"/>
                    <a:pt x="499" y="748"/>
                  </a:cubicBezTo>
                  <a:cubicBezTo>
                    <a:pt x="6" y="463"/>
                    <a:pt x="6" y="463"/>
                    <a:pt x="6" y="463"/>
                  </a:cubicBezTo>
                  <a:cubicBezTo>
                    <a:pt x="2" y="461"/>
                    <a:pt x="0" y="457"/>
                    <a:pt x="0" y="453"/>
                  </a:cubicBezTo>
                  <a:cubicBezTo>
                    <a:pt x="0" y="448"/>
                    <a:pt x="2" y="444"/>
                    <a:pt x="6" y="442"/>
                  </a:cubicBezTo>
                  <a:cubicBezTo>
                    <a:pt x="769" y="2"/>
                    <a:pt x="769" y="2"/>
                    <a:pt x="769" y="2"/>
                  </a:cubicBezTo>
                  <a:cubicBezTo>
                    <a:pt x="773" y="0"/>
                    <a:pt x="778" y="0"/>
                    <a:pt x="781" y="2"/>
                  </a:cubicBezTo>
                  <a:cubicBezTo>
                    <a:pt x="1274" y="286"/>
                    <a:pt x="1274" y="286"/>
                    <a:pt x="1274" y="286"/>
                  </a:cubicBezTo>
                  <a:cubicBezTo>
                    <a:pt x="1278" y="289"/>
                    <a:pt x="1280" y="293"/>
                    <a:pt x="1280" y="297"/>
                  </a:cubicBezTo>
                  <a:cubicBezTo>
                    <a:pt x="1280" y="301"/>
                    <a:pt x="1278" y="305"/>
                    <a:pt x="1274" y="307"/>
                  </a:cubicBezTo>
                  <a:cubicBezTo>
                    <a:pt x="511" y="748"/>
                    <a:pt x="511" y="748"/>
                    <a:pt x="511" y="748"/>
                  </a:cubicBezTo>
                  <a:cubicBezTo>
                    <a:pt x="509" y="749"/>
                    <a:pt x="507" y="749"/>
                    <a:pt x="505" y="749"/>
                  </a:cubicBezTo>
                  <a:close/>
                  <a:moveTo>
                    <a:pt x="36" y="453"/>
                  </a:moveTo>
                  <a:cubicBezTo>
                    <a:pt x="505" y="724"/>
                    <a:pt x="505" y="724"/>
                    <a:pt x="505" y="724"/>
                  </a:cubicBezTo>
                  <a:cubicBezTo>
                    <a:pt x="1244" y="297"/>
                    <a:pt x="1244" y="297"/>
                    <a:pt x="1244" y="297"/>
                  </a:cubicBezTo>
                  <a:cubicBezTo>
                    <a:pt x="775" y="26"/>
                    <a:pt x="775" y="26"/>
                    <a:pt x="775" y="26"/>
                  </a:cubicBezTo>
                  <a:lnTo>
                    <a:pt x="36" y="453"/>
                  </a:lnTo>
                  <a:close/>
                  <a:moveTo>
                    <a:pt x="480" y="183"/>
                  </a:moveTo>
                  <a:cubicBezTo>
                    <a:pt x="480" y="183"/>
                    <a:pt x="480" y="183"/>
                    <a:pt x="480" y="18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8" name="Freeform 2238">
              <a:extLst>
                <a:ext uri="{FF2B5EF4-FFF2-40B4-BE49-F238E27FC236}">
                  <a16:creationId xmlns:a16="http://schemas.microsoft.com/office/drawing/2014/main" id="{B3EAA39C-75B2-4942-9AC4-95062299A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" y="3601"/>
              <a:ext cx="91" cy="57"/>
            </a:xfrm>
            <a:custGeom>
              <a:avLst/>
              <a:gdLst>
                <a:gd name="T0" fmla="*/ 143 w 328"/>
                <a:gd name="T1" fmla="*/ 206 h 206"/>
                <a:gd name="T2" fmla="*/ 137 w 328"/>
                <a:gd name="T3" fmla="*/ 204 h 206"/>
                <a:gd name="T4" fmla="*/ 41 w 328"/>
                <a:gd name="T5" fmla="*/ 149 h 206"/>
                <a:gd name="T6" fmla="*/ 0 w 328"/>
                <a:gd name="T7" fmla="*/ 89 h 206"/>
                <a:gd name="T8" fmla="*/ 41 w 328"/>
                <a:gd name="T9" fmla="*/ 29 h 206"/>
                <a:gd name="T10" fmla="*/ 225 w 328"/>
                <a:gd name="T11" fmla="*/ 29 h 206"/>
                <a:gd name="T12" fmla="*/ 321 w 328"/>
                <a:gd name="T13" fmla="*/ 84 h 206"/>
                <a:gd name="T14" fmla="*/ 325 w 328"/>
                <a:gd name="T15" fmla="*/ 101 h 206"/>
                <a:gd name="T16" fmla="*/ 309 w 328"/>
                <a:gd name="T17" fmla="*/ 105 h 206"/>
                <a:gd name="T18" fmla="*/ 213 w 328"/>
                <a:gd name="T19" fmla="*/ 50 h 206"/>
                <a:gd name="T20" fmla="*/ 53 w 328"/>
                <a:gd name="T21" fmla="*/ 50 h 206"/>
                <a:gd name="T22" fmla="*/ 24 w 328"/>
                <a:gd name="T23" fmla="*/ 89 h 206"/>
                <a:gd name="T24" fmla="*/ 53 w 328"/>
                <a:gd name="T25" fmla="*/ 129 h 206"/>
                <a:gd name="T26" fmla="*/ 149 w 328"/>
                <a:gd name="T27" fmla="*/ 184 h 206"/>
                <a:gd name="T28" fmla="*/ 153 w 328"/>
                <a:gd name="T29" fmla="*/ 200 h 206"/>
                <a:gd name="T30" fmla="*/ 143 w 328"/>
                <a:gd name="T31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8" h="206">
                  <a:moveTo>
                    <a:pt x="143" y="206"/>
                  </a:moveTo>
                  <a:cubicBezTo>
                    <a:pt x="141" y="206"/>
                    <a:pt x="139" y="206"/>
                    <a:pt x="137" y="204"/>
                  </a:cubicBezTo>
                  <a:cubicBezTo>
                    <a:pt x="41" y="149"/>
                    <a:pt x="41" y="149"/>
                    <a:pt x="41" y="149"/>
                  </a:cubicBezTo>
                  <a:cubicBezTo>
                    <a:pt x="15" y="134"/>
                    <a:pt x="0" y="113"/>
                    <a:pt x="0" y="89"/>
                  </a:cubicBezTo>
                  <a:cubicBezTo>
                    <a:pt x="0" y="66"/>
                    <a:pt x="15" y="45"/>
                    <a:pt x="41" y="29"/>
                  </a:cubicBezTo>
                  <a:cubicBezTo>
                    <a:pt x="93" y="0"/>
                    <a:pt x="174" y="0"/>
                    <a:pt x="225" y="29"/>
                  </a:cubicBezTo>
                  <a:cubicBezTo>
                    <a:pt x="321" y="84"/>
                    <a:pt x="321" y="84"/>
                    <a:pt x="321" y="84"/>
                  </a:cubicBezTo>
                  <a:cubicBezTo>
                    <a:pt x="326" y="88"/>
                    <a:pt x="328" y="95"/>
                    <a:pt x="325" y="101"/>
                  </a:cubicBezTo>
                  <a:cubicBezTo>
                    <a:pt x="322" y="107"/>
                    <a:pt x="314" y="109"/>
                    <a:pt x="309" y="105"/>
                  </a:cubicBezTo>
                  <a:cubicBezTo>
                    <a:pt x="213" y="50"/>
                    <a:pt x="213" y="50"/>
                    <a:pt x="213" y="50"/>
                  </a:cubicBezTo>
                  <a:cubicBezTo>
                    <a:pt x="169" y="25"/>
                    <a:pt x="97" y="25"/>
                    <a:pt x="53" y="50"/>
                  </a:cubicBezTo>
                  <a:cubicBezTo>
                    <a:pt x="34" y="61"/>
                    <a:pt x="24" y="75"/>
                    <a:pt x="24" y="89"/>
                  </a:cubicBezTo>
                  <a:cubicBezTo>
                    <a:pt x="24" y="104"/>
                    <a:pt x="34" y="118"/>
                    <a:pt x="53" y="129"/>
                  </a:cubicBezTo>
                  <a:cubicBezTo>
                    <a:pt x="149" y="184"/>
                    <a:pt x="149" y="184"/>
                    <a:pt x="149" y="184"/>
                  </a:cubicBezTo>
                  <a:cubicBezTo>
                    <a:pt x="155" y="187"/>
                    <a:pt x="157" y="194"/>
                    <a:pt x="153" y="200"/>
                  </a:cubicBezTo>
                  <a:cubicBezTo>
                    <a:pt x="151" y="204"/>
                    <a:pt x="147" y="206"/>
                    <a:pt x="143" y="20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Freeform 2239">
              <a:extLst>
                <a:ext uri="{FF2B5EF4-FFF2-40B4-BE49-F238E27FC236}">
                  <a16:creationId xmlns:a16="http://schemas.microsoft.com/office/drawing/2014/main" id="{FF88E3AE-74C5-40BA-BDD6-A0B890179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2" y="3614"/>
              <a:ext cx="32" cy="23"/>
            </a:xfrm>
            <a:custGeom>
              <a:avLst/>
              <a:gdLst>
                <a:gd name="T0" fmla="*/ 59 w 118"/>
                <a:gd name="T1" fmla="*/ 81 h 81"/>
                <a:gd name="T2" fmla="*/ 20 w 118"/>
                <a:gd name="T3" fmla="*/ 72 h 81"/>
                <a:gd name="T4" fmla="*/ 0 w 118"/>
                <a:gd name="T5" fmla="*/ 42 h 81"/>
                <a:gd name="T6" fmla="*/ 20 w 118"/>
                <a:gd name="T7" fmla="*/ 12 h 81"/>
                <a:gd name="T8" fmla="*/ 99 w 118"/>
                <a:gd name="T9" fmla="*/ 12 h 81"/>
                <a:gd name="T10" fmla="*/ 118 w 118"/>
                <a:gd name="T11" fmla="*/ 42 h 81"/>
                <a:gd name="T12" fmla="*/ 99 w 118"/>
                <a:gd name="T13" fmla="*/ 72 h 81"/>
                <a:gd name="T14" fmla="*/ 59 w 118"/>
                <a:gd name="T15" fmla="*/ 81 h 81"/>
                <a:gd name="T16" fmla="*/ 59 w 118"/>
                <a:gd name="T17" fmla="*/ 27 h 81"/>
                <a:gd name="T18" fmla="*/ 32 w 118"/>
                <a:gd name="T19" fmla="*/ 33 h 81"/>
                <a:gd name="T20" fmla="*/ 24 w 118"/>
                <a:gd name="T21" fmla="*/ 42 h 81"/>
                <a:gd name="T22" fmla="*/ 32 w 118"/>
                <a:gd name="T23" fmla="*/ 51 h 81"/>
                <a:gd name="T24" fmla="*/ 87 w 118"/>
                <a:gd name="T25" fmla="*/ 51 h 81"/>
                <a:gd name="T26" fmla="*/ 94 w 118"/>
                <a:gd name="T27" fmla="*/ 42 h 81"/>
                <a:gd name="T28" fmla="*/ 87 w 118"/>
                <a:gd name="T29" fmla="*/ 33 h 81"/>
                <a:gd name="T30" fmla="*/ 59 w 118"/>
                <a:gd name="T31" fmla="*/ 2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81">
                  <a:moveTo>
                    <a:pt x="59" y="81"/>
                  </a:moveTo>
                  <a:cubicBezTo>
                    <a:pt x="45" y="81"/>
                    <a:pt x="31" y="78"/>
                    <a:pt x="20" y="72"/>
                  </a:cubicBezTo>
                  <a:cubicBezTo>
                    <a:pt x="7" y="65"/>
                    <a:pt x="0" y="54"/>
                    <a:pt x="0" y="42"/>
                  </a:cubicBezTo>
                  <a:cubicBezTo>
                    <a:pt x="0" y="31"/>
                    <a:pt x="7" y="20"/>
                    <a:pt x="20" y="12"/>
                  </a:cubicBezTo>
                  <a:cubicBezTo>
                    <a:pt x="42" y="0"/>
                    <a:pt x="76" y="0"/>
                    <a:pt x="99" y="12"/>
                  </a:cubicBezTo>
                  <a:cubicBezTo>
                    <a:pt x="111" y="20"/>
                    <a:pt x="118" y="31"/>
                    <a:pt x="118" y="42"/>
                  </a:cubicBezTo>
                  <a:cubicBezTo>
                    <a:pt x="118" y="54"/>
                    <a:pt x="111" y="65"/>
                    <a:pt x="99" y="72"/>
                  </a:cubicBezTo>
                  <a:cubicBezTo>
                    <a:pt x="87" y="78"/>
                    <a:pt x="73" y="81"/>
                    <a:pt x="59" y="81"/>
                  </a:cubicBezTo>
                  <a:close/>
                  <a:moveTo>
                    <a:pt x="59" y="27"/>
                  </a:moveTo>
                  <a:cubicBezTo>
                    <a:pt x="49" y="27"/>
                    <a:pt x="39" y="29"/>
                    <a:pt x="32" y="33"/>
                  </a:cubicBezTo>
                  <a:cubicBezTo>
                    <a:pt x="27" y="36"/>
                    <a:pt x="24" y="39"/>
                    <a:pt x="24" y="42"/>
                  </a:cubicBezTo>
                  <a:cubicBezTo>
                    <a:pt x="24" y="45"/>
                    <a:pt x="27" y="48"/>
                    <a:pt x="32" y="51"/>
                  </a:cubicBezTo>
                  <a:cubicBezTo>
                    <a:pt x="46" y="59"/>
                    <a:pt x="72" y="59"/>
                    <a:pt x="87" y="51"/>
                  </a:cubicBezTo>
                  <a:cubicBezTo>
                    <a:pt x="91" y="48"/>
                    <a:pt x="94" y="45"/>
                    <a:pt x="94" y="42"/>
                  </a:cubicBezTo>
                  <a:cubicBezTo>
                    <a:pt x="94" y="39"/>
                    <a:pt x="91" y="36"/>
                    <a:pt x="87" y="33"/>
                  </a:cubicBezTo>
                  <a:cubicBezTo>
                    <a:pt x="79" y="29"/>
                    <a:pt x="69" y="27"/>
                    <a:pt x="59" y="2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0" name="Freeform 2240">
              <a:extLst>
                <a:ext uri="{FF2B5EF4-FFF2-40B4-BE49-F238E27FC236}">
                  <a16:creationId xmlns:a16="http://schemas.microsoft.com/office/drawing/2014/main" id="{D5F6488D-0B99-41E3-A80B-7CA2B80D88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8" y="3663"/>
              <a:ext cx="122" cy="76"/>
            </a:xfrm>
            <a:custGeom>
              <a:avLst/>
              <a:gdLst>
                <a:gd name="T0" fmla="*/ 220 w 442"/>
                <a:gd name="T1" fmla="*/ 277 h 277"/>
                <a:gd name="T2" fmla="*/ 67 w 442"/>
                <a:gd name="T3" fmla="*/ 240 h 277"/>
                <a:gd name="T4" fmla="*/ 0 w 442"/>
                <a:gd name="T5" fmla="*/ 144 h 277"/>
                <a:gd name="T6" fmla="*/ 67 w 442"/>
                <a:gd name="T7" fmla="*/ 49 h 277"/>
                <a:gd name="T8" fmla="*/ 374 w 442"/>
                <a:gd name="T9" fmla="*/ 49 h 277"/>
                <a:gd name="T10" fmla="*/ 441 w 442"/>
                <a:gd name="T11" fmla="*/ 146 h 277"/>
                <a:gd name="T12" fmla="*/ 374 w 442"/>
                <a:gd name="T13" fmla="*/ 240 h 277"/>
                <a:gd name="T14" fmla="*/ 223 w 442"/>
                <a:gd name="T15" fmla="*/ 277 h 277"/>
                <a:gd name="T16" fmla="*/ 220 w 442"/>
                <a:gd name="T17" fmla="*/ 277 h 277"/>
                <a:gd name="T18" fmla="*/ 220 w 442"/>
                <a:gd name="T19" fmla="*/ 36 h 277"/>
                <a:gd name="T20" fmla="*/ 79 w 442"/>
                <a:gd name="T21" fmla="*/ 70 h 277"/>
                <a:gd name="T22" fmla="*/ 24 w 442"/>
                <a:gd name="T23" fmla="*/ 144 h 277"/>
                <a:gd name="T24" fmla="*/ 79 w 442"/>
                <a:gd name="T25" fmla="*/ 219 h 277"/>
                <a:gd name="T26" fmla="*/ 223 w 442"/>
                <a:gd name="T27" fmla="*/ 253 h 277"/>
                <a:gd name="T28" fmla="*/ 362 w 442"/>
                <a:gd name="T29" fmla="*/ 219 h 277"/>
                <a:gd name="T30" fmla="*/ 417 w 442"/>
                <a:gd name="T31" fmla="*/ 146 h 277"/>
                <a:gd name="T32" fmla="*/ 362 w 442"/>
                <a:gd name="T33" fmla="*/ 70 h 277"/>
                <a:gd name="T34" fmla="*/ 220 w 442"/>
                <a:gd name="T35" fmla="*/ 3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2" h="277">
                  <a:moveTo>
                    <a:pt x="220" y="277"/>
                  </a:moveTo>
                  <a:cubicBezTo>
                    <a:pt x="163" y="277"/>
                    <a:pt x="108" y="264"/>
                    <a:pt x="67" y="240"/>
                  </a:cubicBezTo>
                  <a:cubicBezTo>
                    <a:pt x="24" y="215"/>
                    <a:pt x="0" y="181"/>
                    <a:pt x="0" y="144"/>
                  </a:cubicBezTo>
                  <a:cubicBezTo>
                    <a:pt x="0" y="108"/>
                    <a:pt x="24" y="74"/>
                    <a:pt x="67" y="49"/>
                  </a:cubicBezTo>
                  <a:cubicBezTo>
                    <a:pt x="152" y="0"/>
                    <a:pt x="289" y="0"/>
                    <a:pt x="374" y="49"/>
                  </a:cubicBezTo>
                  <a:cubicBezTo>
                    <a:pt x="418" y="74"/>
                    <a:pt x="442" y="109"/>
                    <a:pt x="441" y="146"/>
                  </a:cubicBezTo>
                  <a:cubicBezTo>
                    <a:pt x="440" y="182"/>
                    <a:pt x="416" y="215"/>
                    <a:pt x="374" y="240"/>
                  </a:cubicBezTo>
                  <a:cubicBezTo>
                    <a:pt x="333" y="263"/>
                    <a:pt x="280" y="276"/>
                    <a:pt x="223" y="277"/>
                  </a:cubicBezTo>
                  <a:cubicBezTo>
                    <a:pt x="222" y="277"/>
                    <a:pt x="221" y="277"/>
                    <a:pt x="220" y="277"/>
                  </a:cubicBezTo>
                  <a:close/>
                  <a:moveTo>
                    <a:pt x="220" y="36"/>
                  </a:moveTo>
                  <a:cubicBezTo>
                    <a:pt x="169" y="36"/>
                    <a:pt x="118" y="47"/>
                    <a:pt x="79" y="70"/>
                  </a:cubicBezTo>
                  <a:cubicBezTo>
                    <a:pt x="43" y="90"/>
                    <a:pt x="24" y="117"/>
                    <a:pt x="24" y="144"/>
                  </a:cubicBezTo>
                  <a:cubicBezTo>
                    <a:pt x="24" y="172"/>
                    <a:pt x="43" y="199"/>
                    <a:pt x="79" y="219"/>
                  </a:cubicBezTo>
                  <a:cubicBezTo>
                    <a:pt x="117" y="241"/>
                    <a:pt x="169" y="253"/>
                    <a:pt x="223" y="253"/>
                  </a:cubicBezTo>
                  <a:cubicBezTo>
                    <a:pt x="276" y="252"/>
                    <a:pt x="325" y="240"/>
                    <a:pt x="362" y="219"/>
                  </a:cubicBezTo>
                  <a:cubicBezTo>
                    <a:pt x="397" y="199"/>
                    <a:pt x="416" y="173"/>
                    <a:pt x="417" y="146"/>
                  </a:cubicBezTo>
                  <a:cubicBezTo>
                    <a:pt x="418" y="118"/>
                    <a:pt x="398" y="91"/>
                    <a:pt x="362" y="70"/>
                  </a:cubicBezTo>
                  <a:cubicBezTo>
                    <a:pt x="323" y="47"/>
                    <a:pt x="272" y="36"/>
                    <a:pt x="220" y="3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1" name="Freeform 2241">
              <a:extLst>
                <a:ext uri="{FF2B5EF4-FFF2-40B4-BE49-F238E27FC236}">
                  <a16:creationId xmlns:a16="http://schemas.microsoft.com/office/drawing/2014/main" id="{7AA982D2-D8B2-4AB0-B780-F15B0DAAD9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0" y="3689"/>
              <a:ext cx="35" cy="24"/>
            </a:xfrm>
            <a:custGeom>
              <a:avLst/>
              <a:gdLst>
                <a:gd name="T0" fmla="*/ 62 w 125"/>
                <a:gd name="T1" fmla="*/ 84 h 84"/>
                <a:gd name="T2" fmla="*/ 21 w 125"/>
                <a:gd name="T3" fmla="*/ 74 h 84"/>
                <a:gd name="T4" fmla="*/ 0 w 125"/>
                <a:gd name="T5" fmla="*/ 44 h 84"/>
                <a:gd name="T6" fmla="*/ 21 w 125"/>
                <a:gd name="T7" fmla="*/ 13 h 84"/>
                <a:gd name="T8" fmla="*/ 102 w 125"/>
                <a:gd name="T9" fmla="*/ 13 h 84"/>
                <a:gd name="T10" fmla="*/ 122 w 125"/>
                <a:gd name="T11" fmla="*/ 51 h 84"/>
                <a:gd name="T12" fmla="*/ 122 w 125"/>
                <a:gd name="T13" fmla="*/ 51 h 84"/>
                <a:gd name="T14" fmla="*/ 102 w 125"/>
                <a:gd name="T15" fmla="*/ 74 h 84"/>
                <a:gd name="T16" fmla="*/ 70 w 125"/>
                <a:gd name="T17" fmla="*/ 84 h 84"/>
                <a:gd name="T18" fmla="*/ 62 w 125"/>
                <a:gd name="T19" fmla="*/ 84 h 84"/>
                <a:gd name="T20" fmla="*/ 62 w 125"/>
                <a:gd name="T21" fmla="*/ 27 h 84"/>
                <a:gd name="T22" fmla="*/ 33 w 125"/>
                <a:gd name="T23" fmla="*/ 34 h 84"/>
                <a:gd name="T24" fmla="*/ 24 w 125"/>
                <a:gd name="T25" fmla="*/ 44 h 84"/>
                <a:gd name="T26" fmla="*/ 33 w 125"/>
                <a:gd name="T27" fmla="*/ 54 h 84"/>
                <a:gd name="T28" fmla="*/ 68 w 125"/>
                <a:gd name="T29" fmla="*/ 60 h 84"/>
                <a:gd name="T30" fmla="*/ 90 w 125"/>
                <a:gd name="T31" fmla="*/ 54 h 84"/>
                <a:gd name="T32" fmla="*/ 98 w 125"/>
                <a:gd name="T33" fmla="*/ 45 h 84"/>
                <a:gd name="T34" fmla="*/ 90 w 125"/>
                <a:gd name="T35" fmla="*/ 34 h 84"/>
                <a:gd name="T36" fmla="*/ 62 w 125"/>
                <a:gd name="T37" fmla="*/ 27 h 84"/>
                <a:gd name="T38" fmla="*/ 110 w 125"/>
                <a:gd name="T39" fmla="*/ 48 h 84"/>
                <a:gd name="T40" fmla="*/ 110 w 125"/>
                <a:gd name="T4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5" h="84">
                  <a:moveTo>
                    <a:pt x="62" y="84"/>
                  </a:moveTo>
                  <a:cubicBezTo>
                    <a:pt x="46" y="84"/>
                    <a:pt x="32" y="81"/>
                    <a:pt x="21" y="74"/>
                  </a:cubicBezTo>
                  <a:cubicBezTo>
                    <a:pt x="8" y="67"/>
                    <a:pt x="0" y="56"/>
                    <a:pt x="0" y="44"/>
                  </a:cubicBezTo>
                  <a:cubicBezTo>
                    <a:pt x="0" y="32"/>
                    <a:pt x="8" y="21"/>
                    <a:pt x="21" y="13"/>
                  </a:cubicBezTo>
                  <a:cubicBezTo>
                    <a:pt x="44" y="0"/>
                    <a:pt x="80" y="0"/>
                    <a:pt x="102" y="13"/>
                  </a:cubicBezTo>
                  <a:cubicBezTo>
                    <a:pt x="118" y="22"/>
                    <a:pt x="125" y="37"/>
                    <a:pt x="122" y="51"/>
                  </a:cubicBezTo>
                  <a:cubicBezTo>
                    <a:pt x="122" y="51"/>
                    <a:pt x="122" y="51"/>
                    <a:pt x="122" y="51"/>
                  </a:cubicBezTo>
                  <a:cubicBezTo>
                    <a:pt x="119" y="60"/>
                    <a:pt x="113" y="68"/>
                    <a:pt x="102" y="74"/>
                  </a:cubicBezTo>
                  <a:cubicBezTo>
                    <a:pt x="93" y="79"/>
                    <a:pt x="82" y="83"/>
                    <a:pt x="70" y="84"/>
                  </a:cubicBezTo>
                  <a:cubicBezTo>
                    <a:pt x="67" y="84"/>
                    <a:pt x="64" y="84"/>
                    <a:pt x="62" y="84"/>
                  </a:cubicBezTo>
                  <a:close/>
                  <a:moveTo>
                    <a:pt x="62" y="27"/>
                  </a:moveTo>
                  <a:cubicBezTo>
                    <a:pt x="51" y="27"/>
                    <a:pt x="41" y="30"/>
                    <a:pt x="33" y="34"/>
                  </a:cubicBezTo>
                  <a:cubicBezTo>
                    <a:pt x="28" y="37"/>
                    <a:pt x="24" y="41"/>
                    <a:pt x="24" y="44"/>
                  </a:cubicBezTo>
                  <a:cubicBezTo>
                    <a:pt x="24" y="47"/>
                    <a:pt x="28" y="51"/>
                    <a:pt x="33" y="54"/>
                  </a:cubicBezTo>
                  <a:cubicBezTo>
                    <a:pt x="42" y="59"/>
                    <a:pt x="55" y="61"/>
                    <a:pt x="68" y="60"/>
                  </a:cubicBezTo>
                  <a:cubicBezTo>
                    <a:pt x="77" y="59"/>
                    <a:pt x="84" y="57"/>
                    <a:pt x="90" y="54"/>
                  </a:cubicBezTo>
                  <a:cubicBezTo>
                    <a:pt x="95" y="51"/>
                    <a:pt x="98" y="48"/>
                    <a:pt x="98" y="45"/>
                  </a:cubicBezTo>
                  <a:cubicBezTo>
                    <a:pt x="100" y="40"/>
                    <a:pt x="93" y="35"/>
                    <a:pt x="90" y="34"/>
                  </a:cubicBezTo>
                  <a:cubicBezTo>
                    <a:pt x="83" y="30"/>
                    <a:pt x="72" y="27"/>
                    <a:pt x="62" y="27"/>
                  </a:cubicBezTo>
                  <a:close/>
                  <a:moveTo>
                    <a:pt x="110" y="48"/>
                  </a:moveTo>
                  <a:cubicBezTo>
                    <a:pt x="110" y="48"/>
                    <a:pt x="110" y="48"/>
                    <a:pt x="110" y="4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2" name="Freeform 2242">
              <a:extLst>
                <a:ext uri="{FF2B5EF4-FFF2-40B4-BE49-F238E27FC236}">
                  <a16:creationId xmlns:a16="http://schemas.microsoft.com/office/drawing/2014/main" id="{D964BF9B-EDE7-46E5-98C5-86EB04852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1" y="3705"/>
              <a:ext cx="13" cy="34"/>
            </a:xfrm>
            <a:custGeom>
              <a:avLst/>
              <a:gdLst>
                <a:gd name="T0" fmla="*/ 33 w 47"/>
                <a:gd name="T1" fmla="*/ 123 h 123"/>
                <a:gd name="T2" fmla="*/ 23 w 47"/>
                <a:gd name="T3" fmla="*/ 116 h 123"/>
                <a:gd name="T4" fmla="*/ 19 w 47"/>
                <a:gd name="T5" fmla="*/ 9 h 123"/>
                <a:gd name="T6" fmla="*/ 35 w 47"/>
                <a:gd name="T7" fmla="*/ 3 h 123"/>
                <a:gd name="T8" fmla="*/ 41 w 47"/>
                <a:gd name="T9" fmla="*/ 18 h 123"/>
                <a:gd name="T10" fmla="*/ 44 w 47"/>
                <a:gd name="T11" fmla="*/ 105 h 123"/>
                <a:gd name="T12" fmla="*/ 39 w 47"/>
                <a:gd name="T13" fmla="*/ 121 h 123"/>
                <a:gd name="T14" fmla="*/ 33 w 47"/>
                <a:gd name="T15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123">
                  <a:moveTo>
                    <a:pt x="33" y="123"/>
                  </a:moveTo>
                  <a:cubicBezTo>
                    <a:pt x="29" y="123"/>
                    <a:pt x="25" y="120"/>
                    <a:pt x="23" y="116"/>
                  </a:cubicBezTo>
                  <a:cubicBezTo>
                    <a:pt x="0" y="71"/>
                    <a:pt x="11" y="30"/>
                    <a:pt x="19" y="9"/>
                  </a:cubicBezTo>
                  <a:cubicBezTo>
                    <a:pt x="21" y="3"/>
                    <a:pt x="28" y="0"/>
                    <a:pt x="35" y="3"/>
                  </a:cubicBezTo>
                  <a:cubicBezTo>
                    <a:pt x="41" y="5"/>
                    <a:pt x="44" y="12"/>
                    <a:pt x="41" y="18"/>
                  </a:cubicBezTo>
                  <a:cubicBezTo>
                    <a:pt x="34" y="35"/>
                    <a:pt x="25" y="69"/>
                    <a:pt x="44" y="105"/>
                  </a:cubicBezTo>
                  <a:cubicBezTo>
                    <a:pt x="47" y="111"/>
                    <a:pt x="45" y="118"/>
                    <a:pt x="39" y="121"/>
                  </a:cubicBezTo>
                  <a:cubicBezTo>
                    <a:pt x="37" y="122"/>
                    <a:pt x="35" y="123"/>
                    <a:pt x="33" y="12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3" name="Freeform 2243">
              <a:extLst>
                <a:ext uri="{FF2B5EF4-FFF2-40B4-BE49-F238E27FC236}">
                  <a16:creationId xmlns:a16="http://schemas.microsoft.com/office/drawing/2014/main" id="{77AD8CEA-A9DD-4776-992E-5935EB18F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7" y="3696"/>
              <a:ext cx="53" cy="10"/>
            </a:xfrm>
            <a:custGeom>
              <a:avLst/>
              <a:gdLst>
                <a:gd name="T0" fmla="*/ 181 w 194"/>
                <a:gd name="T1" fmla="*/ 36 h 36"/>
                <a:gd name="T2" fmla="*/ 179 w 194"/>
                <a:gd name="T3" fmla="*/ 36 h 36"/>
                <a:gd name="T4" fmla="*/ 15 w 194"/>
                <a:gd name="T5" fmla="*/ 34 h 36"/>
                <a:gd name="T6" fmla="*/ 1 w 194"/>
                <a:gd name="T7" fmla="*/ 24 h 36"/>
                <a:gd name="T8" fmla="*/ 12 w 194"/>
                <a:gd name="T9" fmla="*/ 10 h 36"/>
                <a:gd name="T10" fmla="*/ 183 w 194"/>
                <a:gd name="T11" fmla="*/ 12 h 36"/>
                <a:gd name="T12" fmla="*/ 193 w 194"/>
                <a:gd name="T13" fmla="*/ 26 h 36"/>
                <a:gd name="T14" fmla="*/ 181 w 194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36">
                  <a:moveTo>
                    <a:pt x="181" y="36"/>
                  </a:moveTo>
                  <a:cubicBezTo>
                    <a:pt x="180" y="36"/>
                    <a:pt x="180" y="36"/>
                    <a:pt x="179" y="36"/>
                  </a:cubicBezTo>
                  <a:cubicBezTo>
                    <a:pt x="110" y="24"/>
                    <a:pt x="47" y="30"/>
                    <a:pt x="15" y="34"/>
                  </a:cubicBezTo>
                  <a:cubicBezTo>
                    <a:pt x="8" y="35"/>
                    <a:pt x="2" y="30"/>
                    <a:pt x="1" y="24"/>
                  </a:cubicBezTo>
                  <a:cubicBezTo>
                    <a:pt x="0" y="17"/>
                    <a:pt x="5" y="11"/>
                    <a:pt x="12" y="10"/>
                  </a:cubicBezTo>
                  <a:cubicBezTo>
                    <a:pt x="45" y="6"/>
                    <a:pt x="111" y="0"/>
                    <a:pt x="183" y="12"/>
                  </a:cubicBezTo>
                  <a:cubicBezTo>
                    <a:pt x="189" y="13"/>
                    <a:pt x="194" y="19"/>
                    <a:pt x="193" y="26"/>
                  </a:cubicBezTo>
                  <a:cubicBezTo>
                    <a:pt x="192" y="32"/>
                    <a:pt x="187" y="36"/>
                    <a:pt x="181" y="3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Freeform 2244">
              <a:extLst>
                <a:ext uri="{FF2B5EF4-FFF2-40B4-BE49-F238E27FC236}">
                  <a16:creationId xmlns:a16="http://schemas.microsoft.com/office/drawing/2014/main" id="{516F664B-A534-4F65-A2B6-BDC9609D1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4" y="3614"/>
              <a:ext cx="64" cy="40"/>
            </a:xfrm>
            <a:custGeom>
              <a:avLst/>
              <a:gdLst>
                <a:gd name="T0" fmla="*/ 14 w 232"/>
                <a:gd name="T1" fmla="*/ 144 h 144"/>
                <a:gd name="T2" fmla="*/ 3 w 232"/>
                <a:gd name="T3" fmla="*/ 138 h 144"/>
                <a:gd name="T4" fmla="*/ 8 w 232"/>
                <a:gd name="T5" fmla="*/ 121 h 144"/>
                <a:gd name="T6" fmla="*/ 212 w 232"/>
                <a:gd name="T7" fmla="*/ 3 h 144"/>
                <a:gd name="T8" fmla="*/ 229 w 232"/>
                <a:gd name="T9" fmla="*/ 7 h 144"/>
                <a:gd name="T10" fmla="*/ 224 w 232"/>
                <a:gd name="T11" fmla="*/ 24 h 144"/>
                <a:gd name="T12" fmla="*/ 20 w 232"/>
                <a:gd name="T13" fmla="*/ 142 h 144"/>
                <a:gd name="T14" fmla="*/ 14 w 232"/>
                <a:gd name="T15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44">
                  <a:moveTo>
                    <a:pt x="14" y="144"/>
                  </a:moveTo>
                  <a:cubicBezTo>
                    <a:pt x="9" y="144"/>
                    <a:pt x="5" y="142"/>
                    <a:pt x="3" y="138"/>
                  </a:cubicBezTo>
                  <a:cubicBezTo>
                    <a:pt x="0" y="132"/>
                    <a:pt x="2" y="125"/>
                    <a:pt x="8" y="121"/>
                  </a:cubicBezTo>
                  <a:cubicBezTo>
                    <a:pt x="212" y="3"/>
                    <a:pt x="212" y="3"/>
                    <a:pt x="212" y="3"/>
                  </a:cubicBezTo>
                  <a:cubicBezTo>
                    <a:pt x="218" y="0"/>
                    <a:pt x="226" y="2"/>
                    <a:pt x="229" y="7"/>
                  </a:cubicBezTo>
                  <a:cubicBezTo>
                    <a:pt x="232" y="13"/>
                    <a:pt x="230" y="21"/>
                    <a:pt x="224" y="24"/>
                  </a:cubicBezTo>
                  <a:cubicBezTo>
                    <a:pt x="20" y="142"/>
                    <a:pt x="20" y="142"/>
                    <a:pt x="20" y="142"/>
                  </a:cubicBezTo>
                  <a:cubicBezTo>
                    <a:pt x="18" y="143"/>
                    <a:pt x="16" y="144"/>
                    <a:pt x="14" y="14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Freeform 2245">
              <a:extLst>
                <a:ext uri="{FF2B5EF4-FFF2-40B4-BE49-F238E27FC236}">
                  <a16:creationId xmlns:a16="http://schemas.microsoft.com/office/drawing/2014/main" id="{C64FF5BC-CDDF-4507-9D0C-2B8CF8F7F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1" y="3636"/>
              <a:ext cx="44" cy="28"/>
            </a:xfrm>
            <a:custGeom>
              <a:avLst/>
              <a:gdLst>
                <a:gd name="T0" fmla="*/ 14 w 157"/>
                <a:gd name="T1" fmla="*/ 101 h 101"/>
                <a:gd name="T2" fmla="*/ 3 w 157"/>
                <a:gd name="T3" fmla="*/ 95 h 101"/>
                <a:gd name="T4" fmla="*/ 8 w 157"/>
                <a:gd name="T5" fmla="*/ 78 h 101"/>
                <a:gd name="T6" fmla="*/ 137 w 157"/>
                <a:gd name="T7" fmla="*/ 4 h 101"/>
                <a:gd name="T8" fmla="*/ 153 w 157"/>
                <a:gd name="T9" fmla="*/ 8 h 101"/>
                <a:gd name="T10" fmla="*/ 149 w 157"/>
                <a:gd name="T11" fmla="*/ 25 h 101"/>
                <a:gd name="T12" fmla="*/ 20 w 157"/>
                <a:gd name="T13" fmla="*/ 99 h 101"/>
                <a:gd name="T14" fmla="*/ 14 w 157"/>
                <a:gd name="T1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" h="101">
                  <a:moveTo>
                    <a:pt x="14" y="101"/>
                  </a:moveTo>
                  <a:cubicBezTo>
                    <a:pt x="10" y="101"/>
                    <a:pt x="6" y="99"/>
                    <a:pt x="3" y="95"/>
                  </a:cubicBezTo>
                  <a:cubicBezTo>
                    <a:pt x="0" y="89"/>
                    <a:pt x="2" y="82"/>
                    <a:pt x="8" y="78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43" y="0"/>
                    <a:pt x="150" y="2"/>
                    <a:pt x="153" y="8"/>
                  </a:cubicBezTo>
                  <a:cubicBezTo>
                    <a:pt x="157" y="14"/>
                    <a:pt x="155" y="21"/>
                    <a:pt x="149" y="25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18" y="100"/>
                    <a:pt x="16" y="101"/>
                    <a:pt x="14" y="10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6" name="Freeform 2246">
              <a:extLst>
                <a:ext uri="{FF2B5EF4-FFF2-40B4-BE49-F238E27FC236}">
                  <a16:creationId xmlns:a16="http://schemas.microsoft.com/office/drawing/2014/main" id="{88CEE5B0-AE1B-458F-A12F-1C954F35C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" y="3624"/>
              <a:ext cx="17" cy="13"/>
            </a:xfrm>
            <a:custGeom>
              <a:avLst/>
              <a:gdLst>
                <a:gd name="T0" fmla="*/ 13 w 61"/>
                <a:gd name="T1" fmla="*/ 45 h 45"/>
                <a:gd name="T2" fmla="*/ 3 w 61"/>
                <a:gd name="T3" fmla="*/ 39 h 45"/>
                <a:gd name="T4" fmla="*/ 7 w 61"/>
                <a:gd name="T5" fmla="*/ 22 h 45"/>
                <a:gd name="T6" fmla="*/ 41 w 61"/>
                <a:gd name="T7" fmla="*/ 3 h 45"/>
                <a:gd name="T8" fmla="*/ 57 w 61"/>
                <a:gd name="T9" fmla="*/ 7 h 45"/>
                <a:gd name="T10" fmla="*/ 53 w 61"/>
                <a:gd name="T11" fmla="*/ 24 h 45"/>
                <a:gd name="T12" fmla="*/ 19 w 61"/>
                <a:gd name="T13" fmla="*/ 43 h 45"/>
                <a:gd name="T14" fmla="*/ 13 w 61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45">
                  <a:moveTo>
                    <a:pt x="13" y="45"/>
                  </a:moveTo>
                  <a:cubicBezTo>
                    <a:pt x="9" y="45"/>
                    <a:pt x="5" y="43"/>
                    <a:pt x="3" y="39"/>
                  </a:cubicBezTo>
                  <a:cubicBezTo>
                    <a:pt x="0" y="33"/>
                    <a:pt x="2" y="26"/>
                    <a:pt x="7" y="22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7" y="0"/>
                    <a:pt x="54" y="2"/>
                    <a:pt x="57" y="7"/>
                  </a:cubicBezTo>
                  <a:cubicBezTo>
                    <a:pt x="61" y="13"/>
                    <a:pt x="59" y="21"/>
                    <a:pt x="53" y="24"/>
                  </a:cubicBezTo>
                  <a:cubicBezTo>
                    <a:pt x="19" y="43"/>
                    <a:pt x="19" y="43"/>
                    <a:pt x="19" y="43"/>
                  </a:cubicBezTo>
                  <a:cubicBezTo>
                    <a:pt x="17" y="44"/>
                    <a:pt x="15" y="45"/>
                    <a:pt x="13" y="4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Freeform 2247">
              <a:extLst>
                <a:ext uri="{FF2B5EF4-FFF2-40B4-BE49-F238E27FC236}">
                  <a16:creationId xmlns:a16="http://schemas.microsoft.com/office/drawing/2014/main" id="{12C10176-AF5C-4696-841E-1BC316B8D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9" y="3634"/>
              <a:ext cx="64" cy="40"/>
            </a:xfrm>
            <a:custGeom>
              <a:avLst/>
              <a:gdLst>
                <a:gd name="T0" fmla="*/ 13 w 232"/>
                <a:gd name="T1" fmla="*/ 144 h 144"/>
                <a:gd name="T2" fmla="*/ 3 w 232"/>
                <a:gd name="T3" fmla="*/ 138 h 144"/>
                <a:gd name="T4" fmla="*/ 7 w 232"/>
                <a:gd name="T5" fmla="*/ 121 h 144"/>
                <a:gd name="T6" fmla="*/ 212 w 232"/>
                <a:gd name="T7" fmla="*/ 3 h 144"/>
                <a:gd name="T8" fmla="*/ 229 w 232"/>
                <a:gd name="T9" fmla="*/ 7 h 144"/>
                <a:gd name="T10" fmla="*/ 224 w 232"/>
                <a:gd name="T11" fmla="*/ 24 h 144"/>
                <a:gd name="T12" fmla="*/ 19 w 232"/>
                <a:gd name="T13" fmla="*/ 142 h 144"/>
                <a:gd name="T14" fmla="*/ 13 w 232"/>
                <a:gd name="T15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44">
                  <a:moveTo>
                    <a:pt x="13" y="144"/>
                  </a:moveTo>
                  <a:cubicBezTo>
                    <a:pt x="9" y="144"/>
                    <a:pt x="5" y="142"/>
                    <a:pt x="3" y="138"/>
                  </a:cubicBezTo>
                  <a:cubicBezTo>
                    <a:pt x="0" y="132"/>
                    <a:pt x="2" y="125"/>
                    <a:pt x="7" y="121"/>
                  </a:cubicBezTo>
                  <a:cubicBezTo>
                    <a:pt x="212" y="3"/>
                    <a:pt x="212" y="3"/>
                    <a:pt x="212" y="3"/>
                  </a:cubicBezTo>
                  <a:cubicBezTo>
                    <a:pt x="218" y="0"/>
                    <a:pt x="225" y="2"/>
                    <a:pt x="229" y="7"/>
                  </a:cubicBezTo>
                  <a:cubicBezTo>
                    <a:pt x="232" y="13"/>
                    <a:pt x="230" y="21"/>
                    <a:pt x="224" y="24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17" y="143"/>
                    <a:pt x="15" y="144"/>
                    <a:pt x="13" y="14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8" name="Freeform 2248">
              <a:extLst>
                <a:ext uri="{FF2B5EF4-FFF2-40B4-BE49-F238E27FC236}">
                  <a16:creationId xmlns:a16="http://schemas.microsoft.com/office/drawing/2014/main" id="{D764F9FC-3C04-4E79-B649-F28162EB2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6" y="3666"/>
              <a:ext cx="25" cy="18"/>
            </a:xfrm>
            <a:custGeom>
              <a:avLst/>
              <a:gdLst>
                <a:gd name="T0" fmla="*/ 14 w 92"/>
                <a:gd name="T1" fmla="*/ 63 h 63"/>
                <a:gd name="T2" fmla="*/ 3 w 92"/>
                <a:gd name="T3" fmla="*/ 57 h 63"/>
                <a:gd name="T4" fmla="*/ 8 w 92"/>
                <a:gd name="T5" fmla="*/ 40 h 63"/>
                <a:gd name="T6" fmla="*/ 72 w 92"/>
                <a:gd name="T7" fmla="*/ 3 h 63"/>
                <a:gd name="T8" fmla="*/ 88 w 92"/>
                <a:gd name="T9" fmla="*/ 8 h 63"/>
                <a:gd name="T10" fmla="*/ 84 w 92"/>
                <a:gd name="T11" fmla="*/ 24 h 63"/>
                <a:gd name="T12" fmla="*/ 20 w 92"/>
                <a:gd name="T13" fmla="*/ 61 h 63"/>
                <a:gd name="T14" fmla="*/ 14 w 92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63">
                  <a:moveTo>
                    <a:pt x="14" y="63"/>
                  </a:moveTo>
                  <a:cubicBezTo>
                    <a:pt x="9" y="63"/>
                    <a:pt x="5" y="61"/>
                    <a:pt x="3" y="57"/>
                  </a:cubicBezTo>
                  <a:cubicBezTo>
                    <a:pt x="0" y="51"/>
                    <a:pt x="2" y="44"/>
                    <a:pt x="8" y="40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8" y="0"/>
                    <a:pt x="85" y="2"/>
                    <a:pt x="88" y="8"/>
                  </a:cubicBezTo>
                  <a:cubicBezTo>
                    <a:pt x="92" y="13"/>
                    <a:pt x="90" y="21"/>
                    <a:pt x="84" y="24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8" y="62"/>
                    <a:pt x="16" y="63"/>
                    <a:pt x="14" y="6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9" name="Freeform 2249">
              <a:extLst>
                <a:ext uri="{FF2B5EF4-FFF2-40B4-BE49-F238E27FC236}">
                  <a16:creationId xmlns:a16="http://schemas.microsoft.com/office/drawing/2014/main" id="{E71479B0-49A2-494E-83B4-E6AE8017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3" y="3644"/>
              <a:ext cx="37" cy="24"/>
            </a:xfrm>
            <a:custGeom>
              <a:avLst/>
              <a:gdLst>
                <a:gd name="T0" fmla="*/ 14 w 133"/>
                <a:gd name="T1" fmla="*/ 86 h 86"/>
                <a:gd name="T2" fmla="*/ 4 w 133"/>
                <a:gd name="T3" fmla="*/ 80 h 86"/>
                <a:gd name="T4" fmla="*/ 8 w 133"/>
                <a:gd name="T5" fmla="*/ 64 h 86"/>
                <a:gd name="T6" fmla="*/ 114 w 133"/>
                <a:gd name="T7" fmla="*/ 3 h 86"/>
                <a:gd name="T8" fmla="*/ 130 w 133"/>
                <a:gd name="T9" fmla="*/ 7 h 86"/>
                <a:gd name="T10" fmla="*/ 126 w 133"/>
                <a:gd name="T11" fmla="*/ 24 h 86"/>
                <a:gd name="T12" fmla="*/ 20 w 133"/>
                <a:gd name="T13" fmla="*/ 85 h 86"/>
                <a:gd name="T14" fmla="*/ 14 w 133"/>
                <a:gd name="T1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86">
                  <a:moveTo>
                    <a:pt x="14" y="86"/>
                  </a:moveTo>
                  <a:cubicBezTo>
                    <a:pt x="10" y="86"/>
                    <a:pt x="6" y="84"/>
                    <a:pt x="4" y="80"/>
                  </a:cubicBezTo>
                  <a:cubicBezTo>
                    <a:pt x="0" y="75"/>
                    <a:pt x="2" y="67"/>
                    <a:pt x="8" y="6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9" y="0"/>
                    <a:pt x="127" y="2"/>
                    <a:pt x="130" y="7"/>
                  </a:cubicBezTo>
                  <a:cubicBezTo>
                    <a:pt x="133" y="13"/>
                    <a:pt x="131" y="21"/>
                    <a:pt x="126" y="24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18" y="86"/>
                    <a:pt x="16" y="86"/>
                    <a:pt x="14" y="8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0" name="Freeform 2250">
              <a:extLst>
                <a:ext uri="{FF2B5EF4-FFF2-40B4-BE49-F238E27FC236}">
                  <a16:creationId xmlns:a16="http://schemas.microsoft.com/office/drawing/2014/main" id="{C5744131-D58F-4DE6-8951-6EC515F76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5" y="3738"/>
              <a:ext cx="187" cy="142"/>
            </a:xfrm>
            <a:custGeom>
              <a:avLst/>
              <a:gdLst>
                <a:gd name="T0" fmla="*/ 654 w 676"/>
                <a:gd name="T1" fmla="*/ 74 h 514"/>
                <a:gd name="T2" fmla="*/ 676 w 676"/>
                <a:gd name="T3" fmla="*/ 150 h 514"/>
                <a:gd name="T4" fmla="*/ 653 w 676"/>
                <a:gd name="T5" fmla="*/ 201 h 514"/>
                <a:gd name="T6" fmla="*/ 112 w 676"/>
                <a:gd name="T7" fmla="*/ 514 h 514"/>
                <a:gd name="T8" fmla="*/ 135 w 676"/>
                <a:gd name="T9" fmla="*/ 463 h 514"/>
                <a:gd name="T10" fmla="*/ 112 w 676"/>
                <a:gd name="T11" fmla="*/ 386 h 514"/>
                <a:gd name="T12" fmla="*/ 56 w 676"/>
                <a:gd name="T13" fmla="*/ 326 h 514"/>
                <a:gd name="T14" fmla="*/ 0 w 676"/>
                <a:gd name="T15" fmla="*/ 321 h 514"/>
                <a:gd name="T16" fmla="*/ 541 w 676"/>
                <a:gd name="T17" fmla="*/ 8 h 514"/>
                <a:gd name="T18" fmla="*/ 597 w 676"/>
                <a:gd name="T19" fmla="*/ 14 h 514"/>
                <a:gd name="T20" fmla="*/ 654 w 676"/>
                <a:gd name="T21" fmla="*/ 7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6" h="514">
                  <a:moveTo>
                    <a:pt x="654" y="74"/>
                  </a:moveTo>
                  <a:cubicBezTo>
                    <a:pt x="667" y="98"/>
                    <a:pt x="676" y="126"/>
                    <a:pt x="676" y="150"/>
                  </a:cubicBezTo>
                  <a:cubicBezTo>
                    <a:pt x="676" y="175"/>
                    <a:pt x="667" y="193"/>
                    <a:pt x="653" y="201"/>
                  </a:cubicBezTo>
                  <a:cubicBezTo>
                    <a:pt x="112" y="514"/>
                    <a:pt x="112" y="514"/>
                    <a:pt x="112" y="514"/>
                  </a:cubicBezTo>
                  <a:cubicBezTo>
                    <a:pt x="126" y="505"/>
                    <a:pt x="135" y="488"/>
                    <a:pt x="135" y="463"/>
                  </a:cubicBezTo>
                  <a:cubicBezTo>
                    <a:pt x="135" y="438"/>
                    <a:pt x="126" y="411"/>
                    <a:pt x="112" y="386"/>
                  </a:cubicBezTo>
                  <a:cubicBezTo>
                    <a:pt x="98" y="361"/>
                    <a:pt x="78" y="339"/>
                    <a:pt x="56" y="326"/>
                  </a:cubicBezTo>
                  <a:cubicBezTo>
                    <a:pt x="34" y="314"/>
                    <a:pt x="15" y="312"/>
                    <a:pt x="0" y="321"/>
                  </a:cubicBezTo>
                  <a:cubicBezTo>
                    <a:pt x="541" y="8"/>
                    <a:pt x="541" y="8"/>
                    <a:pt x="541" y="8"/>
                  </a:cubicBezTo>
                  <a:cubicBezTo>
                    <a:pt x="556" y="0"/>
                    <a:pt x="575" y="1"/>
                    <a:pt x="597" y="14"/>
                  </a:cubicBezTo>
                  <a:cubicBezTo>
                    <a:pt x="619" y="27"/>
                    <a:pt x="639" y="49"/>
                    <a:pt x="654" y="74"/>
                  </a:cubicBez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Freeform 2251">
              <a:extLst>
                <a:ext uri="{FF2B5EF4-FFF2-40B4-BE49-F238E27FC236}">
                  <a16:creationId xmlns:a16="http://schemas.microsoft.com/office/drawing/2014/main" id="{D80A5C01-CE19-45C4-860B-D42EAA024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" y="3824"/>
              <a:ext cx="44" cy="58"/>
            </a:xfrm>
            <a:custGeom>
              <a:avLst/>
              <a:gdLst>
                <a:gd name="T0" fmla="*/ 135 w 158"/>
                <a:gd name="T1" fmla="*/ 74 h 210"/>
                <a:gd name="T2" fmla="*/ 158 w 158"/>
                <a:gd name="T3" fmla="*/ 151 h 210"/>
                <a:gd name="T4" fmla="*/ 135 w 158"/>
                <a:gd name="T5" fmla="*/ 202 h 210"/>
                <a:gd name="T6" fmla="*/ 79 w 158"/>
                <a:gd name="T7" fmla="*/ 196 h 210"/>
                <a:gd name="T8" fmla="*/ 23 w 158"/>
                <a:gd name="T9" fmla="*/ 137 h 210"/>
                <a:gd name="T10" fmla="*/ 0 w 158"/>
                <a:gd name="T11" fmla="*/ 60 h 210"/>
                <a:gd name="T12" fmla="*/ 23 w 158"/>
                <a:gd name="T13" fmla="*/ 9 h 210"/>
                <a:gd name="T14" fmla="*/ 79 w 158"/>
                <a:gd name="T15" fmla="*/ 14 h 210"/>
                <a:gd name="T16" fmla="*/ 135 w 158"/>
                <a:gd name="T17" fmla="*/ 7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210">
                  <a:moveTo>
                    <a:pt x="135" y="74"/>
                  </a:moveTo>
                  <a:cubicBezTo>
                    <a:pt x="149" y="99"/>
                    <a:pt x="158" y="126"/>
                    <a:pt x="158" y="151"/>
                  </a:cubicBezTo>
                  <a:cubicBezTo>
                    <a:pt x="158" y="176"/>
                    <a:pt x="149" y="193"/>
                    <a:pt x="135" y="202"/>
                  </a:cubicBezTo>
                  <a:cubicBezTo>
                    <a:pt x="120" y="210"/>
                    <a:pt x="101" y="209"/>
                    <a:pt x="79" y="196"/>
                  </a:cubicBezTo>
                  <a:cubicBezTo>
                    <a:pt x="57" y="184"/>
                    <a:pt x="37" y="162"/>
                    <a:pt x="23" y="137"/>
                  </a:cubicBezTo>
                  <a:cubicBezTo>
                    <a:pt x="9" y="113"/>
                    <a:pt x="0" y="85"/>
                    <a:pt x="0" y="60"/>
                  </a:cubicBezTo>
                  <a:cubicBezTo>
                    <a:pt x="0" y="35"/>
                    <a:pt x="9" y="17"/>
                    <a:pt x="23" y="9"/>
                  </a:cubicBezTo>
                  <a:cubicBezTo>
                    <a:pt x="38" y="0"/>
                    <a:pt x="57" y="2"/>
                    <a:pt x="79" y="14"/>
                  </a:cubicBezTo>
                  <a:cubicBezTo>
                    <a:pt x="101" y="27"/>
                    <a:pt x="121" y="49"/>
                    <a:pt x="135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Freeform 2252">
              <a:extLst>
                <a:ext uri="{FF2B5EF4-FFF2-40B4-BE49-F238E27FC236}">
                  <a16:creationId xmlns:a16="http://schemas.microsoft.com/office/drawing/2014/main" id="{2FA5037C-95AB-44B7-94D9-CE72486988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6" y="3821"/>
              <a:ext cx="50" cy="64"/>
            </a:xfrm>
            <a:custGeom>
              <a:avLst/>
              <a:gdLst>
                <a:gd name="T0" fmla="*/ 126 w 182"/>
                <a:gd name="T1" fmla="*/ 232 h 232"/>
                <a:gd name="T2" fmla="*/ 85 w 182"/>
                <a:gd name="T3" fmla="*/ 220 h 232"/>
                <a:gd name="T4" fmla="*/ 25 w 182"/>
                <a:gd name="T5" fmla="*/ 156 h 232"/>
                <a:gd name="T6" fmla="*/ 0 w 182"/>
                <a:gd name="T7" fmla="*/ 73 h 232"/>
                <a:gd name="T8" fmla="*/ 29 w 182"/>
                <a:gd name="T9" fmla="*/ 11 h 232"/>
                <a:gd name="T10" fmla="*/ 97 w 182"/>
                <a:gd name="T11" fmla="*/ 17 h 232"/>
                <a:gd name="T12" fmla="*/ 158 w 182"/>
                <a:gd name="T13" fmla="*/ 81 h 232"/>
                <a:gd name="T14" fmla="*/ 182 w 182"/>
                <a:gd name="T15" fmla="*/ 164 h 232"/>
                <a:gd name="T16" fmla="*/ 153 w 182"/>
                <a:gd name="T17" fmla="*/ 225 h 232"/>
                <a:gd name="T18" fmla="*/ 126 w 182"/>
                <a:gd name="T19" fmla="*/ 232 h 232"/>
                <a:gd name="T20" fmla="*/ 56 w 182"/>
                <a:gd name="T21" fmla="*/ 28 h 232"/>
                <a:gd name="T22" fmla="*/ 41 w 182"/>
                <a:gd name="T23" fmla="*/ 32 h 232"/>
                <a:gd name="T24" fmla="*/ 24 w 182"/>
                <a:gd name="T25" fmla="*/ 73 h 232"/>
                <a:gd name="T26" fmla="*/ 46 w 182"/>
                <a:gd name="T27" fmla="*/ 144 h 232"/>
                <a:gd name="T28" fmla="*/ 97 w 182"/>
                <a:gd name="T29" fmla="*/ 199 h 232"/>
                <a:gd name="T30" fmla="*/ 141 w 182"/>
                <a:gd name="T31" fmla="*/ 204 h 232"/>
                <a:gd name="T32" fmla="*/ 158 w 182"/>
                <a:gd name="T33" fmla="*/ 164 h 232"/>
                <a:gd name="T34" fmla="*/ 137 w 182"/>
                <a:gd name="T35" fmla="*/ 93 h 232"/>
                <a:gd name="T36" fmla="*/ 85 w 182"/>
                <a:gd name="T37" fmla="*/ 38 h 232"/>
                <a:gd name="T38" fmla="*/ 56 w 182"/>
                <a:gd name="T39" fmla="*/ 28 h 232"/>
                <a:gd name="T40" fmla="*/ 35 w 182"/>
                <a:gd name="T41" fmla="*/ 22 h 232"/>
                <a:gd name="T42" fmla="*/ 35 w 182"/>
                <a:gd name="T43" fmla="*/ 2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2" h="232">
                  <a:moveTo>
                    <a:pt x="126" y="232"/>
                  </a:moveTo>
                  <a:cubicBezTo>
                    <a:pt x="113" y="232"/>
                    <a:pt x="99" y="228"/>
                    <a:pt x="85" y="220"/>
                  </a:cubicBezTo>
                  <a:cubicBezTo>
                    <a:pt x="62" y="206"/>
                    <a:pt x="41" y="184"/>
                    <a:pt x="25" y="156"/>
                  </a:cubicBezTo>
                  <a:cubicBezTo>
                    <a:pt x="9" y="129"/>
                    <a:pt x="0" y="99"/>
                    <a:pt x="0" y="73"/>
                  </a:cubicBezTo>
                  <a:cubicBezTo>
                    <a:pt x="0" y="44"/>
                    <a:pt x="10" y="22"/>
                    <a:pt x="29" y="11"/>
                  </a:cubicBezTo>
                  <a:cubicBezTo>
                    <a:pt x="48" y="0"/>
                    <a:pt x="72" y="2"/>
                    <a:pt x="97" y="17"/>
                  </a:cubicBezTo>
                  <a:cubicBezTo>
                    <a:pt x="120" y="30"/>
                    <a:pt x="142" y="53"/>
                    <a:pt x="158" y="81"/>
                  </a:cubicBezTo>
                  <a:cubicBezTo>
                    <a:pt x="173" y="109"/>
                    <a:pt x="182" y="138"/>
                    <a:pt x="182" y="164"/>
                  </a:cubicBezTo>
                  <a:cubicBezTo>
                    <a:pt x="182" y="192"/>
                    <a:pt x="172" y="214"/>
                    <a:pt x="153" y="225"/>
                  </a:cubicBezTo>
                  <a:cubicBezTo>
                    <a:pt x="145" y="230"/>
                    <a:pt x="136" y="232"/>
                    <a:pt x="126" y="232"/>
                  </a:cubicBezTo>
                  <a:close/>
                  <a:moveTo>
                    <a:pt x="56" y="28"/>
                  </a:moveTo>
                  <a:cubicBezTo>
                    <a:pt x="50" y="28"/>
                    <a:pt x="45" y="30"/>
                    <a:pt x="41" y="32"/>
                  </a:cubicBezTo>
                  <a:cubicBezTo>
                    <a:pt x="30" y="38"/>
                    <a:pt x="24" y="53"/>
                    <a:pt x="24" y="73"/>
                  </a:cubicBezTo>
                  <a:cubicBezTo>
                    <a:pt x="24" y="95"/>
                    <a:pt x="32" y="120"/>
                    <a:pt x="46" y="144"/>
                  </a:cubicBezTo>
                  <a:cubicBezTo>
                    <a:pt x="59" y="168"/>
                    <a:pt x="78" y="188"/>
                    <a:pt x="97" y="199"/>
                  </a:cubicBezTo>
                  <a:cubicBezTo>
                    <a:pt x="114" y="209"/>
                    <a:pt x="130" y="211"/>
                    <a:pt x="141" y="204"/>
                  </a:cubicBezTo>
                  <a:cubicBezTo>
                    <a:pt x="152" y="198"/>
                    <a:pt x="158" y="184"/>
                    <a:pt x="158" y="164"/>
                  </a:cubicBezTo>
                  <a:cubicBezTo>
                    <a:pt x="158" y="142"/>
                    <a:pt x="150" y="117"/>
                    <a:pt x="137" y="93"/>
                  </a:cubicBezTo>
                  <a:cubicBezTo>
                    <a:pt x="123" y="69"/>
                    <a:pt x="104" y="49"/>
                    <a:pt x="85" y="38"/>
                  </a:cubicBezTo>
                  <a:cubicBezTo>
                    <a:pt x="74" y="31"/>
                    <a:pt x="64" y="28"/>
                    <a:pt x="56" y="28"/>
                  </a:cubicBezTo>
                  <a:close/>
                  <a:moveTo>
                    <a:pt x="35" y="22"/>
                  </a:moveTo>
                  <a:cubicBezTo>
                    <a:pt x="35" y="22"/>
                    <a:pt x="35" y="22"/>
                    <a:pt x="35" y="2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Freeform 2253">
              <a:extLst>
                <a:ext uri="{FF2B5EF4-FFF2-40B4-BE49-F238E27FC236}">
                  <a16:creationId xmlns:a16="http://schemas.microsoft.com/office/drawing/2014/main" id="{D631991F-DD8A-4D66-ACBD-7E602B5BF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2" y="3735"/>
              <a:ext cx="194" cy="148"/>
            </a:xfrm>
            <a:custGeom>
              <a:avLst/>
              <a:gdLst>
                <a:gd name="T0" fmla="*/ 125 w 701"/>
                <a:gd name="T1" fmla="*/ 539 h 539"/>
                <a:gd name="T2" fmla="*/ 114 w 701"/>
                <a:gd name="T3" fmla="*/ 533 h 539"/>
                <a:gd name="T4" fmla="*/ 119 w 701"/>
                <a:gd name="T5" fmla="*/ 516 h 539"/>
                <a:gd name="T6" fmla="*/ 660 w 701"/>
                <a:gd name="T7" fmla="*/ 204 h 539"/>
                <a:gd name="T8" fmla="*/ 677 w 701"/>
                <a:gd name="T9" fmla="*/ 163 h 539"/>
                <a:gd name="T10" fmla="*/ 656 w 701"/>
                <a:gd name="T11" fmla="*/ 93 h 539"/>
                <a:gd name="T12" fmla="*/ 604 w 701"/>
                <a:gd name="T13" fmla="*/ 37 h 539"/>
                <a:gd name="T14" fmla="*/ 560 w 701"/>
                <a:gd name="T15" fmla="*/ 32 h 539"/>
                <a:gd name="T16" fmla="*/ 19 w 701"/>
                <a:gd name="T17" fmla="*/ 344 h 539"/>
                <a:gd name="T18" fmla="*/ 3 w 701"/>
                <a:gd name="T19" fmla="*/ 340 h 539"/>
                <a:gd name="T20" fmla="*/ 7 w 701"/>
                <a:gd name="T21" fmla="*/ 323 h 539"/>
                <a:gd name="T22" fmla="*/ 548 w 701"/>
                <a:gd name="T23" fmla="*/ 11 h 539"/>
                <a:gd name="T24" fmla="*/ 616 w 701"/>
                <a:gd name="T25" fmla="*/ 16 h 539"/>
                <a:gd name="T26" fmla="*/ 677 w 701"/>
                <a:gd name="T27" fmla="*/ 81 h 539"/>
                <a:gd name="T28" fmla="*/ 701 w 701"/>
                <a:gd name="T29" fmla="*/ 163 h 539"/>
                <a:gd name="T30" fmla="*/ 672 w 701"/>
                <a:gd name="T31" fmla="*/ 225 h 539"/>
                <a:gd name="T32" fmla="*/ 131 w 701"/>
                <a:gd name="T33" fmla="*/ 537 h 539"/>
                <a:gd name="T34" fmla="*/ 125 w 701"/>
                <a:gd name="T35" fmla="*/ 539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1" h="539">
                  <a:moveTo>
                    <a:pt x="125" y="539"/>
                  </a:moveTo>
                  <a:cubicBezTo>
                    <a:pt x="121" y="539"/>
                    <a:pt x="117" y="537"/>
                    <a:pt x="114" y="533"/>
                  </a:cubicBezTo>
                  <a:cubicBezTo>
                    <a:pt x="111" y="527"/>
                    <a:pt x="113" y="520"/>
                    <a:pt x="119" y="516"/>
                  </a:cubicBezTo>
                  <a:cubicBezTo>
                    <a:pt x="660" y="204"/>
                    <a:pt x="660" y="204"/>
                    <a:pt x="660" y="204"/>
                  </a:cubicBezTo>
                  <a:cubicBezTo>
                    <a:pt x="671" y="198"/>
                    <a:pt x="677" y="183"/>
                    <a:pt x="677" y="163"/>
                  </a:cubicBezTo>
                  <a:cubicBezTo>
                    <a:pt x="677" y="141"/>
                    <a:pt x="670" y="116"/>
                    <a:pt x="656" y="93"/>
                  </a:cubicBezTo>
                  <a:cubicBezTo>
                    <a:pt x="642" y="69"/>
                    <a:pt x="624" y="48"/>
                    <a:pt x="604" y="37"/>
                  </a:cubicBezTo>
                  <a:cubicBezTo>
                    <a:pt x="587" y="27"/>
                    <a:pt x="571" y="25"/>
                    <a:pt x="560" y="32"/>
                  </a:cubicBezTo>
                  <a:cubicBezTo>
                    <a:pt x="19" y="344"/>
                    <a:pt x="19" y="344"/>
                    <a:pt x="19" y="344"/>
                  </a:cubicBezTo>
                  <a:cubicBezTo>
                    <a:pt x="13" y="347"/>
                    <a:pt x="6" y="345"/>
                    <a:pt x="3" y="340"/>
                  </a:cubicBezTo>
                  <a:cubicBezTo>
                    <a:pt x="0" y="334"/>
                    <a:pt x="2" y="327"/>
                    <a:pt x="7" y="323"/>
                  </a:cubicBezTo>
                  <a:cubicBezTo>
                    <a:pt x="548" y="11"/>
                    <a:pt x="548" y="11"/>
                    <a:pt x="548" y="11"/>
                  </a:cubicBezTo>
                  <a:cubicBezTo>
                    <a:pt x="567" y="0"/>
                    <a:pt x="591" y="2"/>
                    <a:pt x="616" y="16"/>
                  </a:cubicBezTo>
                  <a:cubicBezTo>
                    <a:pt x="639" y="30"/>
                    <a:pt x="661" y="53"/>
                    <a:pt x="677" y="81"/>
                  </a:cubicBezTo>
                  <a:cubicBezTo>
                    <a:pt x="692" y="108"/>
                    <a:pt x="701" y="137"/>
                    <a:pt x="701" y="163"/>
                  </a:cubicBezTo>
                  <a:cubicBezTo>
                    <a:pt x="701" y="192"/>
                    <a:pt x="691" y="214"/>
                    <a:pt x="672" y="225"/>
                  </a:cubicBezTo>
                  <a:cubicBezTo>
                    <a:pt x="131" y="537"/>
                    <a:pt x="131" y="537"/>
                    <a:pt x="131" y="537"/>
                  </a:cubicBezTo>
                  <a:cubicBezTo>
                    <a:pt x="129" y="538"/>
                    <a:pt x="127" y="539"/>
                    <a:pt x="125" y="53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Freeform 2254">
              <a:extLst>
                <a:ext uri="{FF2B5EF4-FFF2-40B4-BE49-F238E27FC236}">
                  <a16:creationId xmlns:a16="http://schemas.microsoft.com/office/drawing/2014/main" id="{A1FE509E-23FE-43A9-BC8B-DBA4C8E30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" y="3070"/>
              <a:ext cx="146" cy="134"/>
            </a:xfrm>
            <a:custGeom>
              <a:avLst/>
              <a:gdLst>
                <a:gd name="T0" fmla="*/ 40 w 531"/>
                <a:gd name="T1" fmla="*/ 331 h 486"/>
                <a:gd name="T2" fmla="*/ 37 w 531"/>
                <a:gd name="T3" fmla="*/ 457 h 486"/>
                <a:gd name="T4" fmla="*/ 150 w 531"/>
                <a:gd name="T5" fmla="*/ 455 h 486"/>
                <a:gd name="T6" fmla="*/ 522 w 531"/>
                <a:gd name="T7" fmla="*/ 98 h 486"/>
                <a:gd name="T8" fmla="*/ 504 w 531"/>
                <a:gd name="T9" fmla="*/ 23 h 486"/>
                <a:gd name="T10" fmla="*/ 420 w 531"/>
                <a:gd name="T11" fmla="*/ 17 h 486"/>
                <a:gd name="T12" fmla="*/ 419 w 531"/>
                <a:gd name="T13" fmla="*/ 16 h 486"/>
                <a:gd name="T14" fmla="*/ 40 w 531"/>
                <a:gd name="T15" fmla="*/ 33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1" h="486">
                  <a:moveTo>
                    <a:pt x="40" y="331"/>
                  </a:moveTo>
                  <a:cubicBezTo>
                    <a:pt x="2" y="364"/>
                    <a:pt x="0" y="423"/>
                    <a:pt x="37" y="457"/>
                  </a:cubicBezTo>
                  <a:cubicBezTo>
                    <a:pt x="70" y="486"/>
                    <a:pt x="119" y="485"/>
                    <a:pt x="150" y="455"/>
                  </a:cubicBezTo>
                  <a:cubicBezTo>
                    <a:pt x="522" y="98"/>
                    <a:pt x="522" y="98"/>
                    <a:pt x="522" y="98"/>
                  </a:cubicBezTo>
                  <a:cubicBezTo>
                    <a:pt x="531" y="72"/>
                    <a:pt x="525" y="43"/>
                    <a:pt x="504" y="23"/>
                  </a:cubicBezTo>
                  <a:cubicBezTo>
                    <a:pt x="480" y="2"/>
                    <a:pt x="446" y="0"/>
                    <a:pt x="420" y="17"/>
                  </a:cubicBezTo>
                  <a:cubicBezTo>
                    <a:pt x="419" y="16"/>
                    <a:pt x="419" y="16"/>
                    <a:pt x="419" y="16"/>
                  </a:cubicBezTo>
                  <a:lnTo>
                    <a:pt x="40" y="331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5" name="Freeform 2255">
              <a:extLst>
                <a:ext uri="{FF2B5EF4-FFF2-40B4-BE49-F238E27FC236}">
                  <a16:creationId xmlns:a16="http://schemas.microsoft.com/office/drawing/2014/main" id="{A895678C-333B-45D4-80D6-8F6E7424D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3058"/>
              <a:ext cx="42" cy="39"/>
            </a:xfrm>
            <a:custGeom>
              <a:avLst/>
              <a:gdLst>
                <a:gd name="T0" fmla="*/ 0 w 155"/>
                <a:gd name="T1" fmla="*/ 59 h 141"/>
                <a:gd name="T2" fmla="*/ 1 w 155"/>
                <a:gd name="T3" fmla="*/ 60 h 141"/>
                <a:gd name="T4" fmla="*/ 85 w 155"/>
                <a:gd name="T5" fmla="*/ 66 h 141"/>
                <a:gd name="T6" fmla="*/ 103 w 155"/>
                <a:gd name="T7" fmla="*/ 141 h 141"/>
                <a:gd name="T8" fmla="*/ 132 w 155"/>
                <a:gd name="T9" fmla="*/ 112 h 141"/>
                <a:gd name="T10" fmla="*/ 139 w 155"/>
                <a:gd name="T11" fmla="*/ 105 h 141"/>
                <a:gd name="T12" fmla="*/ 149 w 155"/>
                <a:gd name="T13" fmla="*/ 48 h 141"/>
                <a:gd name="T14" fmla="*/ 131 w 155"/>
                <a:gd name="T15" fmla="*/ 21 h 141"/>
                <a:gd name="T16" fmla="*/ 66 w 155"/>
                <a:gd name="T17" fmla="*/ 9 h 141"/>
                <a:gd name="T18" fmla="*/ 49 w 155"/>
                <a:gd name="T19" fmla="*/ 19 h 141"/>
                <a:gd name="T20" fmla="*/ 0 w 155"/>
                <a:gd name="T21" fmla="*/ 5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5" h="141">
                  <a:moveTo>
                    <a:pt x="0" y="59"/>
                  </a:moveTo>
                  <a:cubicBezTo>
                    <a:pt x="1" y="60"/>
                    <a:pt x="1" y="60"/>
                    <a:pt x="1" y="60"/>
                  </a:cubicBezTo>
                  <a:cubicBezTo>
                    <a:pt x="27" y="43"/>
                    <a:pt x="61" y="45"/>
                    <a:pt x="85" y="66"/>
                  </a:cubicBezTo>
                  <a:cubicBezTo>
                    <a:pt x="106" y="86"/>
                    <a:pt x="112" y="115"/>
                    <a:pt x="103" y="141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5" y="110"/>
                    <a:pt x="137" y="108"/>
                    <a:pt x="139" y="105"/>
                  </a:cubicBezTo>
                  <a:cubicBezTo>
                    <a:pt x="152" y="88"/>
                    <a:pt x="155" y="67"/>
                    <a:pt x="149" y="48"/>
                  </a:cubicBezTo>
                  <a:cubicBezTo>
                    <a:pt x="146" y="38"/>
                    <a:pt x="140" y="28"/>
                    <a:pt x="131" y="21"/>
                  </a:cubicBezTo>
                  <a:cubicBezTo>
                    <a:pt x="113" y="4"/>
                    <a:pt x="88" y="0"/>
                    <a:pt x="66" y="9"/>
                  </a:cubicBezTo>
                  <a:cubicBezTo>
                    <a:pt x="60" y="11"/>
                    <a:pt x="54" y="14"/>
                    <a:pt x="49" y="19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Freeform 2256">
              <a:extLst>
                <a:ext uri="{FF2B5EF4-FFF2-40B4-BE49-F238E27FC236}">
                  <a16:creationId xmlns:a16="http://schemas.microsoft.com/office/drawing/2014/main" id="{2DA63086-A318-4C6D-86DB-A613A1083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" y="2848"/>
              <a:ext cx="187" cy="223"/>
            </a:xfrm>
            <a:custGeom>
              <a:avLst/>
              <a:gdLst>
                <a:gd name="T0" fmla="*/ 0 w 677"/>
                <a:gd name="T1" fmla="*/ 646 h 806"/>
                <a:gd name="T2" fmla="*/ 1 w 677"/>
                <a:gd name="T3" fmla="*/ 669 h 806"/>
                <a:gd name="T4" fmla="*/ 20 w 677"/>
                <a:gd name="T5" fmla="*/ 767 h 806"/>
                <a:gd name="T6" fmla="*/ 85 w 677"/>
                <a:gd name="T7" fmla="*/ 779 h 806"/>
                <a:gd name="T8" fmla="*/ 103 w 677"/>
                <a:gd name="T9" fmla="*/ 806 h 806"/>
                <a:gd name="T10" fmla="*/ 114 w 677"/>
                <a:gd name="T11" fmla="*/ 803 h 806"/>
                <a:gd name="T12" fmla="*/ 102 w 677"/>
                <a:gd name="T13" fmla="*/ 705 h 806"/>
                <a:gd name="T14" fmla="*/ 441 w 677"/>
                <a:gd name="T15" fmla="*/ 118 h 806"/>
                <a:gd name="T16" fmla="*/ 677 w 677"/>
                <a:gd name="T17" fmla="*/ 92 h 806"/>
                <a:gd name="T18" fmla="*/ 579 w 677"/>
                <a:gd name="T19" fmla="*/ 36 h 806"/>
                <a:gd name="T20" fmla="*/ 339 w 677"/>
                <a:gd name="T21" fmla="*/ 59 h 806"/>
                <a:gd name="T22" fmla="*/ 207 w 677"/>
                <a:gd name="T23" fmla="*/ 167 h 806"/>
                <a:gd name="T24" fmla="*/ 0 w 677"/>
                <a:gd name="T25" fmla="*/ 64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7" h="806">
                  <a:moveTo>
                    <a:pt x="0" y="646"/>
                  </a:moveTo>
                  <a:cubicBezTo>
                    <a:pt x="0" y="654"/>
                    <a:pt x="1" y="662"/>
                    <a:pt x="1" y="669"/>
                  </a:cubicBezTo>
                  <a:cubicBezTo>
                    <a:pt x="3" y="706"/>
                    <a:pt x="10" y="738"/>
                    <a:pt x="20" y="767"/>
                  </a:cubicBezTo>
                  <a:cubicBezTo>
                    <a:pt x="42" y="758"/>
                    <a:pt x="67" y="762"/>
                    <a:pt x="85" y="779"/>
                  </a:cubicBezTo>
                  <a:cubicBezTo>
                    <a:pt x="94" y="786"/>
                    <a:pt x="100" y="796"/>
                    <a:pt x="103" y="806"/>
                  </a:cubicBezTo>
                  <a:cubicBezTo>
                    <a:pt x="114" y="803"/>
                    <a:pt x="114" y="803"/>
                    <a:pt x="114" y="803"/>
                  </a:cubicBezTo>
                  <a:cubicBezTo>
                    <a:pt x="106" y="774"/>
                    <a:pt x="102" y="741"/>
                    <a:pt x="102" y="705"/>
                  </a:cubicBezTo>
                  <a:cubicBezTo>
                    <a:pt x="102" y="489"/>
                    <a:pt x="254" y="226"/>
                    <a:pt x="441" y="118"/>
                  </a:cubicBezTo>
                  <a:cubicBezTo>
                    <a:pt x="533" y="65"/>
                    <a:pt x="616" y="59"/>
                    <a:pt x="677" y="92"/>
                  </a:cubicBezTo>
                  <a:cubicBezTo>
                    <a:pt x="579" y="36"/>
                    <a:pt x="579" y="36"/>
                    <a:pt x="579" y="36"/>
                  </a:cubicBezTo>
                  <a:cubicBezTo>
                    <a:pt x="518" y="0"/>
                    <a:pt x="433" y="5"/>
                    <a:pt x="339" y="59"/>
                  </a:cubicBezTo>
                  <a:cubicBezTo>
                    <a:pt x="292" y="86"/>
                    <a:pt x="247" y="124"/>
                    <a:pt x="207" y="167"/>
                  </a:cubicBezTo>
                  <a:cubicBezTo>
                    <a:pt x="85" y="297"/>
                    <a:pt x="0" y="485"/>
                    <a:pt x="0" y="6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7" name="Freeform 2257">
              <a:extLst>
                <a:ext uri="{FF2B5EF4-FFF2-40B4-BE49-F238E27FC236}">
                  <a16:creationId xmlns:a16="http://schemas.microsoft.com/office/drawing/2014/main" id="{80497D0C-73FE-461D-95AA-F07F2AE47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" y="3070"/>
              <a:ext cx="29" cy="33"/>
            </a:xfrm>
            <a:custGeom>
              <a:avLst/>
              <a:gdLst>
                <a:gd name="T0" fmla="*/ 0 w 104"/>
                <a:gd name="T1" fmla="*/ 60 h 119"/>
                <a:gd name="T2" fmla="*/ 6 w 104"/>
                <a:gd name="T3" fmla="*/ 62 h 119"/>
                <a:gd name="T4" fmla="*/ 7 w 104"/>
                <a:gd name="T5" fmla="*/ 63 h 119"/>
                <a:gd name="T6" fmla="*/ 104 w 104"/>
                <a:gd name="T7" fmla="*/ 119 h 119"/>
                <a:gd name="T8" fmla="*/ 21 w 104"/>
                <a:gd name="T9" fmla="*/ 0 h 119"/>
                <a:gd name="T10" fmla="*/ 10 w 104"/>
                <a:gd name="T11" fmla="*/ 3 h 119"/>
                <a:gd name="T12" fmla="*/ 0 w 104"/>
                <a:gd name="T13" fmla="*/ 6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119">
                  <a:moveTo>
                    <a:pt x="0" y="60"/>
                  </a:moveTo>
                  <a:cubicBezTo>
                    <a:pt x="6" y="62"/>
                    <a:pt x="6" y="62"/>
                    <a:pt x="6" y="62"/>
                  </a:cubicBezTo>
                  <a:cubicBezTo>
                    <a:pt x="6" y="62"/>
                    <a:pt x="6" y="63"/>
                    <a:pt x="7" y="63"/>
                  </a:cubicBezTo>
                  <a:cubicBezTo>
                    <a:pt x="104" y="119"/>
                    <a:pt x="104" y="119"/>
                    <a:pt x="104" y="119"/>
                  </a:cubicBezTo>
                  <a:cubicBezTo>
                    <a:pt x="65" y="95"/>
                    <a:pt x="36" y="54"/>
                    <a:pt x="21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6" y="22"/>
                    <a:pt x="13" y="43"/>
                    <a:pt x="0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8" name="Freeform 2258">
              <a:extLst>
                <a:ext uri="{FF2B5EF4-FFF2-40B4-BE49-F238E27FC236}">
                  <a16:creationId xmlns:a16="http://schemas.microsoft.com/office/drawing/2014/main" id="{E8504747-3853-4946-ABDD-3B771136D6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" y="2865"/>
              <a:ext cx="188" cy="249"/>
            </a:xfrm>
            <a:custGeom>
              <a:avLst/>
              <a:gdLst>
                <a:gd name="T0" fmla="*/ 95 w 678"/>
                <a:gd name="T1" fmla="*/ 863 h 901"/>
                <a:gd name="T2" fmla="*/ 339 w 678"/>
                <a:gd name="T3" fmla="*/ 842 h 901"/>
                <a:gd name="T4" fmla="*/ 663 w 678"/>
                <a:gd name="T5" fmla="*/ 376 h 901"/>
                <a:gd name="T6" fmla="*/ 678 w 678"/>
                <a:gd name="T7" fmla="*/ 254 h 901"/>
                <a:gd name="T8" fmla="*/ 578 w 678"/>
                <a:gd name="T9" fmla="*/ 35 h 901"/>
                <a:gd name="T10" fmla="*/ 575 w 678"/>
                <a:gd name="T11" fmla="*/ 33 h 901"/>
                <a:gd name="T12" fmla="*/ 339 w 678"/>
                <a:gd name="T13" fmla="*/ 59 h 901"/>
                <a:gd name="T14" fmla="*/ 0 w 678"/>
                <a:gd name="T15" fmla="*/ 646 h 901"/>
                <a:gd name="T16" fmla="*/ 12 w 678"/>
                <a:gd name="T17" fmla="*/ 744 h 901"/>
                <a:gd name="T18" fmla="*/ 95 w 678"/>
                <a:gd name="T19" fmla="*/ 863 h 901"/>
                <a:gd name="T20" fmla="*/ 106 w 678"/>
                <a:gd name="T21" fmla="*/ 737 h 901"/>
                <a:gd name="T22" fmla="*/ 71 w 678"/>
                <a:gd name="T23" fmla="*/ 605 h 901"/>
                <a:gd name="T24" fmla="*/ 339 w 678"/>
                <a:gd name="T25" fmla="*/ 141 h 901"/>
                <a:gd name="T26" fmla="*/ 470 w 678"/>
                <a:gd name="T27" fmla="*/ 105 h 901"/>
                <a:gd name="T28" fmla="*/ 606 w 678"/>
                <a:gd name="T29" fmla="*/ 296 h 901"/>
                <a:gd name="T30" fmla="*/ 339 w 678"/>
                <a:gd name="T31" fmla="*/ 759 h 901"/>
                <a:gd name="T32" fmla="*/ 106 w 678"/>
                <a:gd name="T33" fmla="*/ 737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8" h="901">
                  <a:moveTo>
                    <a:pt x="95" y="863"/>
                  </a:moveTo>
                  <a:cubicBezTo>
                    <a:pt x="157" y="901"/>
                    <a:pt x="243" y="897"/>
                    <a:pt x="339" y="842"/>
                  </a:cubicBezTo>
                  <a:cubicBezTo>
                    <a:pt x="492" y="753"/>
                    <a:pt x="621" y="562"/>
                    <a:pt x="663" y="376"/>
                  </a:cubicBezTo>
                  <a:cubicBezTo>
                    <a:pt x="673" y="335"/>
                    <a:pt x="678" y="294"/>
                    <a:pt x="678" y="254"/>
                  </a:cubicBezTo>
                  <a:cubicBezTo>
                    <a:pt x="678" y="146"/>
                    <a:pt x="640" y="70"/>
                    <a:pt x="578" y="35"/>
                  </a:cubicBezTo>
                  <a:cubicBezTo>
                    <a:pt x="575" y="33"/>
                    <a:pt x="575" y="33"/>
                    <a:pt x="575" y="33"/>
                  </a:cubicBezTo>
                  <a:cubicBezTo>
                    <a:pt x="514" y="0"/>
                    <a:pt x="431" y="6"/>
                    <a:pt x="339" y="59"/>
                  </a:cubicBezTo>
                  <a:cubicBezTo>
                    <a:pt x="152" y="167"/>
                    <a:pt x="0" y="430"/>
                    <a:pt x="0" y="646"/>
                  </a:cubicBezTo>
                  <a:cubicBezTo>
                    <a:pt x="0" y="682"/>
                    <a:pt x="4" y="715"/>
                    <a:pt x="12" y="744"/>
                  </a:cubicBezTo>
                  <a:cubicBezTo>
                    <a:pt x="27" y="798"/>
                    <a:pt x="56" y="839"/>
                    <a:pt x="95" y="863"/>
                  </a:cubicBezTo>
                  <a:close/>
                  <a:moveTo>
                    <a:pt x="106" y="737"/>
                  </a:moveTo>
                  <a:cubicBezTo>
                    <a:pt x="84" y="704"/>
                    <a:pt x="71" y="660"/>
                    <a:pt x="71" y="605"/>
                  </a:cubicBezTo>
                  <a:cubicBezTo>
                    <a:pt x="71" y="434"/>
                    <a:pt x="191" y="227"/>
                    <a:pt x="339" y="141"/>
                  </a:cubicBezTo>
                  <a:cubicBezTo>
                    <a:pt x="387" y="114"/>
                    <a:pt x="432" y="102"/>
                    <a:pt x="470" y="105"/>
                  </a:cubicBezTo>
                  <a:cubicBezTo>
                    <a:pt x="552" y="112"/>
                    <a:pt x="606" y="181"/>
                    <a:pt x="606" y="296"/>
                  </a:cubicBezTo>
                  <a:cubicBezTo>
                    <a:pt x="606" y="466"/>
                    <a:pt x="486" y="674"/>
                    <a:pt x="339" y="759"/>
                  </a:cubicBezTo>
                  <a:cubicBezTo>
                    <a:pt x="239" y="817"/>
                    <a:pt x="152" y="804"/>
                    <a:pt x="106" y="737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9" name="Freeform 2259">
              <a:extLst>
                <a:ext uri="{FF2B5EF4-FFF2-40B4-BE49-F238E27FC236}">
                  <a16:creationId xmlns:a16="http://schemas.microsoft.com/office/drawing/2014/main" id="{93FFA84D-6183-407B-9F9E-64CF08DAAE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" y="2893"/>
              <a:ext cx="148" cy="197"/>
            </a:xfrm>
            <a:custGeom>
              <a:avLst/>
              <a:gdLst>
                <a:gd name="T0" fmla="*/ 0 w 535"/>
                <a:gd name="T1" fmla="*/ 503 h 715"/>
                <a:gd name="T2" fmla="*/ 35 w 535"/>
                <a:gd name="T3" fmla="*/ 635 h 715"/>
                <a:gd name="T4" fmla="*/ 268 w 535"/>
                <a:gd name="T5" fmla="*/ 657 h 715"/>
                <a:gd name="T6" fmla="*/ 535 w 535"/>
                <a:gd name="T7" fmla="*/ 194 h 715"/>
                <a:gd name="T8" fmla="*/ 399 w 535"/>
                <a:gd name="T9" fmla="*/ 3 h 715"/>
                <a:gd name="T10" fmla="*/ 268 w 535"/>
                <a:gd name="T11" fmla="*/ 39 h 715"/>
                <a:gd name="T12" fmla="*/ 0 w 535"/>
                <a:gd name="T13" fmla="*/ 503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5" h="715">
                  <a:moveTo>
                    <a:pt x="0" y="503"/>
                  </a:moveTo>
                  <a:cubicBezTo>
                    <a:pt x="0" y="558"/>
                    <a:pt x="13" y="602"/>
                    <a:pt x="35" y="635"/>
                  </a:cubicBezTo>
                  <a:cubicBezTo>
                    <a:pt x="81" y="702"/>
                    <a:pt x="168" y="715"/>
                    <a:pt x="268" y="657"/>
                  </a:cubicBezTo>
                  <a:cubicBezTo>
                    <a:pt x="415" y="572"/>
                    <a:pt x="535" y="364"/>
                    <a:pt x="535" y="194"/>
                  </a:cubicBezTo>
                  <a:cubicBezTo>
                    <a:pt x="535" y="79"/>
                    <a:pt x="481" y="10"/>
                    <a:pt x="399" y="3"/>
                  </a:cubicBezTo>
                  <a:cubicBezTo>
                    <a:pt x="361" y="0"/>
                    <a:pt x="316" y="12"/>
                    <a:pt x="268" y="39"/>
                  </a:cubicBezTo>
                  <a:cubicBezTo>
                    <a:pt x="120" y="125"/>
                    <a:pt x="0" y="332"/>
                    <a:pt x="0" y="5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Freeform 2260">
              <a:extLst>
                <a:ext uri="{FF2B5EF4-FFF2-40B4-BE49-F238E27FC236}">
                  <a16:creationId xmlns:a16="http://schemas.microsoft.com/office/drawing/2014/main" id="{783F3773-9B85-405E-94CF-50DA90AC0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" y="2871"/>
              <a:ext cx="168" cy="242"/>
            </a:xfrm>
            <a:custGeom>
              <a:avLst/>
              <a:gdLst>
                <a:gd name="T0" fmla="*/ 105 w 608"/>
                <a:gd name="T1" fmla="*/ 879 h 879"/>
                <a:gd name="T2" fmla="*/ 7 w 608"/>
                <a:gd name="T3" fmla="*/ 852 h 879"/>
                <a:gd name="T4" fmla="*/ 3 w 608"/>
                <a:gd name="T5" fmla="*/ 836 h 879"/>
                <a:gd name="T6" fmla="*/ 20 w 608"/>
                <a:gd name="T7" fmla="*/ 832 h 879"/>
                <a:gd name="T8" fmla="*/ 251 w 608"/>
                <a:gd name="T9" fmla="*/ 810 h 879"/>
                <a:gd name="T10" fmla="*/ 570 w 608"/>
                <a:gd name="T11" fmla="*/ 353 h 879"/>
                <a:gd name="T12" fmla="*/ 584 w 608"/>
                <a:gd name="T13" fmla="*/ 233 h 879"/>
                <a:gd name="T14" fmla="*/ 490 w 608"/>
                <a:gd name="T15" fmla="*/ 24 h 879"/>
                <a:gd name="T16" fmla="*/ 486 w 608"/>
                <a:gd name="T17" fmla="*/ 8 h 879"/>
                <a:gd name="T18" fmla="*/ 502 w 608"/>
                <a:gd name="T19" fmla="*/ 4 h 879"/>
                <a:gd name="T20" fmla="*/ 608 w 608"/>
                <a:gd name="T21" fmla="*/ 233 h 879"/>
                <a:gd name="T22" fmla="*/ 593 w 608"/>
                <a:gd name="T23" fmla="*/ 358 h 879"/>
                <a:gd name="T24" fmla="*/ 263 w 608"/>
                <a:gd name="T25" fmla="*/ 831 h 879"/>
                <a:gd name="T26" fmla="*/ 105 w 608"/>
                <a:gd name="T27" fmla="*/ 87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8" h="879">
                  <a:moveTo>
                    <a:pt x="105" y="879"/>
                  </a:moveTo>
                  <a:cubicBezTo>
                    <a:pt x="69" y="879"/>
                    <a:pt x="36" y="870"/>
                    <a:pt x="7" y="852"/>
                  </a:cubicBezTo>
                  <a:cubicBezTo>
                    <a:pt x="1" y="849"/>
                    <a:pt x="0" y="842"/>
                    <a:pt x="3" y="836"/>
                  </a:cubicBezTo>
                  <a:cubicBezTo>
                    <a:pt x="7" y="830"/>
                    <a:pt x="14" y="828"/>
                    <a:pt x="20" y="832"/>
                  </a:cubicBezTo>
                  <a:cubicBezTo>
                    <a:pt x="80" y="869"/>
                    <a:pt x="162" y="861"/>
                    <a:pt x="251" y="810"/>
                  </a:cubicBezTo>
                  <a:cubicBezTo>
                    <a:pt x="396" y="726"/>
                    <a:pt x="527" y="538"/>
                    <a:pt x="570" y="353"/>
                  </a:cubicBezTo>
                  <a:cubicBezTo>
                    <a:pt x="579" y="311"/>
                    <a:pt x="584" y="271"/>
                    <a:pt x="584" y="233"/>
                  </a:cubicBezTo>
                  <a:cubicBezTo>
                    <a:pt x="584" y="133"/>
                    <a:pt x="551" y="59"/>
                    <a:pt x="490" y="24"/>
                  </a:cubicBezTo>
                  <a:cubicBezTo>
                    <a:pt x="485" y="21"/>
                    <a:pt x="483" y="14"/>
                    <a:pt x="486" y="8"/>
                  </a:cubicBezTo>
                  <a:cubicBezTo>
                    <a:pt x="489" y="2"/>
                    <a:pt x="497" y="0"/>
                    <a:pt x="502" y="4"/>
                  </a:cubicBezTo>
                  <a:cubicBezTo>
                    <a:pt x="570" y="43"/>
                    <a:pt x="608" y="124"/>
                    <a:pt x="608" y="233"/>
                  </a:cubicBezTo>
                  <a:cubicBezTo>
                    <a:pt x="608" y="273"/>
                    <a:pt x="603" y="315"/>
                    <a:pt x="593" y="358"/>
                  </a:cubicBezTo>
                  <a:cubicBezTo>
                    <a:pt x="549" y="552"/>
                    <a:pt x="416" y="743"/>
                    <a:pt x="263" y="831"/>
                  </a:cubicBezTo>
                  <a:cubicBezTo>
                    <a:pt x="207" y="863"/>
                    <a:pt x="154" y="879"/>
                    <a:pt x="105" y="87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1" name="Freeform 2261">
              <a:extLst>
                <a:ext uri="{FF2B5EF4-FFF2-40B4-BE49-F238E27FC236}">
                  <a16:creationId xmlns:a16="http://schemas.microsoft.com/office/drawing/2014/main" id="{99167DDC-466A-481D-81D3-0DB28A2B6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" y="2861"/>
              <a:ext cx="166" cy="245"/>
            </a:xfrm>
            <a:custGeom>
              <a:avLst/>
              <a:gdLst>
                <a:gd name="T0" fmla="*/ 107 w 601"/>
                <a:gd name="T1" fmla="*/ 889 h 889"/>
                <a:gd name="T2" fmla="*/ 100 w 601"/>
                <a:gd name="T3" fmla="*/ 887 h 889"/>
                <a:gd name="T4" fmla="*/ 13 w 601"/>
                <a:gd name="T5" fmla="*/ 761 h 889"/>
                <a:gd name="T6" fmla="*/ 0 w 601"/>
                <a:gd name="T7" fmla="*/ 660 h 889"/>
                <a:gd name="T8" fmla="*/ 345 w 601"/>
                <a:gd name="T9" fmla="*/ 62 h 889"/>
                <a:gd name="T10" fmla="*/ 593 w 601"/>
                <a:gd name="T11" fmla="*/ 36 h 889"/>
                <a:gd name="T12" fmla="*/ 597 w 601"/>
                <a:gd name="T13" fmla="*/ 53 h 889"/>
                <a:gd name="T14" fmla="*/ 581 w 601"/>
                <a:gd name="T15" fmla="*/ 58 h 889"/>
                <a:gd name="T16" fmla="*/ 357 w 601"/>
                <a:gd name="T17" fmla="*/ 83 h 889"/>
                <a:gd name="T18" fmla="*/ 24 w 601"/>
                <a:gd name="T19" fmla="*/ 660 h 889"/>
                <a:gd name="T20" fmla="*/ 36 w 601"/>
                <a:gd name="T21" fmla="*/ 755 h 889"/>
                <a:gd name="T22" fmla="*/ 113 w 601"/>
                <a:gd name="T23" fmla="*/ 866 h 889"/>
                <a:gd name="T24" fmla="*/ 117 w 601"/>
                <a:gd name="T25" fmla="*/ 883 h 889"/>
                <a:gd name="T26" fmla="*/ 107 w 601"/>
                <a:gd name="T27" fmla="*/ 88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1" h="889">
                  <a:moveTo>
                    <a:pt x="107" y="889"/>
                  </a:moveTo>
                  <a:cubicBezTo>
                    <a:pt x="104" y="889"/>
                    <a:pt x="102" y="888"/>
                    <a:pt x="100" y="887"/>
                  </a:cubicBezTo>
                  <a:cubicBezTo>
                    <a:pt x="59" y="861"/>
                    <a:pt x="28" y="818"/>
                    <a:pt x="13" y="761"/>
                  </a:cubicBezTo>
                  <a:cubicBezTo>
                    <a:pt x="4" y="731"/>
                    <a:pt x="0" y="697"/>
                    <a:pt x="0" y="660"/>
                  </a:cubicBezTo>
                  <a:cubicBezTo>
                    <a:pt x="0" y="440"/>
                    <a:pt x="155" y="172"/>
                    <a:pt x="345" y="62"/>
                  </a:cubicBezTo>
                  <a:cubicBezTo>
                    <a:pt x="437" y="9"/>
                    <a:pt x="525" y="0"/>
                    <a:pt x="593" y="36"/>
                  </a:cubicBezTo>
                  <a:cubicBezTo>
                    <a:pt x="598" y="40"/>
                    <a:pt x="601" y="47"/>
                    <a:pt x="597" y="53"/>
                  </a:cubicBezTo>
                  <a:cubicBezTo>
                    <a:pt x="594" y="59"/>
                    <a:pt x="587" y="61"/>
                    <a:pt x="581" y="58"/>
                  </a:cubicBezTo>
                  <a:cubicBezTo>
                    <a:pt x="521" y="25"/>
                    <a:pt x="442" y="34"/>
                    <a:pt x="357" y="83"/>
                  </a:cubicBezTo>
                  <a:cubicBezTo>
                    <a:pt x="173" y="189"/>
                    <a:pt x="24" y="448"/>
                    <a:pt x="24" y="660"/>
                  </a:cubicBezTo>
                  <a:cubicBezTo>
                    <a:pt x="24" y="694"/>
                    <a:pt x="28" y="726"/>
                    <a:pt x="36" y="755"/>
                  </a:cubicBezTo>
                  <a:cubicBezTo>
                    <a:pt x="50" y="805"/>
                    <a:pt x="77" y="844"/>
                    <a:pt x="113" y="866"/>
                  </a:cubicBezTo>
                  <a:cubicBezTo>
                    <a:pt x="119" y="870"/>
                    <a:pt x="120" y="877"/>
                    <a:pt x="117" y="883"/>
                  </a:cubicBezTo>
                  <a:cubicBezTo>
                    <a:pt x="115" y="887"/>
                    <a:pt x="111" y="889"/>
                    <a:pt x="107" y="88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2" name="Freeform 2262">
              <a:extLst>
                <a:ext uri="{FF2B5EF4-FFF2-40B4-BE49-F238E27FC236}">
                  <a16:creationId xmlns:a16="http://schemas.microsoft.com/office/drawing/2014/main" id="{4CD98A41-ED93-4C84-9237-4E619ADD7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" y="2890"/>
              <a:ext cx="154" cy="198"/>
            </a:xfrm>
            <a:custGeom>
              <a:avLst/>
              <a:gdLst>
                <a:gd name="T0" fmla="*/ 160 w 559"/>
                <a:gd name="T1" fmla="*/ 718 h 718"/>
                <a:gd name="T2" fmla="*/ 37 w 559"/>
                <a:gd name="T3" fmla="*/ 653 h 718"/>
                <a:gd name="T4" fmla="*/ 0 w 559"/>
                <a:gd name="T5" fmla="*/ 515 h 718"/>
                <a:gd name="T6" fmla="*/ 274 w 559"/>
                <a:gd name="T7" fmla="*/ 41 h 718"/>
                <a:gd name="T8" fmla="*/ 412 w 559"/>
                <a:gd name="T9" fmla="*/ 3 h 718"/>
                <a:gd name="T10" fmla="*/ 559 w 559"/>
                <a:gd name="T11" fmla="*/ 206 h 718"/>
                <a:gd name="T12" fmla="*/ 286 w 559"/>
                <a:gd name="T13" fmla="*/ 679 h 718"/>
                <a:gd name="T14" fmla="*/ 160 w 559"/>
                <a:gd name="T15" fmla="*/ 718 h 718"/>
                <a:gd name="T16" fmla="*/ 399 w 559"/>
                <a:gd name="T17" fmla="*/ 27 h 718"/>
                <a:gd name="T18" fmla="*/ 286 w 559"/>
                <a:gd name="T19" fmla="*/ 62 h 718"/>
                <a:gd name="T20" fmla="*/ 24 w 559"/>
                <a:gd name="T21" fmla="*/ 515 h 718"/>
                <a:gd name="T22" fmla="*/ 57 w 559"/>
                <a:gd name="T23" fmla="*/ 640 h 718"/>
                <a:gd name="T24" fmla="*/ 274 w 559"/>
                <a:gd name="T25" fmla="*/ 659 h 718"/>
                <a:gd name="T26" fmla="*/ 535 w 559"/>
                <a:gd name="T27" fmla="*/ 206 h 718"/>
                <a:gd name="T28" fmla="*/ 411 w 559"/>
                <a:gd name="T29" fmla="*/ 27 h 718"/>
                <a:gd name="T30" fmla="*/ 411 w 559"/>
                <a:gd name="T31" fmla="*/ 27 h 718"/>
                <a:gd name="T32" fmla="*/ 399 w 559"/>
                <a:gd name="T33" fmla="*/ 27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59" h="718">
                  <a:moveTo>
                    <a:pt x="160" y="718"/>
                  </a:moveTo>
                  <a:cubicBezTo>
                    <a:pt x="109" y="718"/>
                    <a:pt x="66" y="696"/>
                    <a:pt x="37" y="653"/>
                  </a:cubicBezTo>
                  <a:cubicBezTo>
                    <a:pt x="13" y="618"/>
                    <a:pt x="0" y="570"/>
                    <a:pt x="0" y="515"/>
                  </a:cubicBezTo>
                  <a:cubicBezTo>
                    <a:pt x="0" y="341"/>
                    <a:pt x="123" y="128"/>
                    <a:pt x="274" y="41"/>
                  </a:cubicBezTo>
                  <a:cubicBezTo>
                    <a:pt x="322" y="13"/>
                    <a:pt x="370" y="0"/>
                    <a:pt x="412" y="3"/>
                  </a:cubicBezTo>
                  <a:cubicBezTo>
                    <a:pt x="503" y="10"/>
                    <a:pt x="559" y="88"/>
                    <a:pt x="559" y="206"/>
                  </a:cubicBezTo>
                  <a:cubicBezTo>
                    <a:pt x="559" y="380"/>
                    <a:pt x="437" y="592"/>
                    <a:pt x="286" y="679"/>
                  </a:cubicBezTo>
                  <a:cubicBezTo>
                    <a:pt x="242" y="705"/>
                    <a:pt x="199" y="718"/>
                    <a:pt x="160" y="718"/>
                  </a:cubicBezTo>
                  <a:close/>
                  <a:moveTo>
                    <a:pt x="399" y="27"/>
                  </a:moveTo>
                  <a:cubicBezTo>
                    <a:pt x="364" y="27"/>
                    <a:pt x="325" y="39"/>
                    <a:pt x="286" y="62"/>
                  </a:cubicBezTo>
                  <a:cubicBezTo>
                    <a:pt x="142" y="145"/>
                    <a:pt x="24" y="348"/>
                    <a:pt x="24" y="515"/>
                  </a:cubicBezTo>
                  <a:cubicBezTo>
                    <a:pt x="24" y="566"/>
                    <a:pt x="36" y="609"/>
                    <a:pt x="57" y="640"/>
                  </a:cubicBezTo>
                  <a:cubicBezTo>
                    <a:pt x="101" y="705"/>
                    <a:pt x="182" y="712"/>
                    <a:pt x="274" y="659"/>
                  </a:cubicBezTo>
                  <a:cubicBezTo>
                    <a:pt x="418" y="575"/>
                    <a:pt x="535" y="372"/>
                    <a:pt x="535" y="206"/>
                  </a:cubicBezTo>
                  <a:cubicBezTo>
                    <a:pt x="535" y="100"/>
                    <a:pt x="489" y="33"/>
                    <a:pt x="411" y="27"/>
                  </a:cubicBezTo>
                  <a:cubicBezTo>
                    <a:pt x="411" y="27"/>
                    <a:pt x="411" y="27"/>
                    <a:pt x="411" y="27"/>
                  </a:cubicBezTo>
                  <a:cubicBezTo>
                    <a:pt x="407" y="27"/>
                    <a:pt x="403" y="27"/>
                    <a:pt x="399" y="2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3" name="Freeform 2263">
              <a:extLst>
                <a:ext uri="{FF2B5EF4-FFF2-40B4-BE49-F238E27FC236}">
                  <a16:creationId xmlns:a16="http://schemas.microsoft.com/office/drawing/2014/main" id="{3BDCD3BE-3B3A-4E36-8C50-DE5D35E17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" y="2845"/>
              <a:ext cx="195" cy="219"/>
            </a:xfrm>
            <a:custGeom>
              <a:avLst/>
              <a:gdLst>
                <a:gd name="T0" fmla="*/ 32 w 706"/>
                <a:gd name="T1" fmla="*/ 793 h 793"/>
                <a:gd name="T2" fmla="*/ 21 w 706"/>
                <a:gd name="T3" fmla="*/ 785 h 793"/>
                <a:gd name="T4" fmla="*/ 1 w 706"/>
                <a:gd name="T5" fmla="*/ 684 h 793"/>
                <a:gd name="T6" fmla="*/ 0 w 706"/>
                <a:gd name="T7" fmla="*/ 660 h 793"/>
                <a:gd name="T8" fmla="*/ 210 w 706"/>
                <a:gd name="T9" fmla="*/ 173 h 793"/>
                <a:gd name="T10" fmla="*/ 345 w 706"/>
                <a:gd name="T11" fmla="*/ 63 h 793"/>
                <a:gd name="T12" fmla="*/ 597 w 706"/>
                <a:gd name="T13" fmla="*/ 39 h 793"/>
                <a:gd name="T14" fmla="*/ 698 w 706"/>
                <a:gd name="T15" fmla="*/ 98 h 793"/>
                <a:gd name="T16" fmla="*/ 703 w 706"/>
                <a:gd name="T17" fmla="*/ 114 h 793"/>
                <a:gd name="T18" fmla="*/ 686 w 706"/>
                <a:gd name="T19" fmla="*/ 118 h 793"/>
                <a:gd name="T20" fmla="*/ 585 w 706"/>
                <a:gd name="T21" fmla="*/ 60 h 793"/>
                <a:gd name="T22" fmla="*/ 357 w 706"/>
                <a:gd name="T23" fmla="*/ 84 h 793"/>
                <a:gd name="T24" fmla="*/ 227 w 706"/>
                <a:gd name="T25" fmla="*/ 189 h 793"/>
                <a:gd name="T26" fmla="*/ 24 w 706"/>
                <a:gd name="T27" fmla="*/ 660 h 793"/>
                <a:gd name="T28" fmla="*/ 25 w 706"/>
                <a:gd name="T29" fmla="*/ 682 h 793"/>
                <a:gd name="T30" fmla="*/ 43 w 706"/>
                <a:gd name="T31" fmla="*/ 776 h 793"/>
                <a:gd name="T32" fmla="*/ 36 w 706"/>
                <a:gd name="T33" fmla="*/ 792 h 793"/>
                <a:gd name="T34" fmla="*/ 32 w 706"/>
                <a:gd name="T35" fmla="*/ 793 h 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6" h="793">
                  <a:moveTo>
                    <a:pt x="32" y="793"/>
                  </a:moveTo>
                  <a:cubicBezTo>
                    <a:pt x="27" y="793"/>
                    <a:pt x="23" y="790"/>
                    <a:pt x="21" y="785"/>
                  </a:cubicBezTo>
                  <a:cubicBezTo>
                    <a:pt x="10" y="756"/>
                    <a:pt x="3" y="722"/>
                    <a:pt x="1" y="684"/>
                  </a:cubicBezTo>
                  <a:cubicBezTo>
                    <a:pt x="1" y="676"/>
                    <a:pt x="0" y="668"/>
                    <a:pt x="0" y="660"/>
                  </a:cubicBezTo>
                  <a:cubicBezTo>
                    <a:pt x="0" y="500"/>
                    <a:pt x="83" y="309"/>
                    <a:pt x="210" y="173"/>
                  </a:cubicBezTo>
                  <a:cubicBezTo>
                    <a:pt x="253" y="127"/>
                    <a:pt x="298" y="90"/>
                    <a:pt x="345" y="63"/>
                  </a:cubicBezTo>
                  <a:cubicBezTo>
                    <a:pt x="440" y="8"/>
                    <a:pt x="529" y="0"/>
                    <a:pt x="597" y="39"/>
                  </a:cubicBezTo>
                  <a:cubicBezTo>
                    <a:pt x="698" y="98"/>
                    <a:pt x="698" y="98"/>
                    <a:pt x="698" y="98"/>
                  </a:cubicBezTo>
                  <a:cubicBezTo>
                    <a:pt x="704" y="101"/>
                    <a:pt x="706" y="108"/>
                    <a:pt x="703" y="114"/>
                  </a:cubicBezTo>
                  <a:cubicBezTo>
                    <a:pt x="700" y="120"/>
                    <a:pt x="692" y="122"/>
                    <a:pt x="686" y="118"/>
                  </a:cubicBezTo>
                  <a:cubicBezTo>
                    <a:pt x="585" y="60"/>
                    <a:pt x="585" y="60"/>
                    <a:pt x="585" y="60"/>
                  </a:cubicBezTo>
                  <a:cubicBezTo>
                    <a:pt x="525" y="25"/>
                    <a:pt x="444" y="34"/>
                    <a:pt x="357" y="84"/>
                  </a:cubicBezTo>
                  <a:cubicBezTo>
                    <a:pt x="313" y="110"/>
                    <a:pt x="269" y="145"/>
                    <a:pt x="227" y="189"/>
                  </a:cubicBezTo>
                  <a:cubicBezTo>
                    <a:pt x="104" y="321"/>
                    <a:pt x="24" y="506"/>
                    <a:pt x="24" y="660"/>
                  </a:cubicBezTo>
                  <a:cubicBezTo>
                    <a:pt x="24" y="668"/>
                    <a:pt x="25" y="675"/>
                    <a:pt x="25" y="682"/>
                  </a:cubicBezTo>
                  <a:cubicBezTo>
                    <a:pt x="27" y="718"/>
                    <a:pt x="33" y="749"/>
                    <a:pt x="43" y="776"/>
                  </a:cubicBezTo>
                  <a:cubicBezTo>
                    <a:pt x="46" y="783"/>
                    <a:pt x="42" y="789"/>
                    <a:pt x="36" y="792"/>
                  </a:cubicBezTo>
                  <a:cubicBezTo>
                    <a:pt x="35" y="792"/>
                    <a:pt x="33" y="793"/>
                    <a:pt x="32" y="7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4" name="Freeform 2264">
              <a:extLst>
                <a:ext uri="{FF2B5EF4-FFF2-40B4-BE49-F238E27FC236}">
                  <a16:creationId xmlns:a16="http://schemas.microsoft.com/office/drawing/2014/main" id="{8A35260E-B136-4B6D-9F9D-A3D407CFE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" y="3084"/>
              <a:ext cx="36" cy="23"/>
            </a:xfrm>
            <a:custGeom>
              <a:avLst/>
              <a:gdLst>
                <a:gd name="T0" fmla="*/ 116 w 130"/>
                <a:gd name="T1" fmla="*/ 84 h 84"/>
                <a:gd name="T2" fmla="*/ 110 w 130"/>
                <a:gd name="T3" fmla="*/ 83 h 84"/>
                <a:gd name="T4" fmla="*/ 9 w 130"/>
                <a:gd name="T5" fmla="*/ 24 h 84"/>
                <a:gd name="T6" fmla="*/ 7 w 130"/>
                <a:gd name="T7" fmla="*/ 23 h 84"/>
                <a:gd name="T8" fmla="*/ 4 w 130"/>
                <a:gd name="T9" fmla="*/ 7 h 84"/>
                <a:gd name="T10" fmla="*/ 20 w 130"/>
                <a:gd name="T11" fmla="*/ 3 h 84"/>
                <a:gd name="T12" fmla="*/ 21 w 130"/>
                <a:gd name="T13" fmla="*/ 3 h 84"/>
                <a:gd name="T14" fmla="*/ 122 w 130"/>
                <a:gd name="T15" fmla="*/ 62 h 84"/>
                <a:gd name="T16" fmla="*/ 127 w 130"/>
                <a:gd name="T17" fmla="*/ 78 h 84"/>
                <a:gd name="T18" fmla="*/ 116 w 130"/>
                <a:gd name="T1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84">
                  <a:moveTo>
                    <a:pt x="116" y="84"/>
                  </a:moveTo>
                  <a:cubicBezTo>
                    <a:pt x="114" y="84"/>
                    <a:pt x="112" y="84"/>
                    <a:pt x="110" y="83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8" y="24"/>
                    <a:pt x="7" y="23"/>
                  </a:cubicBezTo>
                  <a:cubicBezTo>
                    <a:pt x="2" y="20"/>
                    <a:pt x="0" y="12"/>
                    <a:pt x="4" y="7"/>
                  </a:cubicBezTo>
                  <a:cubicBezTo>
                    <a:pt x="8" y="1"/>
                    <a:pt x="15" y="0"/>
                    <a:pt x="20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8" y="65"/>
                    <a:pt x="130" y="73"/>
                    <a:pt x="127" y="78"/>
                  </a:cubicBezTo>
                  <a:cubicBezTo>
                    <a:pt x="124" y="82"/>
                    <a:pt x="120" y="84"/>
                    <a:pt x="116" y="8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5" name="Freeform 2265">
              <a:extLst>
                <a:ext uri="{FF2B5EF4-FFF2-40B4-BE49-F238E27FC236}">
                  <a16:creationId xmlns:a16="http://schemas.microsoft.com/office/drawing/2014/main" id="{287F9404-B0FD-4E07-84E8-858660C4FA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0" y="3054"/>
              <a:ext cx="163" cy="151"/>
            </a:xfrm>
            <a:custGeom>
              <a:avLst/>
              <a:gdLst>
                <a:gd name="T0" fmla="*/ 95 w 589"/>
                <a:gd name="T1" fmla="*/ 546 h 546"/>
                <a:gd name="T2" fmla="*/ 31 w 589"/>
                <a:gd name="T3" fmla="*/ 521 h 546"/>
                <a:gd name="T4" fmla="*/ 0 w 589"/>
                <a:gd name="T5" fmla="*/ 449 h 546"/>
                <a:gd name="T6" fmla="*/ 35 w 589"/>
                <a:gd name="T7" fmla="*/ 378 h 546"/>
                <a:gd name="T8" fmla="*/ 462 w 589"/>
                <a:gd name="T9" fmla="*/ 23 h 546"/>
                <a:gd name="T10" fmla="*/ 483 w 589"/>
                <a:gd name="T11" fmla="*/ 10 h 546"/>
                <a:gd name="T12" fmla="*/ 560 w 589"/>
                <a:gd name="T13" fmla="*/ 25 h 546"/>
                <a:gd name="T14" fmla="*/ 581 w 589"/>
                <a:gd name="T15" fmla="*/ 58 h 546"/>
                <a:gd name="T16" fmla="*/ 570 w 589"/>
                <a:gd name="T17" fmla="*/ 125 h 546"/>
                <a:gd name="T18" fmla="*/ 562 w 589"/>
                <a:gd name="T19" fmla="*/ 134 h 546"/>
                <a:gd name="T20" fmla="*/ 161 w 589"/>
                <a:gd name="T21" fmla="*/ 520 h 546"/>
                <a:gd name="T22" fmla="*/ 95 w 589"/>
                <a:gd name="T23" fmla="*/ 546 h 546"/>
                <a:gd name="T24" fmla="*/ 510 w 589"/>
                <a:gd name="T25" fmla="*/ 29 h 546"/>
                <a:gd name="T26" fmla="*/ 491 w 589"/>
                <a:gd name="T27" fmla="*/ 33 h 546"/>
                <a:gd name="T28" fmla="*/ 477 w 589"/>
                <a:gd name="T29" fmla="*/ 41 h 546"/>
                <a:gd name="T30" fmla="*/ 50 w 589"/>
                <a:gd name="T31" fmla="*/ 397 h 546"/>
                <a:gd name="T32" fmla="*/ 24 w 589"/>
                <a:gd name="T33" fmla="*/ 450 h 546"/>
                <a:gd name="T34" fmla="*/ 48 w 589"/>
                <a:gd name="T35" fmla="*/ 504 h 546"/>
                <a:gd name="T36" fmla="*/ 144 w 589"/>
                <a:gd name="T37" fmla="*/ 502 h 546"/>
                <a:gd name="T38" fmla="*/ 516 w 589"/>
                <a:gd name="T39" fmla="*/ 145 h 546"/>
                <a:gd name="T40" fmla="*/ 516 w 589"/>
                <a:gd name="T41" fmla="*/ 145 h 546"/>
                <a:gd name="T42" fmla="*/ 545 w 589"/>
                <a:gd name="T43" fmla="*/ 117 h 546"/>
                <a:gd name="T44" fmla="*/ 550 w 589"/>
                <a:gd name="T45" fmla="*/ 111 h 546"/>
                <a:gd name="T46" fmla="*/ 558 w 589"/>
                <a:gd name="T47" fmla="*/ 65 h 546"/>
                <a:gd name="T48" fmla="*/ 544 w 589"/>
                <a:gd name="T49" fmla="*/ 42 h 546"/>
                <a:gd name="T50" fmla="*/ 510 w 589"/>
                <a:gd name="T51" fmla="*/ 2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89" h="546">
                  <a:moveTo>
                    <a:pt x="95" y="546"/>
                  </a:moveTo>
                  <a:cubicBezTo>
                    <a:pt x="72" y="546"/>
                    <a:pt x="49" y="538"/>
                    <a:pt x="31" y="521"/>
                  </a:cubicBezTo>
                  <a:cubicBezTo>
                    <a:pt x="11" y="503"/>
                    <a:pt x="0" y="477"/>
                    <a:pt x="0" y="449"/>
                  </a:cubicBezTo>
                  <a:cubicBezTo>
                    <a:pt x="1" y="422"/>
                    <a:pt x="13" y="396"/>
                    <a:pt x="35" y="378"/>
                  </a:cubicBezTo>
                  <a:cubicBezTo>
                    <a:pt x="462" y="23"/>
                    <a:pt x="462" y="23"/>
                    <a:pt x="462" y="23"/>
                  </a:cubicBezTo>
                  <a:cubicBezTo>
                    <a:pt x="468" y="17"/>
                    <a:pt x="475" y="13"/>
                    <a:pt x="483" y="10"/>
                  </a:cubicBezTo>
                  <a:cubicBezTo>
                    <a:pt x="509" y="0"/>
                    <a:pt x="539" y="5"/>
                    <a:pt x="560" y="25"/>
                  </a:cubicBezTo>
                  <a:cubicBezTo>
                    <a:pt x="570" y="34"/>
                    <a:pt x="577" y="45"/>
                    <a:pt x="581" y="58"/>
                  </a:cubicBezTo>
                  <a:cubicBezTo>
                    <a:pt x="589" y="81"/>
                    <a:pt x="584" y="106"/>
                    <a:pt x="570" y="125"/>
                  </a:cubicBezTo>
                  <a:cubicBezTo>
                    <a:pt x="567" y="128"/>
                    <a:pt x="565" y="131"/>
                    <a:pt x="562" y="134"/>
                  </a:cubicBezTo>
                  <a:cubicBezTo>
                    <a:pt x="161" y="520"/>
                    <a:pt x="161" y="520"/>
                    <a:pt x="161" y="520"/>
                  </a:cubicBezTo>
                  <a:cubicBezTo>
                    <a:pt x="143" y="537"/>
                    <a:pt x="119" y="546"/>
                    <a:pt x="95" y="546"/>
                  </a:cubicBezTo>
                  <a:close/>
                  <a:moveTo>
                    <a:pt x="510" y="29"/>
                  </a:moveTo>
                  <a:cubicBezTo>
                    <a:pt x="504" y="29"/>
                    <a:pt x="497" y="30"/>
                    <a:pt x="491" y="33"/>
                  </a:cubicBezTo>
                  <a:cubicBezTo>
                    <a:pt x="486" y="35"/>
                    <a:pt x="481" y="38"/>
                    <a:pt x="477" y="41"/>
                  </a:cubicBezTo>
                  <a:cubicBezTo>
                    <a:pt x="50" y="397"/>
                    <a:pt x="50" y="397"/>
                    <a:pt x="50" y="397"/>
                  </a:cubicBezTo>
                  <a:cubicBezTo>
                    <a:pt x="34" y="410"/>
                    <a:pt x="25" y="429"/>
                    <a:pt x="24" y="450"/>
                  </a:cubicBezTo>
                  <a:cubicBezTo>
                    <a:pt x="24" y="470"/>
                    <a:pt x="32" y="490"/>
                    <a:pt x="48" y="504"/>
                  </a:cubicBezTo>
                  <a:cubicBezTo>
                    <a:pt x="75" y="529"/>
                    <a:pt x="117" y="528"/>
                    <a:pt x="144" y="502"/>
                  </a:cubicBezTo>
                  <a:cubicBezTo>
                    <a:pt x="516" y="145"/>
                    <a:pt x="516" y="145"/>
                    <a:pt x="516" y="145"/>
                  </a:cubicBezTo>
                  <a:cubicBezTo>
                    <a:pt x="516" y="145"/>
                    <a:pt x="516" y="145"/>
                    <a:pt x="516" y="145"/>
                  </a:cubicBezTo>
                  <a:cubicBezTo>
                    <a:pt x="545" y="117"/>
                    <a:pt x="545" y="117"/>
                    <a:pt x="545" y="117"/>
                  </a:cubicBezTo>
                  <a:cubicBezTo>
                    <a:pt x="547" y="115"/>
                    <a:pt x="549" y="113"/>
                    <a:pt x="550" y="111"/>
                  </a:cubicBezTo>
                  <a:cubicBezTo>
                    <a:pt x="560" y="98"/>
                    <a:pt x="563" y="81"/>
                    <a:pt x="558" y="65"/>
                  </a:cubicBezTo>
                  <a:cubicBezTo>
                    <a:pt x="556" y="56"/>
                    <a:pt x="551" y="49"/>
                    <a:pt x="544" y="42"/>
                  </a:cubicBezTo>
                  <a:cubicBezTo>
                    <a:pt x="534" y="34"/>
                    <a:pt x="522" y="29"/>
                    <a:pt x="510" y="2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" name="Freeform 2266">
              <a:extLst>
                <a:ext uri="{FF2B5EF4-FFF2-40B4-BE49-F238E27FC236}">
                  <a16:creationId xmlns:a16="http://schemas.microsoft.com/office/drawing/2014/main" id="{8B886F30-BB33-4C41-A283-C47C9E2DF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" y="3066"/>
              <a:ext cx="38" cy="34"/>
            </a:xfrm>
            <a:custGeom>
              <a:avLst/>
              <a:gdLst>
                <a:gd name="T0" fmla="*/ 116 w 139"/>
                <a:gd name="T1" fmla="*/ 123 h 123"/>
                <a:gd name="T2" fmla="*/ 112 w 139"/>
                <a:gd name="T3" fmla="*/ 122 h 123"/>
                <a:gd name="T4" fmla="*/ 105 w 139"/>
                <a:gd name="T5" fmla="*/ 107 h 123"/>
                <a:gd name="T6" fmla="*/ 90 w 139"/>
                <a:gd name="T7" fmla="*/ 45 h 123"/>
                <a:gd name="T8" fmla="*/ 21 w 139"/>
                <a:gd name="T9" fmla="*/ 40 h 123"/>
                <a:gd name="T10" fmla="*/ 4 w 139"/>
                <a:gd name="T11" fmla="*/ 37 h 123"/>
                <a:gd name="T12" fmla="*/ 7 w 139"/>
                <a:gd name="T13" fmla="*/ 20 h 123"/>
                <a:gd name="T14" fmla="*/ 106 w 139"/>
                <a:gd name="T15" fmla="*/ 27 h 123"/>
                <a:gd name="T16" fmla="*/ 127 w 139"/>
                <a:gd name="T17" fmla="*/ 115 h 123"/>
                <a:gd name="T18" fmla="*/ 116 w 139"/>
                <a:gd name="T1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23">
                  <a:moveTo>
                    <a:pt x="116" y="123"/>
                  </a:moveTo>
                  <a:cubicBezTo>
                    <a:pt x="114" y="123"/>
                    <a:pt x="113" y="122"/>
                    <a:pt x="112" y="122"/>
                  </a:cubicBezTo>
                  <a:cubicBezTo>
                    <a:pt x="105" y="120"/>
                    <a:pt x="102" y="113"/>
                    <a:pt x="105" y="107"/>
                  </a:cubicBezTo>
                  <a:cubicBezTo>
                    <a:pt x="113" y="85"/>
                    <a:pt x="107" y="61"/>
                    <a:pt x="90" y="45"/>
                  </a:cubicBezTo>
                  <a:cubicBezTo>
                    <a:pt x="71" y="28"/>
                    <a:pt x="42" y="26"/>
                    <a:pt x="21" y="40"/>
                  </a:cubicBezTo>
                  <a:cubicBezTo>
                    <a:pt x="15" y="44"/>
                    <a:pt x="8" y="42"/>
                    <a:pt x="4" y="37"/>
                  </a:cubicBezTo>
                  <a:cubicBezTo>
                    <a:pt x="0" y="31"/>
                    <a:pt x="2" y="24"/>
                    <a:pt x="7" y="20"/>
                  </a:cubicBezTo>
                  <a:cubicBezTo>
                    <a:pt x="38" y="0"/>
                    <a:pt x="79" y="3"/>
                    <a:pt x="106" y="27"/>
                  </a:cubicBezTo>
                  <a:cubicBezTo>
                    <a:pt x="130" y="50"/>
                    <a:pt x="139" y="84"/>
                    <a:pt x="127" y="115"/>
                  </a:cubicBezTo>
                  <a:cubicBezTo>
                    <a:pt x="125" y="120"/>
                    <a:pt x="121" y="123"/>
                    <a:pt x="116" y="12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Freeform 2267">
              <a:extLst>
                <a:ext uri="{FF2B5EF4-FFF2-40B4-BE49-F238E27FC236}">
                  <a16:creationId xmlns:a16="http://schemas.microsoft.com/office/drawing/2014/main" id="{A5758392-849C-40B4-B880-AF88D6BB7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" y="2699"/>
              <a:ext cx="256" cy="324"/>
            </a:xfrm>
            <a:custGeom>
              <a:avLst/>
              <a:gdLst>
                <a:gd name="T0" fmla="*/ 4 w 929"/>
                <a:gd name="T1" fmla="*/ 873 h 1173"/>
                <a:gd name="T2" fmla="*/ 0 w 929"/>
                <a:gd name="T3" fmla="*/ 921 h 1173"/>
                <a:gd name="T4" fmla="*/ 71 w 929"/>
                <a:gd name="T5" fmla="*/ 1073 h 1173"/>
                <a:gd name="T6" fmla="*/ 257 w 929"/>
                <a:gd name="T7" fmla="*/ 1173 h 1173"/>
                <a:gd name="T8" fmla="*/ 192 w 929"/>
                <a:gd name="T9" fmla="*/ 1074 h 1173"/>
                <a:gd name="T10" fmla="*/ 187 w 929"/>
                <a:gd name="T11" fmla="*/ 1022 h 1173"/>
                <a:gd name="T12" fmla="*/ 419 w 929"/>
                <a:gd name="T13" fmla="*/ 620 h 1173"/>
                <a:gd name="T14" fmla="*/ 444 w 929"/>
                <a:gd name="T15" fmla="*/ 607 h 1173"/>
                <a:gd name="T16" fmla="*/ 731 w 929"/>
                <a:gd name="T17" fmla="*/ 150 h 1173"/>
                <a:gd name="T18" fmla="*/ 817 w 929"/>
                <a:gd name="T19" fmla="*/ 116 h 1173"/>
                <a:gd name="T20" fmla="*/ 929 w 929"/>
                <a:gd name="T21" fmla="*/ 126 h 1173"/>
                <a:gd name="T22" fmla="*/ 745 w 929"/>
                <a:gd name="T23" fmla="*/ 28 h 1173"/>
                <a:gd name="T24" fmla="*/ 544 w 929"/>
                <a:gd name="T25" fmla="*/ 50 h 1173"/>
                <a:gd name="T26" fmla="*/ 257 w 929"/>
                <a:gd name="T27" fmla="*/ 507 h 1173"/>
                <a:gd name="T28" fmla="*/ 232 w 929"/>
                <a:gd name="T29" fmla="*/ 520 h 1173"/>
                <a:gd name="T30" fmla="*/ 77 w 929"/>
                <a:gd name="T31" fmla="*/ 679 h 1173"/>
                <a:gd name="T32" fmla="*/ 4 w 929"/>
                <a:gd name="T33" fmla="*/ 873 h 1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9" h="1173">
                  <a:moveTo>
                    <a:pt x="4" y="873"/>
                  </a:moveTo>
                  <a:cubicBezTo>
                    <a:pt x="2" y="889"/>
                    <a:pt x="0" y="906"/>
                    <a:pt x="0" y="921"/>
                  </a:cubicBezTo>
                  <a:cubicBezTo>
                    <a:pt x="0" y="997"/>
                    <a:pt x="28" y="1050"/>
                    <a:pt x="71" y="1073"/>
                  </a:cubicBezTo>
                  <a:cubicBezTo>
                    <a:pt x="257" y="1173"/>
                    <a:pt x="257" y="1173"/>
                    <a:pt x="257" y="1173"/>
                  </a:cubicBezTo>
                  <a:cubicBezTo>
                    <a:pt x="225" y="1155"/>
                    <a:pt x="202" y="1121"/>
                    <a:pt x="192" y="1074"/>
                  </a:cubicBezTo>
                  <a:cubicBezTo>
                    <a:pt x="189" y="1058"/>
                    <a:pt x="187" y="1041"/>
                    <a:pt x="187" y="1022"/>
                  </a:cubicBezTo>
                  <a:cubicBezTo>
                    <a:pt x="187" y="874"/>
                    <a:pt x="291" y="694"/>
                    <a:pt x="419" y="620"/>
                  </a:cubicBezTo>
                  <a:cubicBezTo>
                    <a:pt x="427" y="616"/>
                    <a:pt x="436" y="611"/>
                    <a:pt x="444" y="607"/>
                  </a:cubicBezTo>
                  <a:cubicBezTo>
                    <a:pt x="462" y="433"/>
                    <a:pt x="583" y="235"/>
                    <a:pt x="731" y="150"/>
                  </a:cubicBezTo>
                  <a:cubicBezTo>
                    <a:pt x="761" y="133"/>
                    <a:pt x="790" y="122"/>
                    <a:pt x="817" y="116"/>
                  </a:cubicBezTo>
                  <a:cubicBezTo>
                    <a:pt x="859" y="106"/>
                    <a:pt x="897" y="111"/>
                    <a:pt x="929" y="126"/>
                  </a:cubicBezTo>
                  <a:cubicBezTo>
                    <a:pt x="745" y="28"/>
                    <a:pt x="745" y="28"/>
                    <a:pt x="745" y="28"/>
                  </a:cubicBezTo>
                  <a:cubicBezTo>
                    <a:pt x="693" y="0"/>
                    <a:pt x="622" y="5"/>
                    <a:pt x="544" y="50"/>
                  </a:cubicBezTo>
                  <a:cubicBezTo>
                    <a:pt x="397" y="135"/>
                    <a:pt x="275" y="332"/>
                    <a:pt x="257" y="507"/>
                  </a:cubicBezTo>
                  <a:cubicBezTo>
                    <a:pt x="249" y="511"/>
                    <a:pt x="241" y="515"/>
                    <a:pt x="232" y="520"/>
                  </a:cubicBezTo>
                  <a:cubicBezTo>
                    <a:pt x="172" y="555"/>
                    <a:pt x="118" y="612"/>
                    <a:pt x="77" y="679"/>
                  </a:cubicBezTo>
                  <a:cubicBezTo>
                    <a:pt x="39" y="740"/>
                    <a:pt x="13" y="808"/>
                    <a:pt x="4" y="873"/>
                  </a:cubicBez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8" name="Freeform 2268">
              <a:extLst>
                <a:ext uri="{FF2B5EF4-FFF2-40B4-BE49-F238E27FC236}">
                  <a16:creationId xmlns:a16="http://schemas.microsoft.com/office/drawing/2014/main" id="{E049FA89-7475-485F-AA7C-9FA154402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" y="2728"/>
              <a:ext cx="282" cy="299"/>
            </a:xfrm>
            <a:custGeom>
              <a:avLst/>
              <a:gdLst>
                <a:gd name="T0" fmla="*/ 0 w 1019"/>
                <a:gd name="T1" fmla="*/ 916 h 1083"/>
                <a:gd name="T2" fmla="*/ 5 w 1019"/>
                <a:gd name="T3" fmla="*/ 968 h 1083"/>
                <a:gd name="T4" fmla="*/ 70 w 1019"/>
                <a:gd name="T5" fmla="*/ 1067 h 1083"/>
                <a:gd name="T6" fmla="*/ 71 w 1019"/>
                <a:gd name="T7" fmla="*/ 1067 h 1083"/>
                <a:gd name="T8" fmla="*/ 144 w 1019"/>
                <a:gd name="T9" fmla="*/ 1080 h 1083"/>
                <a:gd name="T10" fmla="*/ 209 w 1019"/>
                <a:gd name="T11" fmla="*/ 1061 h 1083"/>
                <a:gd name="T12" fmla="*/ 232 w 1019"/>
                <a:gd name="T13" fmla="*/ 1049 h 1083"/>
                <a:gd name="T14" fmla="*/ 821 w 1019"/>
                <a:gd name="T15" fmla="*/ 709 h 1083"/>
                <a:gd name="T16" fmla="*/ 1019 w 1019"/>
                <a:gd name="T17" fmla="*/ 366 h 1083"/>
                <a:gd name="T18" fmla="*/ 832 w 1019"/>
                <a:gd name="T19" fmla="*/ 245 h 1083"/>
                <a:gd name="T20" fmla="*/ 831 w 1019"/>
                <a:gd name="T21" fmla="*/ 245 h 1083"/>
                <a:gd name="T22" fmla="*/ 832 w 1019"/>
                <a:gd name="T23" fmla="*/ 243 h 1083"/>
                <a:gd name="T24" fmla="*/ 833 w 1019"/>
                <a:gd name="T25" fmla="*/ 211 h 1083"/>
                <a:gd name="T26" fmla="*/ 744 w 1019"/>
                <a:gd name="T27" fmla="*/ 22 h 1083"/>
                <a:gd name="T28" fmla="*/ 742 w 1019"/>
                <a:gd name="T29" fmla="*/ 20 h 1083"/>
                <a:gd name="T30" fmla="*/ 630 w 1019"/>
                <a:gd name="T31" fmla="*/ 10 h 1083"/>
                <a:gd name="T32" fmla="*/ 544 w 1019"/>
                <a:gd name="T33" fmla="*/ 44 h 1083"/>
                <a:gd name="T34" fmla="*/ 257 w 1019"/>
                <a:gd name="T35" fmla="*/ 501 h 1083"/>
                <a:gd name="T36" fmla="*/ 232 w 1019"/>
                <a:gd name="T37" fmla="*/ 514 h 1083"/>
                <a:gd name="T38" fmla="*/ 0 w 1019"/>
                <a:gd name="T39" fmla="*/ 916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19" h="1083">
                  <a:moveTo>
                    <a:pt x="0" y="916"/>
                  </a:moveTo>
                  <a:cubicBezTo>
                    <a:pt x="0" y="935"/>
                    <a:pt x="2" y="952"/>
                    <a:pt x="5" y="968"/>
                  </a:cubicBezTo>
                  <a:cubicBezTo>
                    <a:pt x="15" y="1015"/>
                    <a:pt x="38" y="1049"/>
                    <a:pt x="70" y="1067"/>
                  </a:cubicBezTo>
                  <a:cubicBezTo>
                    <a:pt x="71" y="1067"/>
                    <a:pt x="71" y="1067"/>
                    <a:pt x="71" y="1067"/>
                  </a:cubicBezTo>
                  <a:cubicBezTo>
                    <a:pt x="92" y="1079"/>
                    <a:pt x="117" y="1083"/>
                    <a:pt x="144" y="1080"/>
                  </a:cubicBezTo>
                  <a:cubicBezTo>
                    <a:pt x="165" y="1078"/>
                    <a:pt x="186" y="1072"/>
                    <a:pt x="209" y="1061"/>
                  </a:cubicBezTo>
                  <a:cubicBezTo>
                    <a:pt x="216" y="1058"/>
                    <a:pt x="224" y="1054"/>
                    <a:pt x="232" y="1049"/>
                  </a:cubicBezTo>
                  <a:cubicBezTo>
                    <a:pt x="821" y="709"/>
                    <a:pt x="821" y="709"/>
                    <a:pt x="821" y="709"/>
                  </a:cubicBezTo>
                  <a:cubicBezTo>
                    <a:pt x="930" y="646"/>
                    <a:pt x="1019" y="492"/>
                    <a:pt x="1019" y="366"/>
                  </a:cubicBezTo>
                  <a:cubicBezTo>
                    <a:pt x="1019" y="243"/>
                    <a:pt x="936" y="191"/>
                    <a:pt x="832" y="245"/>
                  </a:cubicBezTo>
                  <a:cubicBezTo>
                    <a:pt x="832" y="245"/>
                    <a:pt x="831" y="245"/>
                    <a:pt x="831" y="245"/>
                  </a:cubicBezTo>
                  <a:cubicBezTo>
                    <a:pt x="831" y="245"/>
                    <a:pt x="831" y="244"/>
                    <a:pt x="832" y="243"/>
                  </a:cubicBezTo>
                  <a:cubicBezTo>
                    <a:pt x="832" y="232"/>
                    <a:pt x="833" y="222"/>
                    <a:pt x="833" y="211"/>
                  </a:cubicBezTo>
                  <a:cubicBezTo>
                    <a:pt x="833" y="117"/>
                    <a:pt x="799" y="51"/>
                    <a:pt x="744" y="22"/>
                  </a:cubicBezTo>
                  <a:cubicBezTo>
                    <a:pt x="742" y="20"/>
                    <a:pt x="742" y="20"/>
                    <a:pt x="742" y="20"/>
                  </a:cubicBezTo>
                  <a:cubicBezTo>
                    <a:pt x="710" y="5"/>
                    <a:pt x="672" y="0"/>
                    <a:pt x="630" y="10"/>
                  </a:cubicBezTo>
                  <a:cubicBezTo>
                    <a:pt x="603" y="16"/>
                    <a:pt x="574" y="27"/>
                    <a:pt x="544" y="44"/>
                  </a:cubicBezTo>
                  <a:cubicBezTo>
                    <a:pt x="396" y="129"/>
                    <a:pt x="275" y="327"/>
                    <a:pt x="257" y="501"/>
                  </a:cubicBezTo>
                  <a:cubicBezTo>
                    <a:pt x="249" y="505"/>
                    <a:pt x="240" y="510"/>
                    <a:pt x="232" y="514"/>
                  </a:cubicBezTo>
                  <a:cubicBezTo>
                    <a:pt x="104" y="588"/>
                    <a:pt x="0" y="768"/>
                    <a:pt x="0" y="9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9" name="Freeform 2269">
              <a:extLst>
                <a:ext uri="{FF2B5EF4-FFF2-40B4-BE49-F238E27FC236}">
                  <a16:creationId xmlns:a16="http://schemas.microsoft.com/office/drawing/2014/main" id="{8E6291D0-058B-45ED-AF9D-60DCA15A9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" y="2730"/>
              <a:ext cx="269" cy="300"/>
            </a:xfrm>
            <a:custGeom>
              <a:avLst/>
              <a:gdLst>
                <a:gd name="T0" fmla="*/ 72 w 975"/>
                <a:gd name="T1" fmla="*/ 1086 h 1086"/>
                <a:gd name="T2" fmla="*/ 9 w 975"/>
                <a:gd name="T3" fmla="*/ 1071 h 1086"/>
                <a:gd name="T4" fmla="*/ 9 w 975"/>
                <a:gd name="T5" fmla="*/ 1070 h 1086"/>
                <a:gd name="T6" fmla="*/ 3 w 975"/>
                <a:gd name="T7" fmla="*/ 1054 h 1086"/>
                <a:gd name="T8" fmla="*/ 19 w 975"/>
                <a:gd name="T9" fmla="*/ 1049 h 1086"/>
                <a:gd name="T10" fmla="*/ 20 w 975"/>
                <a:gd name="T11" fmla="*/ 1049 h 1086"/>
                <a:gd name="T12" fmla="*/ 87 w 975"/>
                <a:gd name="T13" fmla="*/ 1061 h 1086"/>
                <a:gd name="T14" fmla="*/ 148 w 975"/>
                <a:gd name="T15" fmla="*/ 1043 h 1086"/>
                <a:gd name="T16" fmla="*/ 759 w 975"/>
                <a:gd name="T17" fmla="*/ 692 h 1086"/>
                <a:gd name="T18" fmla="*/ 951 w 975"/>
                <a:gd name="T19" fmla="*/ 359 h 1086"/>
                <a:gd name="T20" fmla="*/ 901 w 975"/>
                <a:gd name="T21" fmla="*/ 242 h 1086"/>
                <a:gd name="T22" fmla="*/ 781 w 975"/>
                <a:gd name="T23" fmla="*/ 249 h 1086"/>
                <a:gd name="T24" fmla="*/ 766 w 975"/>
                <a:gd name="T25" fmla="*/ 246 h 1086"/>
                <a:gd name="T26" fmla="*/ 763 w 975"/>
                <a:gd name="T27" fmla="*/ 237 h 1086"/>
                <a:gd name="T28" fmla="*/ 764 w 975"/>
                <a:gd name="T29" fmla="*/ 235 h 1086"/>
                <a:gd name="T30" fmla="*/ 765 w 975"/>
                <a:gd name="T31" fmla="*/ 204 h 1086"/>
                <a:gd name="T32" fmla="*/ 683 w 975"/>
                <a:gd name="T33" fmla="*/ 26 h 1086"/>
                <a:gd name="T34" fmla="*/ 680 w 975"/>
                <a:gd name="T35" fmla="*/ 24 h 1086"/>
                <a:gd name="T36" fmla="*/ 675 w 975"/>
                <a:gd name="T37" fmla="*/ 8 h 1086"/>
                <a:gd name="T38" fmla="*/ 691 w 975"/>
                <a:gd name="T39" fmla="*/ 3 h 1086"/>
                <a:gd name="T40" fmla="*/ 694 w 975"/>
                <a:gd name="T41" fmla="*/ 5 h 1086"/>
                <a:gd name="T42" fmla="*/ 789 w 975"/>
                <a:gd name="T43" fmla="*/ 204 h 1086"/>
                <a:gd name="T44" fmla="*/ 788 w 975"/>
                <a:gd name="T45" fmla="*/ 219 h 1086"/>
                <a:gd name="T46" fmla="*/ 913 w 975"/>
                <a:gd name="T47" fmla="*/ 221 h 1086"/>
                <a:gd name="T48" fmla="*/ 975 w 975"/>
                <a:gd name="T49" fmla="*/ 359 h 1086"/>
                <a:gd name="T50" fmla="*/ 771 w 975"/>
                <a:gd name="T51" fmla="*/ 713 h 1086"/>
                <a:gd name="T52" fmla="*/ 158 w 975"/>
                <a:gd name="T53" fmla="*/ 1065 h 1086"/>
                <a:gd name="T54" fmla="*/ 90 w 975"/>
                <a:gd name="T55" fmla="*/ 1085 h 1086"/>
                <a:gd name="T56" fmla="*/ 72 w 975"/>
                <a:gd name="T57" fmla="*/ 1086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75" h="1086">
                  <a:moveTo>
                    <a:pt x="72" y="1086"/>
                  </a:moveTo>
                  <a:cubicBezTo>
                    <a:pt x="49" y="1086"/>
                    <a:pt x="28" y="1081"/>
                    <a:pt x="9" y="1071"/>
                  </a:cubicBezTo>
                  <a:cubicBezTo>
                    <a:pt x="9" y="1070"/>
                    <a:pt x="9" y="1070"/>
                    <a:pt x="9" y="1070"/>
                  </a:cubicBezTo>
                  <a:cubicBezTo>
                    <a:pt x="3" y="1068"/>
                    <a:pt x="0" y="1060"/>
                    <a:pt x="3" y="1054"/>
                  </a:cubicBezTo>
                  <a:cubicBezTo>
                    <a:pt x="6" y="1048"/>
                    <a:pt x="13" y="1046"/>
                    <a:pt x="19" y="1049"/>
                  </a:cubicBezTo>
                  <a:cubicBezTo>
                    <a:pt x="20" y="1049"/>
                    <a:pt x="20" y="1049"/>
                    <a:pt x="20" y="1049"/>
                  </a:cubicBezTo>
                  <a:cubicBezTo>
                    <a:pt x="40" y="1060"/>
                    <a:pt x="62" y="1064"/>
                    <a:pt x="87" y="1061"/>
                  </a:cubicBezTo>
                  <a:cubicBezTo>
                    <a:pt x="106" y="1059"/>
                    <a:pt x="127" y="1053"/>
                    <a:pt x="148" y="1043"/>
                  </a:cubicBezTo>
                  <a:cubicBezTo>
                    <a:pt x="158" y="1038"/>
                    <a:pt x="552" y="811"/>
                    <a:pt x="759" y="692"/>
                  </a:cubicBezTo>
                  <a:cubicBezTo>
                    <a:pt x="865" y="631"/>
                    <a:pt x="951" y="481"/>
                    <a:pt x="951" y="359"/>
                  </a:cubicBezTo>
                  <a:cubicBezTo>
                    <a:pt x="951" y="303"/>
                    <a:pt x="933" y="261"/>
                    <a:pt x="901" y="242"/>
                  </a:cubicBezTo>
                  <a:cubicBezTo>
                    <a:pt x="870" y="223"/>
                    <a:pt x="827" y="225"/>
                    <a:pt x="781" y="249"/>
                  </a:cubicBezTo>
                  <a:cubicBezTo>
                    <a:pt x="776" y="251"/>
                    <a:pt x="770" y="250"/>
                    <a:pt x="766" y="246"/>
                  </a:cubicBezTo>
                  <a:cubicBezTo>
                    <a:pt x="764" y="244"/>
                    <a:pt x="763" y="240"/>
                    <a:pt x="763" y="237"/>
                  </a:cubicBezTo>
                  <a:cubicBezTo>
                    <a:pt x="763" y="236"/>
                    <a:pt x="764" y="236"/>
                    <a:pt x="764" y="235"/>
                  </a:cubicBezTo>
                  <a:cubicBezTo>
                    <a:pt x="764" y="223"/>
                    <a:pt x="765" y="213"/>
                    <a:pt x="765" y="204"/>
                  </a:cubicBezTo>
                  <a:cubicBezTo>
                    <a:pt x="765" y="117"/>
                    <a:pt x="736" y="54"/>
                    <a:pt x="683" y="26"/>
                  </a:cubicBezTo>
                  <a:cubicBezTo>
                    <a:pt x="680" y="24"/>
                    <a:pt x="680" y="24"/>
                    <a:pt x="680" y="24"/>
                  </a:cubicBezTo>
                  <a:cubicBezTo>
                    <a:pt x="674" y="21"/>
                    <a:pt x="672" y="13"/>
                    <a:pt x="675" y="8"/>
                  </a:cubicBezTo>
                  <a:cubicBezTo>
                    <a:pt x="678" y="2"/>
                    <a:pt x="685" y="0"/>
                    <a:pt x="691" y="3"/>
                  </a:cubicBezTo>
                  <a:cubicBezTo>
                    <a:pt x="694" y="5"/>
                    <a:pt x="694" y="5"/>
                    <a:pt x="694" y="5"/>
                  </a:cubicBezTo>
                  <a:cubicBezTo>
                    <a:pt x="755" y="37"/>
                    <a:pt x="789" y="108"/>
                    <a:pt x="789" y="204"/>
                  </a:cubicBezTo>
                  <a:cubicBezTo>
                    <a:pt x="789" y="209"/>
                    <a:pt x="789" y="214"/>
                    <a:pt x="788" y="219"/>
                  </a:cubicBezTo>
                  <a:cubicBezTo>
                    <a:pt x="835" y="200"/>
                    <a:pt x="879" y="200"/>
                    <a:pt x="913" y="221"/>
                  </a:cubicBezTo>
                  <a:cubicBezTo>
                    <a:pt x="953" y="245"/>
                    <a:pt x="975" y="294"/>
                    <a:pt x="975" y="359"/>
                  </a:cubicBezTo>
                  <a:cubicBezTo>
                    <a:pt x="975" y="489"/>
                    <a:pt x="884" y="648"/>
                    <a:pt x="771" y="713"/>
                  </a:cubicBezTo>
                  <a:cubicBezTo>
                    <a:pt x="670" y="771"/>
                    <a:pt x="166" y="1062"/>
                    <a:pt x="158" y="1065"/>
                  </a:cubicBezTo>
                  <a:cubicBezTo>
                    <a:pt x="135" y="1076"/>
                    <a:pt x="112" y="1083"/>
                    <a:pt x="90" y="1085"/>
                  </a:cubicBezTo>
                  <a:cubicBezTo>
                    <a:pt x="84" y="1086"/>
                    <a:pt x="78" y="1086"/>
                    <a:pt x="72" y="108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0" name="Freeform 2270">
              <a:extLst>
                <a:ext uri="{FF2B5EF4-FFF2-40B4-BE49-F238E27FC236}">
                  <a16:creationId xmlns:a16="http://schemas.microsoft.com/office/drawing/2014/main" id="{609DE557-BC3B-41A9-9C3F-1FADE6D5B7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" y="2695"/>
              <a:ext cx="264" cy="331"/>
            </a:xfrm>
            <a:custGeom>
              <a:avLst/>
              <a:gdLst>
                <a:gd name="T0" fmla="*/ 269 w 954"/>
                <a:gd name="T1" fmla="*/ 1199 h 1199"/>
                <a:gd name="T2" fmla="*/ 263 w 954"/>
                <a:gd name="T3" fmla="*/ 1197 h 1199"/>
                <a:gd name="T4" fmla="*/ 78 w 954"/>
                <a:gd name="T5" fmla="*/ 1098 h 1199"/>
                <a:gd name="T6" fmla="*/ 0 w 954"/>
                <a:gd name="T7" fmla="*/ 935 h 1199"/>
                <a:gd name="T8" fmla="*/ 4 w 954"/>
                <a:gd name="T9" fmla="*/ 885 h 1199"/>
                <a:gd name="T10" fmla="*/ 78 w 954"/>
                <a:gd name="T11" fmla="*/ 687 h 1199"/>
                <a:gd name="T12" fmla="*/ 238 w 954"/>
                <a:gd name="T13" fmla="*/ 524 h 1199"/>
                <a:gd name="T14" fmla="*/ 258 w 954"/>
                <a:gd name="T15" fmla="*/ 513 h 1199"/>
                <a:gd name="T16" fmla="*/ 550 w 954"/>
                <a:gd name="T17" fmla="*/ 54 h 1199"/>
                <a:gd name="T18" fmla="*/ 762 w 954"/>
                <a:gd name="T19" fmla="*/ 31 h 1199"/>
                <a:gd name="T20" fmla="*/ 946 w 954"/>
                <a:gd name="T21" fmla="*/ 130 h 1199"/>
                <a:gd name="T22" fmla="*/ 951 w 954"/>
                <a:gd name="T23" fmla="*/ 146 h 1199"/>
                <a:gd name="T24" fmla="*/ 935 w 954"/>
                <a:gd name="T25" fmla="*/ 151 h 1199"/>
                <a:gd name="T26" fmla="*/ 831 w 954"/>
                <a:gd name="T27" fmla="*/ 141 h 1199"/>
                <a:gd name="T28" fmla="*/ 749 w 954"/>
                <a:gd name="T29" fmla="*/ 175 h 1199"/>
                <a:gd name="T30" fmla="*/ 468 w 954"/>
                <a:gd name="T31" fmla="*/ 623 h 1199"/>
                <a:gd name="T32" fmla="*/ 461 w 954"/>
                <a:gd name="T33" fmla="*/ 632 h 1199"/>
                <a:gd name="T34" fmla="*/ 437 w 954"/>
                <a:gd name="T35" fmla="*/ 645 h 1199"/>
                <a:gd name="T36" fmla="*/ 211 w 954"/>
                <a:gd name="T37" fmla="*/ 1036 h 1199"/>
                <a:gd name="T38" fmla="*/ 216 w 954"/>
                <a:gd name="T39" fmla="*/ 1086 h 1199"/>
                <a:gd name="T40" fmla="*/ 275 w 954"/>
                <a:gd name="T41" fmla="*/ 1176 h 1199"/>
                <a:gd name="T42" fmla="*/ 279 w 954"/>
                <a:gd name="T43" fmla="*/ 1192 h 1199"/>
                <a:gd name="T44" fmla="*/ 269 w 954"/>
                <a:gd name="T45" fmla="*/ 1199 h 1199"/>
                <a:gd name="T46" fmla="*/ 685 w 954"/>
                <a:gd name="T47" fmla="*/ 37 h 1199"/>
                <a:gd name="T48" fmla="*/ 562 w 954"/>
                <a:gd name="T49" fmla="*/ 75 h 1199"/>
                <a:gd name="T50" fmla="*/ 281 w 954"/>
                <a:gd name="T51" fmla="*/ 522 h 1199"/>
                <a:gd name="T52" fmla="*/ 274 w 954"/>
                <a:gd name="T53" fmla="*/ 532 h 1199"/>
                <a:gd name="T54" fmla="*/ 250 w 954"/>
                <a:gd name="T55" fmla="*/ 545 h 1199"/>
                <a:gd name="T56" fmla="*/ 99 w 954"/>
                <a:gd name="T57" fmla="*/ 699 h 1199"/>
                <a:gd name="T58" fmla="*/ 28 w 954"/>
                <a:gd name="T59" fmla="*/ 889 h 1199"/>
                <a:gd name="T60" fmla="*/ 24 w 954"/>
                <a:gd name="T61" fmla="*/ 935 h 1199"/>
                <a:gd name="T62" fmla="*/ 89 w 954"/>
                <a:gd name="T63" fmla="*/ 1076 h 1199"/>
                <a:gd name="T64" fmla="*/ 210 w 954"/>
                <a:gd name="T65" fmla="*/ 1141 h 1199"/>
                <a:gd name="T66" fmla="*/ 192 w 954"/>
                <a:gd name="T67" fmla="*/ 1091 h 1199"/>
                <a:gd name="T68" fmla="*/ 187 w 954"/>
                <a:gd name="T69" fmla="*/ 1036 h 1199"/>
                <a:gd name="T70" fmla="*/ 425 w 954"/>
                <a:gd name="T71" fmla="*/ 624 h 1199"/>
                <a:gd name="T72" fmla="*/ 445 w 954"/>
                <a:gd name="T73" fmla="*/ 613 h 1199"/>
                <a:gd name="T74" fmla="*/ 737 w 954"/>
                <a:gd name="T75" fmla="*/ 154 h 1199"/>
                <a:gd name="T76" fmla="*/ 826 w 954"/>
                <a:gd name="T77" fmla="*/ 118 h 1199"/>
                <a:gd name="T78" fmla="*/ 864 w 954"/>
                <a:gd name="T79" fmla="*/ 113 h 1199"/>
                <a:gd name="T80" fmla="*/ 751 w 954"/>
                <a:gd name="T81" fmla="*/ 52 h 1199"/>
                <a:gd name="T82" fmla="*/ 685 w 954"/>
                <a:gd name="T83" fmla="*/ 37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54" h="1199">
                  <a:moveTo>
                    <a:pt x="269" y="1199"/>
                  </a:moveTo>
                  <a:cubicBezTo>
                    <a:pt x="267" y="1199"/>
                    <a:pt x="265" y="1198"/>
                    <a:pt x="263" y="1197"/>
                  </a:cubicBezTo>
                  <a:cubicBezTo>
                    <a:pt x="78" y="1098"/>
                    <a:pt x="78" y="1098"/>
                    <a:pt x="78" y="1098"/>
                  </a:cubicBezTo>
                  <a:cubicBezTo>
                    <a:pt x="28" y="1071"/>
                    <a:pt x="0" y="1013"/>
                    <a:pt x="0" y="935"/>
                  </a:cubicBezTo>
                  <a:cubicBezTo>
                    <a:pt x="0" y="919"/>
                    <a:pt x="2" y="902"/>
                    <a:pt x="4" y="885"/>
                  </a:cubicBezTo>
                  <a:cubicBezTo>
                    <a:pt x="13" y="821"/>
                    <a:pt x="39" y="750"/>
                    <a:pt x="78" y="687"/>
                  </a:cubicBezTo>
                  <a:cubicBezTo>
                    <a:pt x="122" y="616"/>
                    <a:pt x="179" y="558"/>
                    <a:pt x="238" y="524"/>
                  </a:cubicBezTo>
                  <a:cubicBezTo>
                    <a:pt x="245" y="520"/>
                    <a:pt x="252" y="516"/>
                    <a:pt x="258" y="513"/>
                  </a:cubicBezTo>
                  <a:cubicBezTo>
                    <a:pt x="279" y="335"/>
                    <a:pt x="403" y="138"/>
                    <a:pt x="550" y="54"/>
                  </a:cubicBezTo>
                  <a:cubicBezTo>
                    <a:pt x="629" y="8"/>
                    <a:pt x="704" y="0"/>
                    <a:pt x="762" y="31"/>
                  </a:cubicBezTo>
                  <a:cubicBezTo>
                    <a:pt x="946" y="130"/>
                    <a:pt x="946" y="130"/>
                    <a:pt x="946" y="130"/>
                  </a:cubicBezTo>
                  <a:cubicBezTo>
                    <a:pt x="952" y="133"/>
                    <a:pt x="954" y="140"/>
                    <a:pt x="951" y="146"/>
                  </a:cubicBezTo>
                  <a:cubicBezTo>
                    <a:pt x="948" y="152"/>
                    <a:pt x="941" y="154"/>
                    <a:pt x="935" y="151"/>
                  </a:cubicBezTo>
                  <a:cubicBezTo>
                    <a:pt x="906" y="136"/>
                    <a:pt x="870" y="133"/>
                    <a:pt x="831" y="141"/>
                  </a:cubicBezTo>
                  <a:cubicBezTo>
                    <a:pt x="805" y="147"/>
                    <a:pt x="777" y="158"/>
                    <a:pt x="749" y="175"/>
                  </a:cubicBezTo>
                  <a:cubicBezTo>
                    <a:pt x="606" y="257"/>
                    <a:pt x="486" y="449"/>
                    <a:pt x="468" y="623"/>
                  </a:cubicBezTo>
                  <a:cubicBezTo>
                    <a:pt x="467" y="627"/>
                    <a:pt x="465" y="631"/>
                    <a:pt x="461" y="632"/>
                  </a:cubicBezTo>
                  <a:cubicBezTo>
                    <a:pt x="452" y="636"/>
                    <a:pt x="445" y="640"/>
                    <a:pt x="437" y="645"/>
                  </a:cubicBezTo>
                  <a:cubicBezTo>
                    <a:pt x="312" y="717"/>
                    <a:pt x="211" y="892"/>
                    <a:pt x="211" y="1036"/>
                  </a:cubicBezTo>
                  <a:cubicBezTo>
                    <a:pt x="211" y="1053"/>
                    <a:pt x="213" y="1070"/>
                    <a:pt x="216" y="1086"/>
                  </a:cubicBezTo>
                  <a:cubicBezTo>
                    <a:pt x="225" y="1128"/>
                    <a:pt x="245" y="1160"/>
                    <a:pt x="275" y="1176"/>
                  </a:cubicBezTo>
                  <a:cubicBezTo>
                    <a:pt x="280" y="1179"/>
                    <a:pt x="282" y="1187"/>
                    <a:pt x="279" y="1192"/>
                  </a:cubicBezTo>
                  <a:cubicBezTo>
                    <a:pt x="277" y="1196"/>
                    <a:pt x="273" y="1199"/>
                    <a:pt x="269" y="1199"/>
                  </a:cubicBezTo>
                  <a:close/>
                  <a:moveTo>
                    <a:pt x="685" y="37"/>
                  </a:moveTo>
                  <a:cubicBezTo>
                    <a:pt x="647" y="37"/>
                    <a:pt x="605" y="49"/>
                    <a:pt x="562" y="75"/>
                  </a:cubicBezTo>
                  <a:cubicBezTo>
                    <a:pt x="420" y="157"/>
                    <a:pt x="299" y="349"/>
                    <a:pt x="281" y="522"/>
                  </a:cubicBezTo>
                  <a:cubicBezTo>
                    <a:pt x="281" y="527"/>
                    <a:pt x="278" y="530"/>
                    <a:pt x="274" y="532"/>
                  </a:cubicBezTo>
                  <a:cubicBezTo>
                    <a:pt x="266" y="536"/>
                    <a:pt x="258" y="540"/>
                    <a:pt x="250" y="545"/>
                  </a:cubicBezTo>
                  <a:cubicBezTo>
                    <a:pt x="194" y="577"/>
                    <a:pt x="140" y="632"/>
                    <a:pt x="99" y="699"/>
                  </a:cubicBezTo>
                  <a:cubicBezTo>
                    <a:pt x="62" y="760"/>
                    <a:pt x="36" y="827"/>
                    <a:pt x="28" y="889"/>
                  </a:cubicBezTo>
                  <a:cubicBezTo>
                    <a:pt x="26" y="904"/>
                    <a:pt x="24" y="920"/>
                    <a:pt x="24" y="935"/>
                  </a:cubicBezTo>
                  <a:cubicBezTo>
                    <a:pt x="24" y="1004"/>
                    <a:pt x="47" y="1054"/>
                    <a:pt x="89" y="1076"/>
                  </a:cubicBezTo>
                  <a:cubicBezTo>
                    <a:pt x="210" y="1141"/>
                    <a:pt x="210" y="1141"/>
                    <a:pt x="210" y="1141"/>
                  </a:cubicBezTo>
                  <a:cubicBezTo>
                    <a:pt x="202" y="1126"/>
                    <a:pt x="196" y="1109"/>
                    <a:pt x="192" y="1091"/>
                  </a:cubicBezTo>
                  <a:cubicBezTo>
                    <a:pt x="189" y="1073"/>
                    <a:pt x="187" y="1055"/>
                    <a:pt x="187" y="1036"/>
                  </a:cubicBezTo>
                  <a:cubicBezTo>
                    <a:pt x="187" y="884"/>
                    <a:pt x="294" y="700"/>
                    <a:pt x="425" y="624"/>
                  </a:cubicBezTo>
                  <a:cubicBezTo>
                    <a:pt x="431" y="620"/>
                    <a:pt x="438" y="617"/>
                    <a:pt x="445" y="613"/>
                  </a:cubicBezTo>
                  <a:cubicBezTo>
                    <a:pt x="466" y="435"/>
                    <a:pt x="590" y="238"/>
                    <a:pt x="737" y="154"/>
                  </a:cubicBezTo>
                  <a:cubicBezTo>
                    <a:pt x="767" y="136"/>
                    <a:pt x="797" y="124"/>
                    <a:pt x="826" y="118"/>
                  </a:cubicBezTo>
                  <a:cubicBezTo>
                    <a:pt x="839" y="115"/>
                    <a:pt x="852" y="114"/>
                    <a:pt x="864" y="113"/>
                  </a:cubicBezTo>
                  <a:cubicBezTo>
                    <a:pt x="751" y="52"/>
                    <a:pt x="751" y="52"/>
                    <a:pt x="751" y="52"/>
                  </a:cubicBezTo>
                  <a:cubicBezTo>
                    <a:pt x="731" y="42"/>
                    <a:pt x="709" y="37"/>
                    <a:pt x="685" y="3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1" name="Freeform 2271">
              <a:extLst>
                <a:ext uri="{FF2B5EF4-FFF2-40B4-BE49-F238E27FC236}">
                  <a16:creationId xmlns:a16="http://schemas.microsoft.com/office/drawing/2014/main" id="{5A390188-5ED1-4650-B976-590F63F46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60"/>
              <a:ext cx="111" cy="75"/>
            </a:xfrm>
            <a:custGeom>
              <a:avLst/>
              <a:gdLst>
                <a:gd name="T0" fmla="*/ 315 w 403"/>
                <a:gd name="T1" fmla="*/ 272 h 272"/>
                <a:gd name="T2" fmla="*/ 313 w 403"/>
                <a:gd name="T3" fmla="*/ 272 h 272"/>
                <a:gd name="T4" fmla="*/ 304 w 403"/>
                <a:gd name="T5" fmla="*/ 265 h 272"/>
                <a:gd name="T6" fmla="*/ 236 w 403"/>
                <a:gd name="T7" fmla="*/ 120 h 272"/>
                <a:gd name="T8" fmla="*/ 173 w 403"/>
                <a:gd name="T9" fmla="*/ 182 h 272"/>
                <a:gd name="T10" fmla="*/ 162 w 403"/>
                <a:gd name="T11" fmla="*/ 185 h 272"/>
                <a:gd name="T12" fmla="*/ 153 w 403"/>
                <a:gd name="T13" fmla="*/ 179 h 272"/>
                <a:gd name="T14" fmla="*/ 85 w 403"/>
                <a:gd name="T15" fmla="*/ 33 h 272"/>
                <a:gd name="T16" fmla="*/ 22 w 403"/>
                <a:gd name="T17" fmla="*/ 96 h 272"/>
                <a:gd name="T18" fmla="*/ 5 w 403"/>
                <a:gd name="T19" fmla="*/ 96 h 272"/>
                <a:gd name="T20" fmla="*/ 5 w 403"/>
                <a:gd name="T21" fmla="*/ 79 h 272"/>
                <a:gd name="T22" fmla="*/ 80 w 403"/>
                <a:gd name="T23" fmla="*/ 4 h 272"/>
                <a:gd name="T24" fmla="*/ 90 w 403"/>
                <a:gd name="T25" fmla="*/ 1 h 272"/>
                <a:gd name="T26" fmla="*/ 99 w 403"/>
                <a:gd name="T27" fmla="*/ 8 h 272"/>
                <a:gd name="T28" fmla="*/ 168 w 403"/>
                <a:gd name="T29" fmla="*/ 153 h 272"/>
                <a:gd name="T30" fmla="*/ 231 w 403"/>
                <a:gd name="T31" fmla="*/ 91 h 272"/>
                <a:gd name="T32" fmla="*/ 241 w 403"/>
                <a:gd name="T33" fmla="*/ 87 h 272"/>
                <a:gd name="T34" fmla="*/ 250 w 403"/>
                <a:gd name="T35" fmla="*/ 94 h 272"/>
                <a:gd name="T36" fmla="*/ 319 w 403"/>
                <a:gd name="T37" fmla="*/ 239 h 272"/>
                <a:gd name="T38" fmla="*/ 382 w 403"/>
                <a:gd name="T39" fmla="*/ 177 h 272"/>
                <a:gd name="T40" fmla="*/ 399 w 403"/>
                <a:gd name="T41" fmla="*/ 177 h 272"/>
                <a:gd name="T42" fmla="*/ 398 w 403"/>
                <a:gd name="T43" fmla="*/ 194 h 272"/>
                <a:gd name="T44" fmla="*/ 323 w 403"/>
                <a:gd name="T45" fmla="*/ 268 h 272"/>
                <a:gd name="T46" fmla="*/ 315 w 403"/>
                <a:gd name="T47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3" h="272">
                  <a:moveTo>
                    <a:pt x="315" y="272"/>
                  </a:moveTo>
                  <a:cubicBezTo>
                    <a:pt x="314" y="272"/>
                    <a:pt x="314" y="272"/>
                    <a:pt x="313" y="272"/>
                  </a:cubicBezTo>
                  <a:cubicBezTo>
                    <a:pt x="309" y="271"/>
                    <a:pt x="306" y="269"/>
                    <a:pt x="304" y="265"/>
                  </a:cubicBezTo>
                  <a:cubicBezTo>
                    <a:pt x="236" y="120"/>
                    <a:pt x="236" y="120"/>
                    <a:pt x="236" y="120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0" y="185"/>
                    <a:pt x="166" y="186"/>
                    <a:pt x="162" y="185"/>
                  </a:cubicBezTo>
                  <a:cubicBezTo>
                    <a:pt x="158" y="185"/>
                    <a:pt x="155" y="182"/>
                    <a:pt x="153" y="179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17" y="100"/>
                    <a:pt x="9" y="100"/>
                    <a:pt x="5" y="96"/>
                  </a:cubicBezTo>
                  <a:cubicBezTo>
                    <a:pt x="0" y="91"/>
                    <a:pt x="0" y="83"/>
                    <a:pt x="5" y="79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3" y="1"/>
                    <a:pt x="86" y="0"/>
                    <a:pt x="90" y="1"/>
                  </a:cubicBezTo>
                  <a:cubicBezTo>
                    <a:pt x="94" y="2"/>
                    <a:pt x="97" y="4"/>
                    <a:pt x="99" y="8"/>
                  </a:cubicBezTo>
                  <a:cubicBezTo>
                    <a:pt x="168" y="153"/>
                    <a:pt x="168" y="153"/>
                    <a:pt x="168" y="153"/>
                  </a:cubicBezTo>
                  <a:cubicBezTo>
                    <a:pt x="231" y="91"/>
                    <a:pt x="231" y="91"/>
                    <a:pt x="231" y="91"/>
                  </a:cubicBezTo>
                  <a:cubicBezTo>
                    <a:pt x="233" y="88"/>
                    <a:pt x="237" y="87"/>
                    <a:pt x="241" y="87"/>
                  </a:cubicBezTo>
                  <a:cubicBezTo>
                    <a:pt x="245" y="88"/>
                    <a:pt x="248" y="90"/>
                    <a:pt x="250" y="94"/>
                  </a:cubicBezTo>
                  <a:cubicBezTo>
                    <a:pt x="319" y="239"/>
                    <a:pt x="319" y="239"/>
                    <a:pt x="319" y="239"/>
                  </a:cubicBezTo>
                  <a:cubicBezTo>
                    <a:pt x="382" y="177"/>
                    <a:pt x="382" y="177"/>
                    <a:pt x="382" y="177"/>
                  </a:cubicBezTo>
                  <a:cubicBezTo>
                    <a:pt x="386" y="172"/>
                    <a:pt x="394" y="172"/>
                    <a:pt x="399" y="177"/>
                  </a:cubicBezTo>
                  <a:cubicBezTo>
                    <a:pt x="403" y="182"/>
                    <a:pt x="403" y="189"/>
                    <a:pt x="398" y="194"/>
                  </a:cubicBezTo>
                  <a:cubicBezTo>
                    <a:pt x="323" y="268"/>
                    <a:pt x="323" y="268"/>
                    <a:pt x="323" y="268"/>
                  </a:cubicBezTo>
                  <a:cubicBezTo>
                    <a:pt x="321" y="271"/>
                    <a:pt x="318" y="272"/>
                    <a:pt x="315" y="27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2" name="Freeform 2272">
              <a:extLst>
                <a:ext uri="{FF2B5EF4-FFF2-40B4-BE49-F238E27FC236}">
                  <a16:creationId xmlns:a16="http://schemas.microsoft.com/office/drawing/2014/main" id="{A96177BF-A736-4EC3-B2CA-7108A2E71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8" y="2644"/>
              <a:ext cx="111" cy="75"/>
            </a:xfrm>
            <a:custGeom>
              <a:avLst/>
              <a:gdLst>
                <a:gd name="T0" fmla="*/ 88 w 403"/>
                <a:gd name="T1" fmla="*/ 271 h 271"/>
                <a:gd name="T2" fmla="*/ 80 w 403"/>
                <a:gd name="T3" fmla="*/ 268 h 271"/>
                <a:gd name="T4" fmla="*/ 5 w 403"/>
                <a:gd name="T5" fmla="*/ 193 h 271"/>
                <a:gd name="T6" fmla="*/ 5 w 403"/>
                <a:gd name="T7" fmla="*/ 177 h 271"/>
                <a:gd name="T8" fmla="*/ 22 w 403"/>
                <a:gd name="T9" fmla="*/ 176 h 271"/>
                <a:gd name="T10" fmla="*/ 84 w 403"/>
                <a:gd name="T11" fmla="*/ 239 h 271"/>
                <a:gd name="T12" fmla="*/ 153 w 403"/>
                <a:gd name="T13" fmla="*/ 93 h 271"/>
                <a:gd name="T14" fmla="*/ 162 w 403"/>
                <a:gd name="T15" fmla="*/ 87 h 271"/>
                <a:gd name="T16" fmla="*/ 172 w 403"/>
                <a:gd name="T17" fmla="*/ 90 h 271"/>
                <a:gd name="T18" fmla="*/ 235 w 403"/>
                <a:gd name="T19" fmla="*/ 153 h 271"/>
                <a:gd name="T20" fmla="*/ 304 w 403"/>
                <a:gd name="T21" fmla="*/ 7 h 271"/>
                <a:gd name="T22" fmla="*/ 313 w 403"/>
                <a:gd name="T23" fmla="*/ 0 h 271"/>
                <a:gd name="T24" fmla="*/ 323 w 403"/>
                <a:gd name="T25" fmla="*/ 4 h 271"/>
                <a:gd name="T26" fmla="*/ 398 w 403"/>
                <a:gd name="T27" fmla="*/ 78 h 271"/>
                <a:gd name="T28" fmla="*/ 398 w 403"/>
                <a:gd name="T29" fmla="*/ 95 h 271"/>
                <a:gd name="T30" fmla="*/ 381 w 403"/>
                <a:gd name="T31" fmla="*/ 95 h 271"/>
                <a:gd name="T32" fmla="*/ 318 w 403"/>
                <a:gd name="T33" fmla="*/ 33 h 271"/>
                <a:gd name="T34" fmla="*/ 250 w 403"/>
                <a:gd name="T35" fmla="*/ 178 h 271"/>
                <a:gd name="T36" fmla="*/ 241 w 403"/>
                <a:gd name="T37" fmla="*/ 185 h 271"/>
                <a:gd name="T38" fmla="*/ 231 w 403"/>
                <a:gd name="T39" fmla="*/ 182 h 271"/>
                <a:gd name="T40" fmla="*/ 168 w 403"/>
                <a:gd name="T41" fmla="*/ 119 h 271"/>
                <a:gd name="T42" fmla="*/ 99 w 403"/>
                <a:gd name="T43" fmla="*/ 265 h 271"/>
                <a:gd name="T44" fmla="*/ 90 w 403"/>
                <a:gd name="T45" fmla="*/ 271 h 271"/>
                <a:gd name="T46" fmla="*/ 88 w 403"/>
                <a:gd name="T4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3" h="271">
                  <a:moveTo>
                    <a:pt x="88" y="271"/>
                  </a:moveTo>
                  <a:cubicBezTo>
                    <a:pt x="85" y="271"/>
                    <a:pt x="82" y="270"/>
                    <a:pt x="80" y="268"/>
                  </a:cubicBezTo>
                  <a:cubicBezTo>
                    <a:pt x="5" y="193"/>
                    <a:pt x="5" y="193"/>
                    <a:pt x="5" y="193"/>
                  </a:cubicBezTo>
                  <a:cubicBezTo>
                    <a:pt x="0" y="189"/>
                    <a:pt x="0" y="181"/>
                    <a:pt x="5" y="177"/>
                  </a:cubicBezTo>
                  <a:cubicBezTo>
                    <a:pt x="9" y="172"/>
                    <a:pt x="17" y="172"/>
                    <a:pt x="22" y="176"/>
                  </a:cubicBezTo>
                  <a:cubicBezTo>
                    <a:pt x="84" y="239"/>
                    <a:pt x="84" y="239"/>
                    <a:pt x="84" y="239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5" y="90"/>
                    <a:pt x="158" y="87"/>
                    <a:pt x="162" y="87"/>
                  </a:cubicBezTo>
                  <a:cubicBezTo>
                    <a:pt x="166" y="86"/>
                    <a:pt x="170" y="87"/>
                    <a:pt x="172" y="90"/>
                  </a:cubicBezTo>
                  <a:cubicBezTo>
                    <a:pt x="235" y="153"/>
                    <a:pt x="235" y="153"/>
                    <a:pt x="235" y="153"/>
                  </a:cubicBezTo>
                  <a:cubicBezTo>
                    <a:pt x="304" y="7"/>
                    <a:pt x="304" y="7"/>
                    <a:pt x="304" y="7"/>
                  </a:cubicBezTo>
                  <a:cubicBezTo>
                    <a:pt x="306" y="4"/>
                    <a:pt x="309" y="1"/>
                    <a:pt x="313" y="0"/>
                  </a:cubicBezTo>
                  <a:cubicBezTo>
                    <a:pt x="317" y="0"/>
                    <a:pt x="321" y="1"/>
                    <a:pt x="323" y="4"/>
                  </a:cubicBezTo>
                  <a:cubicBezTo>
                    <a:pt x="398" y="78"/>
                    <a:pt x="398" y="78"/>
                    <a:pt x="398" y="78"/>
                  </a:cubicBezTo>
                  <a:cubicBezTo>
                    <a:pt x="403" y="83"/>
                    <a:pt x="403" y="90"/>
                    <a:pt x="398" y="95"/>
                  </a:cubicBezTo>
                  <a:cubicBezTo>
                    <a:pt x="394" y="100"/>
                    <a:pt x="386" y="100"/>
                    <a:pt x="381" y="95"/>
                  </a:cubicBezTo>
                  <a:cubicBezTo>
                    <a:pt x="318" y="33"/>
                    <a:pt x="318" y="33"/>
                    <a:pt x="318" y="33"/>
                  </a:cubicBezTo>
                  <a:cubicBezTo>
                    <a:pt x="250" y="178"/>
                    <a:pt x="250" y="178"/>
                    <a:pt x="250" y="178"/>
                  </a:cubicBezTo>
                  <a:cubicBezTo>
                    <a:pt x="248" y="182"/>
                    <a:pt x="245" y="184"/>
                    <a:pt x="241" y="185"/>
                  </a:cubicBezTo>
                  <a:cubicBezTo>
                    <a:pt x="237" y="186"/>
                    <a:pt x="233" y="184"/>
                    <a:pt x="231" y="182"/>
                  </a:cubicBezTo>
                  <a:cubicBezTo>
                    <a:pt x="168" y="119"/>
                    <a:pt x="168" y="119"/>
                    <a:pt x="168" y="119"/>
                  </a:cubicBezTo>
                  <a:cubicBezTo>
                    <a:pt x="99" y="265"/>
                    <a:pt x="99" y="265"/>
                    <a:pt x="99" y="265"/>
                  </a:cubicBezTo>
                  <a:cubicBezTo>
                    <a:pt x="97" y="268"/>
                    <a:pt x="94" y="271"/>
                    <a:pt x="90" y="271"/>
                  </a:cubicBezTo>
                  <a:cubicBezTo>
                    <a:pt x="89" y="271"/>
                    <a:pt x="89" y="271"/>
                    <a:pt x="88" y="27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3" name="Freeform 2273">
              <a:extLst>
                <a:ext uri="{FF2B5EF4-FFF2-40B4-BE49-F238E27FC236}">
                  <a16:creationId xmlns:a16="http://schemas.microsoft.com/office/drawing/2014/main" id="{8DE4397F-4DCD-453E-B6A4-281D880DA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9" y="3447"/>
              <a:ext cx="112" cy="75"/>
            </a:xfrm>
            <a:custGeom>
              <a:avLst/>
              <a:gdLst>
                <a:gd name="T0" fmla="*/ 317 w 405"/>
                <a:gd name="T1" fmla="*/ 272 h 272"/>
                <a:gd name="T2" fmla="*/ 315 w 405"/>
                <a:gd name="T3" fmla="*/ 272 h 272"/>
                <a:gd name="T4" fmla="*/ 306 w 405"/>
                <a:gd name="T5" fmla="*/ 265 h 272"/>
                <a:gd name="T6" fmla="*/ 236 w 405"/>
                <a:gd name="T7" fmla="*/ 120 h 272"/>
                <a:gd name="T8" fmla="*/ 174 w 405"/>
                <a:gd name="T9" fmla="*/ 182 h 272"/>
                <a:gd name="T10" fmla="*/ 163 w 405"/>
                <a:gd name="T11" fmla="*/ 185 h 272"/>
                <a:gd name="T12" fmla="*/ 154 w 405"/>
                <a:gd name="T13" fmla="*/ 178 h 272"/>
                <a:gd name="T14" fmla="*/ 84 w 405"/>
                <a:gd name="T15" fmla="*/ 33 h 272"/>
                <a:gd name="T16" fmla="*/ 22 w 405"/>
                <a:gd name="T17" fmla="*/ 95 h 272"/>
                <a:gd name="T18" fmla="*/ 5 w 405"/>
                <a:gd name="T19" fmla="*/ 95 h 272"/>
                <a:gd name="T20" fmla="*/ 5 w 405"/>
                <a:gd name="T21" fmla="*/ 78 h 272"/>
                <a:gd name="T22" fmla="*/ 80 w 405"/>
                <a:gd name="T23" fmla="*/ 4 h 272"/>
                <a:gd name="T24" fmla="*/ 90 w 405"/>
                <a:gd name="T25" fmla="*/ 1 h 272"/>
                <a:gd name="T26" fmla="*/ 99 w 405"/>
                <a:gd name="T27" fmla="*/ 8 h 272"/>
                <a:gd name="T28" fmla="*/ 169 w 405"/>
                <a:gd name="T29" fmla="*/ 153 h 272"/>
                <a:gd name="T30" fmla="*/ 231 w 405"/>
                <a:gd name="T31" fmla="*/ 91 h 272"/>
                <a:gd name="T32" fmla="*/ 242 w 405"/>
                <a:gd name="T33" fmla="*/ 88 h 272"/>
                <a:gd name="T34" fmla="*/ 251 w 405"/>
                <a:gd name="T35" fmla="*/ 95 h 272"/>
                <a:gd name="T36" fmla="*/ 321 w 405"/>
                <a:gd name="T37" fmla="*/ 240 h 272"/>
                <a:gd name="T38" fmla="*/ 383 w 405"/>
                <a:gd name="T39" fmla="*/ 178 h 272"/>
                <a:gd name="T40" fmla="*/ 400 w 405"/>
                <a:gd name="T41" fmla="*/ 178 h 272"/>
                <a:gd name="T42" fmla="*/ 400 w 405"/>
                <a:gd name="T43" fmla="*/ 195 h 272"/>
                <a:gd name="T44" fmla="*/ 326 w 405"/>
                <a:gd name="T45" fmla="*/ 269 h 272"/>
                <a:gd name="T46" fmla="*/ 317 w 405"/>
                <a:gd name="T47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5" h="272">
                  <a:moveTo>
                    <a:pt x="317" y="272"/>
                  </a:moveTo>
                  <a:cubicBezTo>
                    <a:pt x="316" y="272"/>
                    <a:pt x="316" y="272"/>
                    <a:pt x="315" y="272"/>
                  </a:cubicBezTo>
                  <a:cubicBezTo>
                    <a:pt x="311" y="271"/>
                    <a:pt x="308" y="269"/>
                    <a:pt x="306" y="265"/>
                  </a:cubicBezTo>
                  <a:cubicBezTo>
                    <a:pt x="236" y="120"/>
                    <a:pt x="236" y="120"/>
                    <a:pt x="236" y="12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1" y="184"/>
                    <a:pt x="167" y="186"/>
                    <a:pt x="163" y="185"/>
                  </a:cubicBezTo>
                  <a:cubicBezTo>
                    <a:pt x="159" y="184"/>
                    <a:pt x="156" y="182"/>
                    <a:pt x="154" y="178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17" y="99"/>
                    <a:pt x="10" y="99"/>
                    <a:pt x="5" y="95"/>
                  </a:cubicBezTo>
                  <a:cubicBezTo>
                    <a:pt x="0" y="90"/>
                    <a:pt x="0" y="82"/>
                    <a:pt x="5" y="78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2" y="2"/>
                    <a:pt x="86" y="0"/>
                    <a:pt x="90" y="1"/>
                  </a:cubicBezTo>
                  <a:cubicBezTo>
                    <a:pt x="94" y="2"/>
                    <a:pt x="97" y="4"/>
                    <a:pt x="99" y="8"/>
                  </a:cubicBezTo>
                  <a:cubicBezTo>
                    <a:pt x="169" y="153"/>
                    <a:pt x="169" y="153"/>
                    <a:pt x="169" y="153"/>
                  </a:cubicBezTo>
                  <a:cubicBezTo>
                    <a:pt x="231" y="91"/>
                    <a:pt x="231" y="91"/>
                    <a:pt x="231" y="91"/>
                  </a:cubicBezTo>
                  <a:cubicBezTo>
                    <a:pt x="234" y="89"/>
                    <a:pt x="238" y="87"/>
                    <a:pt x="242" y="88"/>
                  </a:cubicBezTo>
                  <a:cubicBezTo>
                    <a:pt x="246" y="89"/>
                    <a:pt x="249" y="91"/>
                    <a:pt x="251" y="95"/>
                  </a:cubicBezTo>
                  <a:cubicBezTo>
                    <a:pt x="321" y="240"/>
                    <a:pt x="321" y="240"/>
                    <a:pt x="321" y="240"/>
                  </a:cubicBezTo>
                  <a:cubicBezTo>
                    <a:pt x="383" y="178"/>
                    <a:pt x="383" y="178"/>
                    <a:pt x="383" y="178"/>
                  </a:cubicBezTo>
                  <a:cubicBezTo>
                    <a:pt x="388" y="174"/>
                    <a:pt x="396" y="174"/>
                    <a:pt x="400" y="178"/>
                  </a:cubicBezTo>
                  <a:cubicBezTo>
                    <a:pt x="405" y="183"/>
                    <a:pt x="405" y="191"/>
                    <a:pt x="400" y="195"/>
                  </a:cubicBezTo>
                  <a:cubicBezTo>
                    <a:pt x="326" y="269"/>
                    <a:pt x="326" y="269"/>
                    <a:pt x="326" y="269"/>
                  </a:cubicBezTo>
                  <a:cubicBezTo>
                    <a:pt x="323" y="271"/>
                    <a:pt x="320" y="272"/>
                    <a:pt x="317" y="27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" name="Oval 2274">
              <a:extLst>
                <a:ext uri="{FF2B5EF4-FFF2-40B4-BE49-F238E27FC236}">
                  <a16:creationId xmlns:a16="http://schemas.microsoft.com/office/drawing/2014/main" id="{550D37EE-52D8-47D2-8C6E-72C447236A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0" y="3511"/>
              <a:ext cx="43" cy="4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" name="Freeform 2275">
              <a:extLst>
                <a:ext uri="{FF2B5EF4-FFF2-40B4-BE49-F238E27FC236}">
                  <a16:creationId xmlns:a16="http://schemas.microsoft.com/office/drawing/2014/main" id="{F30A5E81-CFFE-4C90-BEC2-4FE583D58D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" y="3508"/>
              <a:ext cx="50" cy="49"/>
            </a:xfrm>
            <a:custGeom>
              <a:avLst/>
              <a:gdLst>
                <a:gd name="T0" fmla="*/ 89 w 179"/>
                <a:gd name="T1" fmla="*/ 178 h 178"/>
                <a:gd name="T2" fmla="*/ 0 w 179"/>
                <a:gd name="T3" fmla="*/ 89 h 178"/>
                <a:gd name="T4" fmla="*/ 89 w 179"/>
                <a:gd name="T5" fmla="*/ 0 h 178"/>
                <a:gd name="T6" fmla="*/ 179 w 179"/>
                <a:gd name="T7" fmla="*/ 89 h 178"/>
                <a:gd name="T8" fmla="*/ 89 w 179"/>
                <a:gd name="T9" fmla="*/ 178 h 178"/>
                <a:gd name="T10" fmla="*/ 89 w 179"/>
                <a:gd name="T11" fmla="*/ 24 h 178"/>
                <a:gd name="T12" fmla="*/ 24 w 179"/>
                <a:gd name="T13" fmla="*/ 89 h 178"/>
                <a:gd name="T14" fmla="*/ 89 w 179"/>
                <a:gd name="T15" fmla="*/ 154 h 178"/>
                <a:gd name="T16" fmla="*/ 155 w 179"/>
                <a:gd name="T17" fmla="*/ 89 h 178"/>
                <a:gd name="T18" fmla="*/ 89 w 179"/>
                <a:gd name="T19" fmla="*/ 2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9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9" y="0"/>
                    <a:pt x="179" y="40"/>
                    <a:pt x="179" y="89"/>
                  </a:cubicBezTo>
                  <a:cubicBezTo>
                    <a:pt x="179" y="138"/>
                    <a:pt x="139" y="178"/>
                    <a:pt x="89" y="178"/>
                  </a:cubicBezTo>
                  <a:close/>
                  <a:moveTo>
                    <a:pt x="89" y="24"/>
                  </a:moveTo>
                  <a:cubicBezTo>
                    <a:pt x="54" y="24"/>
                    <a:pt x="24" y="53"/>
                    <a:pt x="24" y="89"/>
                  </a:cubicBezTo>
                  <a:cubicBezTo>
                    <a:pt x="24" y="125"/>
                    <a:pt x="54" y="154"/>
                    <a:pt x="89" y="154"/>
                  </a:cubicBezTo>
                  <a:cubicBezTo>
                    <a:pt x="125" y="154"/>
                    <a:pt x="155" y="125"/>
                    <a:pt x="155" y="89"/>
                  </a:cubicBezTo>
                  <a:cubicBezTo>
                    <a:pt x="155" y="53"/>
                    <a:pt x="125" y="24"/>
                    <a:pt x="89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" name="Oval 2276">
              <a:extLst>
                <a:ext uri="{FF2B5EF4-FFF2-40B4-BE49-F238E27FC236}">
                  <a16:creationId xmlns:a16="http://schemas.microsoft.com/office/drawing/2014/main" id="{2A88EA1C-B444-4352-AED3-F68D4772A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4" y="3177"/>
              <a:ext cx="43" cy="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Freeform 2277">
              <a:extLst>
                <a:ext uri="{FF2B5EF4-FFF2-40B4-BE49-F238E27FC236}">
                  <a16:creationId xmlns:a16="http://schemas.microsoft.com/office/drawing/2014/main" id="{E17D44EA-E50B-48F5-87B8-6AE183AA2F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1" y="3174"/>
              <a:ext cx="49" cy="49"/>
            </a:xfrm>
            <a:custGeom>
              <a:avLst/>
              <a:gdLst>
                <a:gd name="T0" fmla="*/ 89 w 178"/>
                <a:gd name="T1" fmla="*/ 178 h 178"/>
                <a:gd name="T2" fmla="*/ 0 w 178"/>
                <a:gd name="T3" fmla="*/ 89 h 178"/>
                <a:gd name="T4" fmla="*/ 89 w 178"/>
                <a:gd name="T5" fmla="*/ 0 h 178"/>
                <a:gd name="T6" fmla="*/ 178 w 178"/>
                <a:gd name="T7" fmla="*/ 89 h 178"/>
                <a:gd name="T8" fmla="*/ 89 w 178"/>
                <a:gd name="T9" fmla="*/ 178 h 178"/>
                <a:gd name="T10" fmla="*/ 89 w 178"/>
                <a:gd name="T11" fmla="*/ 24 h 178"/>
                <a:gd name="T12" fmla="*/ 24 w 178"/>
                <a:gd name="T13" fmla="*/ 89 h 178"/>
                <a:gd name="T14" fmla="*/ 89 w 178"/>
                <a:gd name="T15" fmla="*/ 154 h 178"/>
                <a:gd name="T16" fmla="*/ 154 w 178"/>
                <a:gd name="T17" fmla="*/ 89 h 178"/>
                <a:gd name="T18" fmla="*/ 89 w 178"/>
                <a:gd name="T19" fmla="*/ 2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39"/>
                    <a:pt x="40" y="0"/>
                    <a:pt x="89" y="0"/>
                  </a:cubicBezTo>
                  <a:cubicBezTo>
                    <a:pt x="138" y="0"/>
                    <a:pt x="178" y="39"/>
                    <a:pt x="178" y="89"/>
                  </a:cubicBezTo>
                  <a:cubicBezTo>
                    <a:pt x="178" y="138"/>
                    <a:pt x="138" y="178"/>
                    <a:pt x="89" y="178"/>
                  </a:cubicBezTo>
                  <a:close/>
                  <a:moveTo>
                    <a:pt x="89" y="24"/>
                  </a:moveTo>
                  <a:cubicBezTo>
                    <a:pt x="53" y="24"/>
                    <a:pt x="24" y="53"/>
                    <a:pt x="24" y="89"/>
                  </a:cubicBezTo>
                  <a:cubicBezTo>
                    <a:pt x="24" y="124"/>
                    <a:pt x="53" y="154"/>
                    <a:pt x="89" y="154"/>
                  </a:cubicBezTo>
                  <a:cubicBezTo>
                    <a:pt x="125" y="154"/>
                    <a:pt x="154" y="124"/>
                    <a:pt x="154" y="89"/>
                  </a:cubicBezTo>
                  <a:cubicBezTo>
                    <a:pt x="154" y="53"/>
                    <a:pt x="125" y="24"/>
                    <a:pt x="89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" name="Oval 2278">
              <a:extLst>
                <a:ext uri="{FF2B5EF4-FFF2-40B4-BE49-F238E27FC236}">
                  <a16:creationId xmlns:a16="http://schemas.microsoft.com/office/drawing/2014/main" id="{8BE8A987-0E08-43ED-A8F7-F6318F9FF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0" y="3823"/>
              <a:ext cx="43" cy="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" name="Freeform 2279">
              <a:extLst>
                <a:ext uri="{FF2B5EF4-FFF2-40B4-BE49-F238E27FC236}">
                  <a16:creationId xmlns:a16="http://schemas.microsoft.com/office/drawing/2014/main" id="{455473F7-6469-4A2B-A4D1-22B0FD911C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7" y="3820"/>
              <a:ext cx="49" cy="49"/>
            </a:xfrm>
            <a:custGeom>
              <a:avLst/>
              <a:gdLst>
                <a:gd name="T0" fmla="*/ 89 w 178"/>
                <a:gd name="T1" fmla="*/ 178 h 178"/>
                <a:gd name="T2" fmla="*/ 0 w 178"/>
                <a:gd name="T3" fmla="*/ 89 h 178"/>
                <a:gd name="T4" fmla="*/ 89 w 178"/>
                <a:gd name="T5" fmla="*/ 0 h 178"/>
                <a:gd name="T6" fmla="*/ 178 w 178"/>
                <a:gd name="T7" fmla="*/ 89 h 178"/>
                <a:gd name="T8" fmla="*/ 89 w 178"/>
                <a:gd name="T9" fmla="*/ 178 h 178"/>
                <a:gd name="T10" fmla="*/ 89 w 178"/>
                <a:gd name="T11" fmla="*/ 24 h 178"/>
                <a:gd name="T12" fmla="*/ 24 w 178"/>
                <a:gd name="T13" fmla="*/ 89 h 178"/>
                <a:gd name="T14" fmla="*/ 89 w 178"/>
                <a:gd name="T15" fmla="*/ 154 h 178"/>
                <a:gd name="T16" fmla="*/ 154 w 178"/>
                <a:gd name="T17" fmla="*/ 89 h 178"/>
                <a:gd name="T18" fmla="*/ 89 w 178"/>
                <a:gd name="T19" fmla="*/ 2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8" y="0"/>
                    <a:pt x="178" y="40"/>
                    <a:pt x="178" y="89"/>
                  </a:cubicBezTo>
                  <a:cubicBezTo>
                    <a:pt x="178" y="138"/>
                    <a:pt x="138" y="178"/>
                    <a:pt x="89" y="178"/>
                  </a:cubicBezTo>
                  <a:close/>
                  <a:moveTo>
                    <a:pt x="89" y="24"/>
                  </a:moveTo>
                  <a:cubicBezTo>
                    <a:pt x="53" y="24"/>
                    <a:pt x="24" y="53"/>
                    <a:pt x="24" y="89"/>
                  </a:cubicBezTo>
                  <a:cubicBezTo>
                    <a:pt x="24" y="125"/>
                    <a:pt x="53" y="154"/>
                    <a:pt x="89" y="154"/>
                  </a:cubicBezTo>
                  <a:cubicBezTo>
                    <a:pt x="125" y="154"/>
                    <a:pt x="154" y="125"/>
                    <a:pt x="154" y="89"/>
                  </a:cubicBezTo>
                  <a:cubicBezTo>
                    <a:pt x="154" y="53"/>
                    <a:pt x="125" y="24"/>
                    <a:pt x="89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" name="Oval 2280">
              <a:extLst>
                <a:ext uri="{FF2B5EF4-FFF2-40B4-BE49-F238E27FC236}">
                  <a16:creationId xmlns:a16="http://schemas.microsoft.com/office/drawing/2014/main" id="{E2CE4379-714D-44D5-8292-613EE13659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1" y="2907"/>
              <a:ext cx="43" cy="4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1" name="Freeform 2281">
              <a:extLst>
                <a:ext uri="{FF2B5EF4-FFF2-40B4-BE49-F238E27FC236}">
                  <a16:creationId xmlns:a16="http://schemas.microsoft.com/office/drawing/2014/main" id="{1A4E791F-2E11-4356-BA1C-5889B60B2B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8" y="2904"/>
              <a:ext cx="49" cy="49"/>
            </a:xfrm>
            <a:custGeom>
              <a:avLst/>
              <a:gdLst>
                <a:gd name="T0" fmla="*/ 89 w 179"/>
                <a:gd name="T1" fmla="*/ 178 h 178"/>
                <a:gd name="T2" fmla="*/ 0 w 179"/>
                <a:gd name="T3" fmla="*/ 89 h 178"/>
                <a:gd name="T4" fmla="*/ 89 w 179"/>
                <a:gd name="T5" fmla="*/ 0 h 178"/>
                <a:gd name="T6" fmla="*/ 179 w 179"/>
                <a:gd name="T7" fmla="*/ 89 h 178"/>
                <a:gd name="T8" fmla="*/ 89 w 179"/>
                <a:gd name="T9" fmla="*/ 178 h 178"/>
                <a:gd name="T10" fmla="*/ 89 w 179"/>
                <a:gd name="T11" fmla="*/ 24 h 178"/>
                <a:gd name="T12" fmla="*/ 24 w 179"/>
                <a:gd name="T13" fmla="*/ 89 h 178"/>
                <a:gd name="T14" fmla="*/ 89 w 179"/>
                <a:gd name="T15" fmla="*/ 154 h 178"/>
                <a:gd name="T16" fmla="*/ 155 w 179"/>
                <a:gd name="T17" fmla="*/ 89 h 178"/>
                <a:gd name="T18" fmla="*/ 89 w 179"/>
                <a:gd name="T19" fmla="*/ 2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9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9" y="0"/>
                    <a:pt x="179" y="40"/>
                    <a:pt x="179" y="89"/>
                  </a:cubicBezTo>
                  <a:cubicBezTo>
                    <a:pt x="179" y="138"/>
                    <a:pt x="139" y="178"/>
                    <a:pt x="89" y="178"/>
                  </a:cubicBezTo>
                  <a:close/>
                  <a:moveTo>
                    <a:pt x="89" y="24"/>
                  </a:moveTo>
                  <a:cubicBezTo>
                    <a:pt x="54" y="24"/>
                    <a:pt x="24" y="53"/>
                    <a:pt x="24" y="89"/>
                  </a:cubicBezTo>
                  <a:cubicBezTo>
                    <a:pt x="24" y="125"/>
                    <a:pt x="54" y="154"/>
                    <a:pt x="89" y="154"/>
                  </a:cubicBezTo>
                  <a:cubicBezTo>
                    <a:pt x="125" y="154"/>
                    <a:pt x="155" y="125"/>
                    <a:pt x="155" y="89"/>
                  </a:cubicBezTo>
                  <a:cubicBezTo>
                    <a:pt x="155" y="53"/>
                    <a:pt x="125" y="24"/>
                    <a:pt x="89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2" name="Freeform 2282">
              <a:extLst>
                <a:ext uri="{FF2B5EF4-FFF2-40B4-BE49-F238E27FC236}">
                  <a16:creationId xmlns:a16="http://schemas.microsoft.com/office/drawing/2014/main" id="{0F0D2394-BD78-4CD5-B046-0AEB4C807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2" y="3902"/>
              <a:ext cx="50" cy="31"/>
            </a:xfrm>
            <a:custGeom>
              <a:avLst/>
              <a:gdLst>
                <a:gd name="T0" fmla="*/ 14 w 179"/>
                <a:gd name="T1" fmla="*/ 113 h 113"/>
                <a:gd name="T2" fmla="*/ 4 w 179"/>
                <a:gd name="T3" fmla="*/ 107 h 113"/>
                <a:gd name="T4" fmla="*/ 8 w 179"/>
                <a:gd name="T5" fmla="*/ 90 h 113"/>
                <a:gd name="T6" fmla="*/ 159 w 179"/>
                <a:gd name="T7" fmla="*/ 3 h 113"/>
                <a:gd name="T8" fmla="*/ 176 w 179"/>
                <a:gd name="T9" fmla="*/ 7 h 113"/>
                <a:gd name="T10" fmla="*/ 171 w 179"/>
                <a:gd name="T11" fmla="*/ 24 h 113"/>
                <a:gd name="T12" fmla="*/ 20 w 179"/>
                <a:gd name="T13" fmla="*/ 111 h 113"/>
                <a:gd name="T14" fmla="*/ 14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4" y="113"/>
                  </a:moveTo>
                  <a:cubicBezTo>
                    <a:pt x="10" y="113"/>
                    <a:pt x="6" y="110"/>
                    <a:pt x="4" y="107"/>
                  </a:cubicBezTo>
                  <a:cubicBezTo>
                    <a:pt x="0" y="101"/>
                    <a:pt x="2" y="94"/>
                    <a:pt x="8" y="90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5" y="0"/>
                    <a:pt x="172" y="2"/>
                    <a:pt x="176" y="7"/>
                  </a:cubicBezTo>
                  <a:cubicBezTo>
                    <a:pt x="179" y="13"/>
                    <a:pt x="177" y="20"/>
                    <a:pt x="171" y="24"/>
                  </a:cubicBezTo>
                  <a:cubicBezTo>
                    <a:pt x="20" y="111"/>
                    <a:pt x="20" y="111"/>
                    <a:pt x="20" y="111"/>
                  </a:cubicBezTo>
                  <a:cubicBezTo>
                    <a:pt x="18" y="112"/>
                    <a:pt x="16" y="113"/>
                    <a:pt x="14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3" name="Freeform 2283">
              <a:extLst>
                <a:ext uri="{FF2B5EF4-FFF2-40B4-BE49-F238E27FC236}">
                  <a16:creationId xmlns:a16="http://schemas.microsoft.com/office/drawing/2014/main" id="{DA0C5A58-CF71-4E62-86AD-9E6788702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2" y="3902"/>
              <a:ext cx="50" cy="31"/>
            </a:xfrm>
            <a:custGeom>
              <a:avLst/>
              <a:gdLst>
                <a:gd name="T0" fmla="*/ 165 w 179"/>
                <a:gd name="T1" fmla="*/ 113 h 113"/>
                <a:gd name="T2" fmla="*/ 159 w 179"/>
                <a:gd name="T3" fmla="*/ 111 h 113"/>
                <a:gd name="T4" fmla="*/ 8 w 179"/>
                <a:gd name="T5" fmla="*/ 24 h 113"/>
                <a:gd name="T6" fmla="*/ 4 w 179"/>
                <a:gd name="T7" fmla="*/ 7 h 113"/>
                <a:gd name="T8" fmla="*/ 20 w 179"/>
                <a:gd name="T9" fmla="*/ 3 h 113"/>
                <a:gd name="T10" fmla="*/ 171 w 179"/>
                <a:gd name="T11" fmla="*/ 90 h 113"/>
                <a:gd name="T12" fmla="*/ 176 w 179"/>
                <a:gd name="T13" fmla="*/ 107 h 113"/>
                <a:gd name="T14" fmla="*/ 165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65" y="113"/>
                  </a:moveTo>
                  <a:cubicBezTo>
                    <a:pt x="163" y="113"/>
                    <a:pt x="161" y="112"/>
                    <a:pt x="159" y="111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0"/>
                    <a:pt x="0" y="13"/>
                    <a:pt x="4" y="7"/>
                  </a:cubicBezTo>
                  <a:cubicBezTo>
                    <a:pt x="7" y="2"/>
                    <a:pt x="14" y="0"/>
                    <a:pt x="20" y="3"/>
                  </a:cubicBezTo>
                  <a:cubicBezTo>
                    <a:pt x="171" y="90"/>
                    <a:pt x="171" y="90"/>
                    <a:pt x="171" y="90"/>
                  </a:cubicBezTo>
                  <a:cubicBezTo>
                    <a:pt x="177" y="94"/>
                    <a:pt x="179" y="101"/>
                    <a:pt x="176" y="107"/>
                  </a:cubicBezTo>
                  <a:cubicBezTo>
                    <a:pt x="173" y="110"/>
                    <a:pt x="169" y="113"/>
                    <a:pt x="165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" name="Freeform 2284">
              <a:extLst>
                <a:ext uri="{FF2B5EF4-FFF2-40B4-BE49-F238E27FC236}">
                  <a16:creationId xmlns:a16="http://schemas.microsoft.com/office/drawing/2014/main" id="{D6040D29-83EF-4A16-B086-419BD7A52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0" y="3378"/>
              <a:ext cx="50" cy="31"/>
            </a:xfrm>
            <a:custGeom>
              <a:avLst/>
              <a:gdLst>
                <a:gd name="T0" fmla="*/ 14 w 179"/>
                <a:gd name="T1" fmla="*/ 113 h 113"/>
                <a:gd name="T2" fmla="*/ 3 w 179"/>
                <a:gd name="T3" fmla="*/ 107 h 113"/>
                <a:gd name="T4" fmla="*/ 8 w 179"/>
                <a:gd name="T5" fmla="*/ 91 h 113"/>
                <a:gd name="T6" fmla="*/ 159 w 179"/>
                <a:gd name="T7" fmla="*/ 3 h 113"/>
                <a:gd name="T8" fmla="*/ 175 w 179"/>
                <a:gd name="T9" fmla="*/ 8 h 113"/>
                <a:gd name="T10" fmla="*/ 171 w 179"/>
                <a:gd name="T11" fmla="*/ 24 h 113"/>
                <a:gd name="T12" fmla="*/ 20 w 179"/>
                <a:gd name="T13" fmla="*/ 111 h 113"/>
                <a:gd name="T14" fmla="*/ 14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4" y="113"/>
                  </a:moveTo>
                  <a:cubicBezTo>
                    <a:pt x="10" y="113"/>
                    <a:pt x="6" y="111"/>
                    <a:pt x="3" y="107"/>
                  </a:cubicBezTo>
                  <a:cubicBezTo>
                    <a:pt x="0" y="101"/>
                    <a:pt x="2" y="94"/>
                    <a:pt x="8" y="91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5" y="0"/>
                    <a:pt x="172" y="2"/>
                    <a:pt x="175" y="8"/>
                  </a:cubicBezTo>
                  <a:cubicBezTo>
                    <a:pt x="179" y="13"/>
                    <a:pt x="177" y="21"/>
                    <a:pt x="171" y="24"/>
                  </a:cubicBezTo>
                  <a:cubicBezTo>
                    <a:pt x="20" y="111"/>
                    <a:pt x="20" y="111"/>
                    <a:pt x="20" y="111"/>
                  </a:cubicBezTo>
                  <a:cubicBezTo>
                    <a:pt x="18" y="112"/>
                    <a:pt x="16" y="113"/>
                    <a:pt x="14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" name="Freeform 2285">
              <a:extLst>
                <a:ext uri="{FF2B5EF4-FFF2-40B4-BE49-F238E27FC236}">
                  <a16:creationId xmlns:a16="http://schemas.microsoft.com/office/drawing/2014/main" id="{2577EBD3-2248-4027-AB69-96E99FD70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0" y="3378"/>
              <a:ext cx="50" cy="31"/>
            </a:xfrm>
            <a:custGeom>
              <a:avLst/>
              <a:gdLst>
                <a:gd name="T0" fmla="*/ 165 w 179"/>
                <a:gd name="T1" fmla="*/ 113 h 113"/>
                <a:gd name="T2" fmla="*/ 159 w 179"/>
                <a:gd name="T3" fmla="*/ 111 h 113"/>
                <a:gd name="T4" fmla="*/ 8 w 179"/>
                <a:gd name="T5" fmla="*/ 24 h 113"/>
                <a:gd name="T6" fmla="*/ 3 w 179"/>
                <a:gd name="T7" fmla="*/ 8 h 113"/>
                <a:gd name="T8" fmla="*/ 20 w 179"/>
                <a:gd name="T9" fmla="*/ 3 h 113"/>
                <a:gd name="T10" fmla="*/ 171 w 179"/>
                <a:gd name="T11" fmla="*/ 91 h 113"/>
                <a:gd name="T12" fmla="*/ 175 w 179"/>
                <a:gd name="T13" fmla="*/ 107 h 113"/>
                <a:gd name="T14" fmla="*/ 165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65" y="113"/>
                  </a:moveTo>
                  <a:cubicBezTo>
                    <a:pt x="163" y="113"/>
                    <a:pt x="161" y="112"/>
                    <a:pt x="159" y="111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3"/>
                    <a:pt x="3" y="8"/>
                  </a:cubicBezTo>
                  <a:cubicBezTo>
                    <a:pt x="7" y="2"/>
                    <a:pt x="14" y="0"/>
                    <a:pt x="20" y="3"/>
                  </a:cubicBezTo>
                  <a:cubicBezTo>
                    <a:pt x="171" y="91"/>
                    <a:pt x="171" y="91"/>
                    <a:pt x="171" y="91"/>
                  </a:cubicBezTo>
                  <a:cubicBezTo>
                    <a:pt x="177" y="94"/>
                    <a:pt x="179" y="101"/>
                    <a:pt x="175" y="107"/>
                  </a:cubicBezTo>
                  <a:cubicBezTo>
                    <a:pt x="173" y="111"/>
                    <a:pt x="169" y="113"/>
                    <a:pt x="165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" name="Freeform 2286">
              <a:extLst>
                <a:ext uri="{FF2B5EF4-FFF2-40B4-BE49-F238E27FC236}">
                  <a16:creationId xmlns:a16="http://schemas.microsoft.com/office/drawing/2014/main" id="{3D4D507F-8D2C-4A0B-BB2B-5932327E2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3479"/>
              <a:ext cx="50" cy="31"/>
            </a:xfrm>
            <a:custGeom>
              <a:avLst/>
              <a:gdLst>
                <a:gd name="T0" fmla="*/ 14 w 179"/>
                <a:gd name="T1" fmla="*/ 113 h 113"/>
                <a:gd name="T2" fmla="*/ 3 w 179"/>
                <a:gd name="T3" fmla="*/ 107 h 113"/>
                <a:gd name="T4" fmla="*/ 8 w 179"/>
                <a:gd name="T5" fmla="*/ 91 h 113"/>
                <a:gd name="T6" fmla="*/ 159 w 179"/>
                <a:gd name="T7" fmla="*/ 3 h 113"/>
                <a:gd name="T8" fmla="*/ 175 w 179"/>
                <a:gd name="T9" fmla="*/ 8 h 113"/>
                <a:gd name="T10" fmla="*/ 171 w 179"/>
                <a:gd name="T11" fmla="*/ 24 h 113"/>
                <a:gd name="T12" fmla="*/ 20 w 179"/>
                <a:gd name="T13" fmla="*/ 112 h 113"/>
                <a:gd name="T14" fmla="*/ 14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4" y="113"/>
                  </a:moveTo>
                  <a:cubicBezTo>
                    <a:pt x="10" y="113"/>
                    <a:pt x="6" y="111"/>
                    <a:pt x="3" y="107"/>
                  </a:cubicBezTo>
                  <a:cubicBezTo>
                    <a:pt x="0" y="101"/>
                    <a:pt x="2" y="94"/>
                    <a:pt x="8" y="91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5" y="0"/>
                    <a:pt x="172" y="2"/>
                    <a:pt x="175" y="8"/>
                  </a:cubicBezTo>
                  <a:cubicBezTo>
                    <a:pt x="179" y="14"/>
                    <a:pt x="177" y="21"/>
                    <a:pt x="171" y="24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18" y="113"/>
                    <a:pt x="16" y="113"/>
                    <a:pt x="14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" name="Freeform 2287">
              <a:extLst>
                <a:ext uri="{FF2B5EF4-FFF2-40B4-BE49-F238E27FC236}">
                  <a16:creationId xmlns:a16="http://schemas.microsoft.com/office/drawing/2014/main" id="{455F07E7-ABDE-4BC5-B9B4-06FE6BE24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3479"/>
              <a:ext cx="50" cy="31"/>
            </a:xfrm>
            <a:custGeom>
              <a:avLst/>
              <a:gdLst>
                <a:gd name="T0" fmla="*/ 165 w 179"/>
                <a:gd name="T1" fmla="*/ 113 h 113"/>
                <a:gd name="T2" fmla="*/ 159 w 179"/>
                <a:gd name="T3" fmla="*/ 112 h 113"/>
                <a:gd name="T4" fmla="*/ 8 w 179"/>
                <a:gd name="T5" fmla="*/ 24 h 113"/>
                <a:gd name="T6" fmla="*/ 3 w 179"/>
                <a:gd name="T7" fmla="*/ 8 h 113"/>
                <a:gd name="T8" fmla="*/ 20 w 179"/>
                <a:gd name="T9" fmla="*/ 3 h 113"/>
                <a:gd name="T10" fmla="*/ 171 w 179"/>
                <a:gd name="T11" fmla="*/ 91 h 113"/>
                <a:gd name="T12" fmla="*/ 175 w 179"/>
                <a:gd name="T13" fmla="*/ 107 h 113"/>
                <a:gd name="T14" fmla="*/ 165 w 179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65" y="113"/>
                  </a:moveTo>
                  <a:cubicBezTo>
                    <a:pt x="163" y="113"/>
                    <a:pt x="161" y="113"/>
                    <a:pt x="159" y="11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7" y="2"/>
                    <a:pt x="14" y="0"/>
                    <a:pt x="20" y="3"/>
                  </a:cubicBezTo>
                  <a:cubicBezTo>
                    <a:pt x="171" y="91"/>
                    <a:pt x="171" y="91"/>
                    <a:pt x="171" y="91"/>
                  </a:cubicBezTo>
                  <a:cubicBezTo>
                    <a:pt x="177" y="94"/>
                    <a:pt x="179" y="101"/>
                    <a:pt x="175" y="107"/>
                  </a:cubicBezTo>
                  <a:cubicBezTo>
                    <a:pt x="173" y="111"/>
                    <a:pt x="169" y="113"/>
                    <a:pt x="165" y="11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" name="Freeform 2288">
              <a:extLst>
                <a:ext uri="{FF2B5EF4-FFF2-40B4-BE49-F238E27FC236}">
                  <a16:creationId xmlns:a16="http://schemas.microsoft.com/office/drawing/2014/main" id="{5C48D542-D4E4-4382-80CB-667ADE59D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" y="2809"/>
              <a:ext cx="711" cy="974"/>
            </a:xfrm>
            <a:custGeom>
              <a:avLst/>
              <a:gdLst>
                <a:gd name="T0" fmla="*/ 2574 w 2574"/>
                <a:gd name="T1" fmla="*/ 1686 h 3528"/>
                <a:gd name="T2" fmla="*/ 2574 w 2574"/>
                <a:gd name="T3" fmla="*/ 3373 h 3528"/>
                <a:gd name="T4" fmla="*/ 2550 w 2574"/>
                <a:gd name="T5" fmla="*/ 3435 h 3528"/>
                <a:gd name="T6" fmla="*/ 2388 w 2574"/>
                <a:gd name="T7" fmla="*/ 3528 h 3528"/>
                <a:gd name="T8" fmla="*/ 2412 w 2574"/>
                <a:gd name="T9" fmla="*/ 3467 h 3528"/>
                <a:gd name="T10" fmla="*/ 2412 w 2574"/>
                <a:gd name="T11" fmla="*/ 1581 h 3528"/>
                <a:gd name="T12" fmla="*/ 2381 w 2574"/>
                <a:gd name="T13" fmla="*/ 1476 h 3528"/>
                <a:gd name="T14" fmla="*/ 2327 w 2574"/>
                <a:gd name="T15" fmla="*/ 1418 h 3528"/>
                <a:gd name="T16" fmla="*/ 55 w 2574"/>
                <a:gd name="T17" fmla="*/ 107 h 3528"/>
                <a:gd name="T18" fmla="*/ 0 w 2574"/>
                <a:gd name="T19" fmla="*/ 102 h 3528"/>
                <a:gd name="T20" fmla="*/ 161 w 2574"/>
                <a:gd name="T21" fmla="*/ 9 h 3528"/>
                <a:gd name="T22" fmla="*/ 217 w 2574"/>
                <a:gd name="T23" fmla="*/ 13 h 3528"/>
                <a:gd name="T24" fmla="*/ 2489 w 2574"/>
                <a:gd name="T25" fmla="*/ 1325 h 3528"/>
                <a:gd name="T26" fmla="*/ 2543 w 2574"/>
                <a:gd name="T27" fmla="*/ 1383 h 3528"/>
                <a:gd name="T28" fmla="*/ 2574 w 2574"/>
                <a:gd name="T29" fmla="*/ 1487 h 3528"/>
                <a:gd name="T30" fmla="*/ 2574 w 2574"/>
                <a:gd name="T31" fmla="*/ 1686 h 3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4" h="3528">
                  <a:moveTo>
                    <a:pt x="2574" y="1686"/>
                  </a:moveTo>
                  <a:cubicBezTo>
                    <a:pt x="2574" y="3373"/>
                    <a:pt x="2574" y="3373"/>
                    <a:pt x="2574" y="3373"/>
                  </a:cubicBezTo>
                  <a:cubicBezTo>
                    <a:pt x="2574" y="3405"/>
                    <a:pt x="2565" y="3426"/>
                    <a:pt x="2550" y="3435"/>
                  </a:cubicBezTo>
                  <a:cubicBezTo>
                    <a:pt x="2388" y="3528"/>
                    <a:pt x="2388" y="3528"/>
                    <a:pt x="2388" y="3528"/>
                  </a:cubicBezTo>
                  <a:cubicBezTo>
                    <a:pt x="2403" y="3519"/>
                    <a:pt x="2412" y="3499"/>
                    <a:pt x="2412" y="3467"/>
                  </a:cubicBezTo>
                  <a:cubicBezTo>
                    <a:pt x="2412" y="1581"/>
                    <a:pt x="2412" y="1581"/>
                    <a:pt x="2412" y="1581"/>
                  </a:cubicBezTo>
                  <a:cubicBezTo>
                    <a:pt x="2412" y="1546"/>
                    <a:pt x="2400" y="1508"/>
                    <a:pt x="2381" y="1476"/>
                  </a:cubicBezTo>
                  <a:cubicBezTo>
                    <a:pt x="2366" y="1451"/>
                    <a:pt x="2347" y="1430"/>
                    <a:pt x="2327" y="1418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34" y="95"/>
                    <a:pt x="15" y="94"/>
                    <a:pt x="0" y="102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76" y="0"/>
                    <a:pt x="195" y="1"/>
                    <a:pt x="217" y="13"/>
                  </a:cubicBezTo>
                  <a:cubicBezTo>
                    <a:pt x="2489" y="1325"/>
                    <a:pt x="2489" y="1325"/>
                    <a:pt x="2489" y="1325"/>
                  </a:cubicBezTo>
                  <a:cubicBezTo>
                    <a:pt x="2509" y="1337"/>
                    <a:pt x="2528" y="1358"/>
                    <a:pt x="2543" y="1383"/>
                  </a:cubicBezTo>
                  <a:cubicBezTo>
                    <a:pt x="2562" y="1414"/>
                    <a:pt x="2574" y="1452"/>
                    <a:pt x="2574" y="1487"/>
                  </a:cubicBezTo>
                  <a:lnTo>
                    <a:pt x="2574" y="1686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" name="Freeform 2289">
              <a:extLst>
                <a:ext uri="{FF2B5EF4-FFF2-40B4-BE49-F238E27FC236}">
                  <a16:creationId xmlns:a16="http://schemas.microsoft.com/office/drawing/2014/main" id="{2E971824-E6D9-43FC-8DC4-B5C896AB7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" y="2910"/>
              <a:ext cx="694" cy="945"/>
            </a:xfrm>
            <a:custGeom>
              <a:avLst/>
              <a:gdLst>
                <a:gd name="T0" fmla="*/ 2454 w 2513"/>
                <a:gd name="T1" fmla="*/ 2880 h 3421"/>
                <a:gd name="T2" fmla="*/ 2442 w 2513"/>
                <a:gd name="T3" fmla="*/ 2606 h 3421"/>
                <a:gd name="T4" fmla="*/ 2109 w 2513"/>
                <a:gd name="T5" fmla="*/ 2406 h 3421"/>
                <a:gd name="T6" fmla="*/ 2095 w 2513"/>
                <a:gd name="T7" fmla="*/ 2674 h 3421"/>
                <a:gd name="T8" fmla="*/ 2036 w 2513"/>
                <a:gd name="T9" fmla="*/ 2689 h 3421"/>
                <a:gd name="T10" fmla="*/ 2079 w 2513"/>
                <a:gd name="T11" fmla="*/ 3186 h 3421"/>
                <a:gd name="T12" fmla="*/ 2482 w 2513"/>
                <a:gd name="T13" fmla="*/ 3416 h 3421"/>
                <a:gd name="T14" fmla="*/ 2513 w 2513"/>
                <a:gd name="T15" fmla="*/ 2965 h 3421"/>
                <a:gd name="T16" fmla="*/ 0 w 2513"/>
                <a:gd name="T17" fmla="*/ 0 h 3421"/>
                <a:gd name="T18" fmla="*/ 30 w 2513"/>
                <a:gd name="T19" fmla="*/ 1783 h 3421"/>
                <a:gd name="T20" fmla="*/ 2353 w 2513"/>
                <a:gd name="T21" fmla="*/ 3153 h 3421"/>
                <a:gd name="T22" fmla="*/ 2443 w 2513"/>
                <a:gd name="T23" fmla="*/ 3102 h 3421"/>
                <a:gd name="T24" fmla="*/ 0 w 2513"/>
                <a:gd name="T25" fmla="*/ 0 h 3421"/>
                <a:gd name="T26" fmla="*/ 963 w 2513"/>
                <a:gd name="T27" fmla="*/ 837 h 3421"/>
                <a:gd name="T28" fmla="*/ 2232 w 2513"/>
                <a:gd name="T29" fmla="*/ 1630 h 3421"/>
                <a:gd name="T30" fmla="*/ 2188 w 2513"/>
                <a:gd name="T31" fmla="*/ 1663 h 3421"/>
                <a:gd name="T32" fmla="*/ 918 w 2513"/>
                <a:gd name="T33" fmla="*/ 871 h 3421"/>
                <a:gd name="T34" fmla="*/ 316 w 2513"/>
                <a:gd name="T35" fmla="*/ 1334 h 3421"/>
                <a:gd name="T36" fmla="*/ 217 w 2513"/>
                <a:gd name="T37" fmla="*/ 1285 h 3421"/>
                <a:gd name="T38" fmla="*/ 211 w 2513"/>
                <a:gd name="T39" fmla="*/ 1168 h 3421"/>
                <a:gd name="T40" fmla="*/ 310 w 2513"/>
                <a:gd name="T41" fmla="*/ 1217 h 3421"/>
                <a:gd name="T42" fmla="*/ 316 w 2513"/>
                <a:gd name="T43" fmla="*/ 1334 h 3421"/>
                <a:gd name="T44" fmla="*/ 513 w 2513"/>
                <a:gd name="T45" fmla="*/ 1456 h 3421"/>
                <a:gd name="T46" fmla="*/ 414 w 2513"/>
                <a:gd name="T47" fmla="*/ 1390 h 3421"/>
                <a:gd name="T48" fmla="*/ 421 w 2513"/>
                <a:gd name="T49" fmla="*/ 1281 h 3421"/>
                <a:gd name="T50" fmla="*/ 520 w 2513"/>
                <a:gd name="T51" fmla="*/ 1347 h 3421"/>
                <a:gd name="T52" fmla="*/ 723 w 2513"/>
                <a:gd name="T53" fmla="*/ 1568 h 3421"/>
                <a:gd name="T54" fmla="*/ 624 w 2513"/>
                <a:gd name="T55" fmla="*/ 1520 h 3421"/>
                <a:gd name="T56" fmla="*/ 617 w 2513"/>
                <a:gd name="T57" fmla="*/ 1403 h 3421"/>
                <a:gd name="T58" fmla="*/ 716 w 2513"/>
                <a:gd name="T59" fmla="*/ 1451 h 3421"/>
                <a:gd name="T60" fmla="*/ 723 w 2513"/>
                <a:gd name="T61" fmla="*/ 1568 h 3421"/>
                <a:gd name="T62" fmla="*/ 690 w 2513"/>
                <a:gd name="T63" fmla="*/ 1271 h 3421"/>
                <a:gd name="T64" fmla="*/ 211 w 2513"/>
                <a:gd name="T65" fmla="*/ 950 h 3421"/>
                <a:gd name="T66" fmla="*/ 243 w 2513"/>
                <a:gd name="T67" fmla="*/ 422 h 3421"/>
                <a:gd name="T68" fmla="*/ 723 w 2513"/>
                <a:gd name="T69" fmla="*/ 742 h 3421"/>
                <a:gd name="T70" fmla="*/ 2095 w 2513"/>
                <a:gd name="T71" fmla="*/ 2626 h 3421"/>
                <a:gd name="T72" fmla="*/ 1148 w 2513"/>
                <a:gd name="T73" fmla="*/ 1911 h 3421"/>
                <a:gd name="T74" fmla="*/ 1468 w 2513"/>
                <a:gd name="T75" fmla="*/ 2048 h 3421"/>
                <a:gd name="T76" fmla="*/ 1592 w 2513"/>
                <a:gd name="T77" fmla="*/ 2163 h 3421"/>
                <a:gd name="T78" fmla="*/ 1994 w 2513"/>
                <a:gd name="T79" fmla="*/ 2221 h 3421"/>
                <a:gd name="T80" fmla="*/ 2232 w 2513"/>
                <a:gd name="T81" fmla="*/ 2705 h 3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13" h="3421">
                  <a:moveTo>
                    <a:pt x="2470" y="2890"/>
                  </a:moveTo>
                  <a:cubicBezTo>
                    <a:pt x="2454" y="2880"/>
                    <a:pt x="2454" y="2880"/>
                    <a:pt x="2454" y="2880"/>
                  </a:cubicBezTo>
                  <a:cubicBezTo>
                    <a:pt x="2454" y="2685"/>
                    <a:pt x="2454" y="2685"/>
                    <a:pt x="2454" y="2685"/>
                  </a:cubicBezTo>
                  <a:cubicBezTo>
                    <a:pt x="2454" y="2660"/>
                    <a:pt x="2450" y="2633"/>
                    <a:pt x="2442" y="2606"/>
                  </a:cubicBezTo>
                  <a:cubicBezTo>
                    <a:pt x="2417" y="2513"/>
                    <a:pt x="2351" y="2419"/>
                    <a:pt x="2275" y="2375"/>
                  </a:cubicBezTo>
                  <a:cubicBezTo>
                    <a:pt x="2200" y="2332"/>
                    <a:pt x="2136" y="2347"/>
                    <a:pt x="2109" y="2406"/>
                  </a:cubicBezTo>
                  <a:cubicBezTo>
                    <a:pt x="2100" y="2426"/>
                    <a:pt x="2095" y="2450"/>
                    <a:pt x="2095" y="2478"/>
                  </a:cubicBezTo>
                  <a:cubicBezTo>
                    <a:pt x="2095" y="2674"/>
                    <a:pt x="2095" y="2674"/>
                    <a:pt x="2095" y="2674"/>
                  </a:cubicBezTo>
                  <a:cubicBezTo>
                    <a:pt x="2079" y="2664"/>
                    <a:pt x="2079" y="2664"/>
                    <a:pt x="2079" y="2664"/>
                  </a:cubicBezTo>
                  <a:cubicBezTo>
                    <a:pt x="2055" y="2650"/>
                    <a:pt x="2036" y="2662"/>
                    <a:pt x="2036" y="2689"/>
                  </a:cubicBezTo>
                  <a:cubicBezTo>
                    <a:pt x="2036" y="3111"/>
                    <a:pt x="2036" y="3111"/>
                    <a:pt x="2036" y="3111"/>
                  </a:cubicBezTo>
                  <a:cubicBezTo>
                    <a:pt x="2036" y="3138"/>
                    <a:pt x="2055" y="3172"/>
                    <a:pt x="2079" y="3186"/>
                  </a:cubicBezTo>
                  <a:cubicBezTo>
                    <a:pt x="2470" y="3411"/>
                    <a:pt x="2470" y="3411"/>
                    <a:pt x="2470" y="3411"/>
                  </a:cubicBezTo>
                  <a:cubicBezTo>
                    <a:pt x="2474" y="3413"/>
                    <a:pt x="2478" y="3415"/>
                    <a:pt x="2482" y="3416"/>
                  </a:cubicBezTo>
                  <a:cubicBezTo>
                    <a:pt x="2500" y="3421"/>
                    <a:pt x="2513" y="3409"/>
                    <a:pt x="2513" y="3386"/>
                  </a:cubicBezTo>
                  <a:cubicBezTo>
                    <a:pt x="2513" y="2965"/>
                    <a:pt x="2513" y="2965"/>
                    <a:pt x="2513" y="2965"/>
                  </a:cubicBezTo>
                  <a:cubicBezTo>
                    <a:pt x="2513" y="2937"/>
                    <a:pt x="2494" y="2904"/>
                    <a:pt x="2470" y="2890"/>
                  </a:cubicBezTo>
                  <a:close/>
                  <a:moveTo>
                    <a:pt x="0" y="0"/>
                  </a:moveTo>
                  <a:cubicBezTo>
                    <a:pt x="0" y="1681"/>
                    <a:pt x="0" y="1681"/>
                    <a:pt x="0" y="1681"/>
                  </a:cubicBezTo>
                  <a:cubicBezTo>
                    <a:pt x="0" y="1715"/>
                    <a:pt x="12" y="1752"/>
                    <a:pt x="30" y="1783"/>
                  </a:cubicBezTo>
                  <a:cubicBezTo>
                    <a:pt x="44" y="1810"/>
                    <a:pt x="64" y="1832"/>
                    <a:pt x="86" y="1844"/>
                  </a:cubicBezTo>
                  <a:cubicBezTo>
                    <a:pt x="2353" y="3153"/>
                    <a:pt x="2353" y="3153"/>
                    <a:pt x="2353" y="3153"/>
                  </a:cubicBezTo>
                  <a:cubicBezTo>
                    <a:pt x="2381" y="3169"/>
                    <a:pt x="2403" y="3172"/>
                    <a:pt x="2419" y="3163"/>
                  </a:cubicBezTo>
                  <a:cubicBezTo>
                    <a:pt x="2434" y="3154"/>
                    <a:pt x="2443" y="3134"/>
                    <a:pt x="2443" y="3102"/>
                  </a:cubicBezTo>
                  <a:cubicBezTo>
                    <a:pt x="2443" y="1410"/>
                    <a:pt x="2443" y="1410"/>
                    <a:pt x="2443" y="1410"/>
                  </a:cubicBezTo>
                  <a:lnTo>
                    <a:pt x="0" y="0"/>
                  </a:lnTo>
                  <a:close/>
                  <a:moveTo>
                    <a:pt x="945" y="832"/>
                  </a:moveTo>
                  <a:cubicBezTo>
                    <a:pt x="950" y="832"/>
                    <a:pt x="956" y="833"/>
                    <a:pt x="963" y="837"/>
                  </a:cubicBezTo>
                  <a:cubicBezTo>
                    <a:pt x="2188" y="1544"/>
                    <a:pt x="2188" y="1544"/>
                    <a:pt x="2188" y="1544"/>
                  </a:cubicBezTo>
                  <a:cubicBezTo>
                    <a:pt x="2212" y="1559"/>
                    <a:pt x="2232" y="1597"/>
                    <a:pt x="2232" y="1630"/>
                  </a:cubicBezTo>
                  <a:cubicBezTo>
                    <a:pt x="2232" y="1654"/>
                    <a:pt x="2221" y="1669"/>
                    <a:pt x="2206" y="1669"/>
                  </a:cubicBezTo>
                  <a:cubicBezTo>
                    <a:pt x="2200" y="1669"/>
                    <a:pt x="2194" y="1667"/>
                    <a:pt x="2188" y="1663"/>
                  </a:cubicBezTo>
                  <a:cubicBezTo>
                    <a:pt x="963" y="956"/>
                    <a:pt x="963" y="956"/>
                    <a:pt x="963" y="956"/>
                  </a:cubicBezTo>
                  <a:cubicBezTo>
                    <a:pt x="938" y="942"/>
                    <a:pt x="918" y="904"/>
                    <a:pt x="918" y="871"/>
                  </a:cubicBezTo>
                  <a:cubicBezTo>
                    <a:pt x="918" y="846"/>
                    <a:pt x="929" y="832"/>
                    <a:pt x="945" y="832"/>
                  </a:cubicBezTo>
                  <a:close/>
                  <a:moveTo>
                    <a:pt x="316" y="1334"/>
                  </a:moveTo>
                  <a:cubicBezTo>
                    <a:pt x="316" y="1339"/>
                    <a:pt x="313" y="1341"/>
                    <a:pt x="310" y="1339"/>
                  </a:cubicBezTo>
                  <a:cubicBezTo>
                    <a:pt x="217" y="1285"/>
                    <a:pt x="217" y="1285"/>
                    <a:pt x="217" y="1285"/>
                  </a:cubicBezTo>
                  <a:cubicBezTo>
                    <a:pt x="214" y="1283"/>
                    <a:pt x="211" y="1277"/>
                    <a:pt x="211" y="1273"/>
                  </a:cubicBezTo>
                  <a:cubicBezTo>
                    <a:pt x="211" y="1168"/>
                    <a:pt x="211" y="1168"/>
                    <a:pt x="211" y="1168"/>
                  </a:cubicBezTo>
                  <a:cubicBezTo>
                    <a:pt x="211" y="1163"/>
                    <a:pt x="214" y="1161"/>
                    <a:pt x="217" y="1163"/>
                  </a:cubicBezTo>
                  <a:cubicBezTo>
                    <a:pt x="310" y="1217"/>
                    <a:pt x="310" y="1217"/>
                    <a:pt x="310" y="1217"/>
                  </a:cubicBezTo>
                  <a:cubicBezTo>
                    <a:pt x="313" y="1219"/>
                    <a:pt x="316" y="1225"/>
                    <a:pt x="316" y="1229"/>
                  </a:cubicBezTo>
                  <a:lnTo>
                    <a:pt x="316" y="1334"/>
                  </a:lnTo>
                  <a:close/>
                  <a:moveTo>
                    <a:pt x="520" y="1451"/>
                  </a:moveTo>
                  <a:cubicBezTo>
                    <a:pt x="520" y="1456"/>
                    <a:pt x="517" y="1458"/>
                    <a:pt x="513" y="1456"/>
                  </a:cubicBezTo>
                  <a:cubicBezTo>
                    <a:pt x="421" y="1403"/>
                    <a:pt x="421" y="1403"/>
                    <a:pt x="421" y="1403"/>
                  </a:cubicBezTo>
                  <a:cubicBezTo>
                    <a:pt x="417" y="1401"/>
                    <a:pt x="414" y="1395"/>
                    <a:pt x="414" y="1390"/>
                  </a:cubicBezTo>
                  <a:cubicBezTo>
                    <a:pt x="414" y="1286"/>
                    <a:pt x="414" y="1286"/>
                    <a:pt x="414" y="1286"/>
                  </a:cubicBezTo>
                  <a:cubicBezTo>
                    <a:pt x="414" y="1281"/>
                    <a:pt x="417" y="1278"/>
                    <a:pt x="421" y="1281"/>
                  </a:cubicBezTo>
                  <a:cubicBezTo>
                    <a:pt x="513" y="1334"/>
                    <a:pt x="513" y="1334"/>
                    <a:pt x="513" y="1334"/>
                  </a:cubicBezTo>
                  <a:cubicBezTo>
                    <a:pt x="517" y="1336"/>
                    <a:pt x="520" y="1342"/>
                    <a:pt x="520" y="1347"/>
                  </a:cubicBezTo>
                  <a:lnTo>
                    <a:pt x="520" y="1451"/>
                  </a:lnTo>
                  <a:close/>
                  <a:moveTo>
                    <a:pt x="723" y="1568"/>
                  </a:moveTo>
                  <a:cubicBezTo>
                    <a:pt x="723" y="1573"/>
                    <a:pt x="720" y="1576"/>
                    <a:pt x="716" y="1573"/>
                  </a:cubicBezTo>
                  <a:cubicBezTo>
                    <a:pt x="624" y="1520"/>
                    <a:pt x="624" y="1520"/>
                    <a:pt x="624" y="1520"/>
                  </a:cubicBezTo>
                  <a:cubicBezTo>
                    <a:pt x="620" y="1518"/>
                    <a:pt x="617" y="1512"/>
                    <a:pt x="617" y="1507"/>
                  </a:cubicBezTo>
                  <a:cubicBezTo>
                    <a:pt x="617" y="1403"/>
                    <a:pt x="617" y="1403"/>
                    <a:pt x="617" y="1403"/>
                  </a:cubicBezTo>
                  <a:cubicBezTo>
                    <a:pt x="617" y="1398"/>
                    <a:pt x="620" y="1396"/>
                    <a:pt x="624" y="1398"/>
                  </a:cubicBezTo>
                  <a:cubicBezTo>
                    <a:pt x="716" y="1451"/>
                    <a:pt x="716" y="1451"/>
                    <a:pt x="716" y="1451"/>
                  </a:cubicBezTo>
                  <a:cubicBezTo>
                    <a:pt x="720" y="1453"/>
                    <a:pt x="723" y="1459"/>
                    <a:pt x="723" y="1464"/>
                  </a:cubicBezTo>
                  <a:lnTo>
                    <a:pt x="723" y="1568"/>
                  </a:lnTo>
                  <a:close/>
                  <a:moveTo>
                    <a:pt x="723" y="1246"/>
                  </a:moveTo>
                  <a:cubicBezTo>
                    <a:pt x="723" y="1270"/>
                    <a:pt x="708" y="1282"/>
                    <a:pt x="690" y="1271"/>
                  </a:cubicBezTo>
                  <a:cubicBezTo>
                    <a:pt x="243" y="1013"/>
                    <a:pt x="243" y="1013"/>
                    <a:pt x="243" y="1013"/>
                  </a:cubicBezTo>
                  <a:cubicBezTo>
                    <a:pt x="225" y="1003"/>
                    <a:pt x="211" y="975"/>
                    <a:pt x="211" y="950"/>
                  </a:cubicBezTo>
                  <a:cubicBezTo>
                    <a:pt x="211" y="447"/>
                    <a:pt x="211" y="447"/>
                    <a:pt x="211" y="447"/>
                  </a:cubicBezTo>
                  <a:cubicBezTo>
                    <a:pt x="211" y="422"/>
                    <a:pt x="225" y="411"/>
                    <a:pt x="243" y="422"/>
                  </a:cubicBezTo>
                  <a:cubicBezTo>
                    <a:pt x="690" y="680"/>
                    <a:pt x="690" y="680"/>
                    <a:pt x="690" y="680"/>
                  </a:cubicBezTo>
                  <a:cubicBezTo>
                    <a:pt x="708" y="690"/>
                    <a:pt x="723" y="718"/>
                    <a:pt x="723" y="742"/>
                  </a:cubicBezTo>
                  <a:lnTo>
                    <a:pt x="723" y="1246"/>
                  </a:lnTo>
                  <a:close/>
                  <a:moveTo>
                    <a:pt x="2095" y="2626"/>
                  </a:moveTo>
                  <a:cubicBezTo>
                    <a:pt x="918" y="1946"/>
                    <a:pt x="918" y="1946"/>
                    <a:pt x="918" y="1946"/>
                  </a:cubicBezTo>
                  <a:cubicBezTo>
                    <a:pt x="973" y="1887"/>
                    <a:pt x="1038" y="1848"/>
                    <a:pt x="1148" y="1911"/>
                  </a:cubicBezTo>
                  <a:cubicBezTo>
                    <a:pt x="1221" y="1953"/>
                    <a:pt x="1252" y="2018"/>
                    <a:pt x="1311" y="2052"/>
                  </a:cubicBezTo>
                  <a:cubicBezTo>
                    <a:pt x="1384" y="2094"/>
                    <a:pt x="1396" y="2008"/>
                    <a:pt x="1468" y="2048"/>
                  </a:cubicBezTo>
                  <a:cubicBezTo>
                    <a:pt x="1468" y="2049"/>
                    <a:pt x="1468" y="2049"/>
                    <a:pt x="1469" y="2049"/>
                  </a:cubicBezTo>
                  <a:cubicBezTo>
                    <a:pt x="1516" y="2076"/>
                    <a:pt x="1544" y="2135"/>
                    <a:pt x="1592" y="2163"/>
                  </a:cubicBezTo>
                  <a:cubicBezTo>
                    <a:pt x="1704" y="2228"/>
                    <a:pt x="1776" y="2063"/>
                    <a:pt x="1899" y="2134"/>
                  </a:cubicBezTo>
                  <a:cubicBezTo>
                    <a:pt x="1932" y="2153"/>
                    <a:pt x="1963" y="2183"/>
                    <a:pt x="1994" y="2221"/>
                  </a:cubicBezTo>
                  <a:cubicBezTo>
                    <a:pt x="2035" y="2272"/>
                    <a:pt x="2074" y="2337"/>
                    <a:pt x="2109" y="2406"/>
                  </a:cubicBezTo>
                  <a:cubicBezTo>
                    <a:pt x="2160" y="2507"/>
                    <a:pt x="2203" y="2617"/>
                    <a:pt x="2232" y="2705"/>
                  </a:cubicBezTo>
                  <a:lnTo>
                    <a:pt x="2095" y="26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0" name="Freeform 2290">
              <a:extLst>
                <a:ext uri="{FF2B5EF4-FFF2-40B4-BE49-F238E27FC236}">
                  <a16:creationId xmlns:a16="http://schemas.microsoft.com/office/drawing/2014/main" id="{2F329206-3E62-43C7-826E-7E9581CE3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" y="2835"/>
              <a:ext cx="675" cy="464"/>
            </a:xfrm>
            <a:custGeom>
              <a:avLst/>
              <a:gdLst>
                <a:gd name="T0" fmla="*/ 2443 w 2443"/>
                <a:gd name="T1" fmla="*/ 1487 h 1681"/>
                <a:gd name="T2" fmla="*/ 2443 w 2443"/>
                <a:gd name="T3" fmla="*/ 1681 h 1681"/>
                <a:gd name="T4" fmla="*/ 0 w 2443"/>
                <a:gd name="T5" fmla="*/ 271 h 1681"/>
                <a:gd name="T6" fmla="*/ 0 w 2443"/>
                <a:gd name="T7" fmla="*/ 77 h 1681"/>
                <a:gd name="T8" fmla="*/ 30 w 2443"/>
                <a:gd name="T9" fmla="*/ 8 h 1681"/>
                <a:gd name="T10" fmla="*/ 31 w 2443"/>
                <a:gd name="T11" fmla="*/ 8 h 1681"/>
                <a:gd name="T12" fmla="*/ 86 w 2443"/>
                <a:gd name="T13" fmla="*/ 13 h 1681"/>
                <a:gd name="T14" fmla="*/ 2358 w 2443"/>
                <a:gd name="T15" fmla="*/ 1324 h 1681"/>
                <a:gd name="T16" fmla="*/ 2412 w 2443"/>
                <a:gd name="T17" fmla="*/ 1382 h 1681"/>
                <a:gd name="T18" fmla="*/ 2443 w 2443"/>
                <a:gd name="T19" fmla="*/ 148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3" h="1681">
                  <a:moveTo>
                    <a:pt x="2443" y="1487"/>
                  </a:moveTo>
                  <a:cubicBezTo>
                    <a:pt x="2443" y="1681"/>
                    <a:pt x="2443" y="1681"/>
                    <a:pt x="2443" y="1681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43"/>
                    <a:pt x="12" y="19"/>
                    <a:pt x="30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6" y="0"/>
                    <a:pt x="65" y="1"/>
                    <a:pt x="86" y="13"/>
                  </a:cubicBezTo>
                  <a:cubicBezTo>
                    <a:pt x="2358" y="1324"/>
                    <a:pt x="2358" y="1324"/>
                    <a:pt x="2358" y="1324"/>
                  </a:cubicBezTo>
                  <a:cubicBezTo>
                    <a:pt x="2378" y="1336"/>
                    <a:pt x="2397" y="1357"/>
                    <a:pt x="2412" y="1382"/>
                  </a:cubicBezTo>
                  <a:cubicBezTo>
                    <a:pt x="2431" y="1414"/>
                    <a:pt x="2443" y="1452"/>
                    <a:pt x="2443" y="148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1" name="Freeform 2291">
              <a:extLst>
                <a:ext uri="{FF2B5EF4-FFF2-40B4-BE49-F238E27FC236}">
                  <a16:creationId xmlns:a16="http://schemas.microsoft.com/office/drawing/2014/main" id="{33CF271B-510A-415C-9F3A-01F615387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" y="3140"/>
              <a:ext cx="363" cy="231"/>
            </a:xfrm>
            <a:custGeom>
              <a:avLst/>
              <a:gdLst>
                <a:gd name="T0" fmla="*/ 1270 w 1314"/>
                <a:gd name="T1" fmla="*/ 712 h 837"/>
                <a:gd name="T2" fmla="*/ 1314 w 1314"/>
                <a:gd name="T3" fmla="*/ 798 h 837"/>
                <a:gd name="T4" fmla="*/ 1288 w 1314"/>
                <a:gd name="T5" fmla="*/ 837 h 837"/>
                <a:gd name="T6" fmla="*/ 1270 w 1314"/>
                <a:gd name="T7" fmla="*/ 831 h 837"/>
                <a:gd name="T8" fmla="*/ 45 w 1314"/>
                <a:gd name="T9" fmla="*/ 124 h 837"/>
                <a:gd name="T10" fmla="*/ 0 w 1314"/>
                <a:gd name="T11" fmla="*/ 39 h 837"/>
                <a:gd name="T12" fmla="*/ 27 w 1314"/>
                <a:gd name="T13" fmla="*/ 0 h 837"/>
                <a:gd name="T14" fmla="*/ 45 w 1314"/>
                <a:gd name="T15" fmla="*/ 5 h 837"/>
                <a:gd name="T16" fmla="*/ 1270 w 1314"/>
                <a:gd name="T17" fmla="*/ 712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4" h="837">
                  <a:moveTo>
                    <a:pt x="1270" y="712"/>
                  </a:moveTo>
                  <a:cubicBezTo>
                    <a:pt x="1294" y="727"/>
                    <a:pt x="1314" y="765"/>
                    <a:pt x="1314" y="798"/>
                  </a:cubicBezTo>
                  <a:cubicBezTo>
                    <a:pt x="1314" y="822"/>
                    <a:pt x="1303" y="837"/>
                    <a:pt x="1288" y="837"/>
                  </a:cubicBezTo>
                  <a:cubicBezTo>
                    <a:pt x="1282" y="837"/>
                    <a:pt x="1276" y="835"/>
                    <a:pt x="1270" y="831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20" y="110"/>
                    <a:pt x="0" y="72"/>
                    <a:pt x="0" y="39"/>
                  </a:cubicBezTo>
                  <a:cubicBezTo>
                    <a:pt x="0" y="14"/>
                    <a:pt x="11" y="0"/>
                    <a:pt x="27" y="0"/>
                  </a:cubicBezTo>
                  <a:cubicBezTo>
                    <a:pt x="32" y="0"/>
                    <a:pt x="38" y="1"/>
                    <a:pt x="45" y="5"/>
                  </a:cubicBezTo>
                  <a:lnTo>
                    <a:pt x="1270" y="712"/>
                  </a:ln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2" name="Freeform 2292">
              <a:extLst>
                <a:ext uri="{FF2B5EF4-FFF2-40B4-BE49-F238E27FC236}">
                  <a16:creationId xmlns:a16="http://schemas.microsoft.com/office/drawing/2014/main" id="{63749183-477C-40C1-981C-E1CBA4269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" y="3420"/>
              <a:ext cx="363" cy="237"/>
            </a:xfrm>
            <a:custGeom>
              <a:avLst/>
              <a:gdLst>
                <a:gd name="T0" fmla="*/ 981 w 1314"/>
                <a:gd name="T1" fmla="*/ 286 h 857"/>
                <a:gd name="T2" fmla="*/ 1314 w 1314"/>
                <a:gd name="T3" fmla="*/ 857 h 857"/>
                <a:gd name="T4" fmla="*/ 0 w 1314"/>
                <a:gd name="T5" fmla="*/ 98 h 857"/>
                <a:gd name="T6" fmla="*/ 230 w 1314"/>
                <a:gd name="T7" fmla="*/ 63 h 857"/>
                <a:gd name="T8" fmla="*/ 393 w 1314"/>
                <a:gd name="T9" fmla="*/ 204 h 857"/>
                <a:gd name="T10" fmla="*/ 550 w 1314"/>
                <a:gd name="T11" fmla="*/ 200 h 857"/>
                <a:gd name="T12" fmla="*/ 551 w 1314"/>
                <a:gd name="T13" fmla="*/ 201 h 857"/>
                <a:gd name="T14" fmla="*/ 674 w 1314"/>
                <a:gd name="T15" fmla="*/ 315 h 857"/>
                <a:gd name="T16" fmla="*/ 981 w 1314"/>
                <a:gd name="T17" fmla="*/ 286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4" h="857">
                  <a:moveTo>
                    <a:pt x="981" y="286"/>
                  </a:moveTo>
                  <a:cubicBezTo>
                    <a:pt x="1122" y="368"/>
                    <a:pt x="1250" y="665"/>
                    <a:pt x="1314" y="857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55" y="39"/>
                    <a:pt x="120" y="0"/>
                    <a:pt x="230" y="63"/>
                  </a:cubicBezTo>
                  <a:cubicBezTo>
                    <a:pt x="303" y="105"/>
                    <a:pt x="334" y="170"/>
                    <a:pt x="393" y="204"/>
                  </a:cubicBezTo>
                  <a:cubicBezTo>
                    <a:pt x="466" y="246"/>
                    <a:pt x="478" y="160"/>
                    <a:pt x="550" y="200"/>
                  </a:cubicBezTo>
                  <a:cubicBezTo>
                    <a:pt x="550" y="201"/>
                    <a:pt x="550" y="201"/>
                    <a:pt x="551" y="201"/>
                  </a:cubicBezTo>
                  <a:cubicBezTo>
                    <a:pt x="598" y="228"/>
                    <a:pt x="626" y="287"/>
                    <a:pt x="674" y="315"/>
                  </a:cubicBezTo>
                  <a:cubicBezTo>
                    <a:pt x="786" y="380"/>
                    <a:pt x="858" y="215"/>
                    <a:pt x="981" y="28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3" name="Freeform 2293">
              <a:extLst>
                <a:ext uri="{FF2B5EF4-FFF2-40B4-BE49-F238E27FC236}">
                  <a16:creationId xmlns:a16="http://schemas.microsoft.com/office/drawing/2014/main" id="{3FFBEB8F-99E4-46FF-AFDB-034C13FAF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" y="3295"/>
              <a:ext cx="30" cy="50"/>
            </a:xfrm>
            <a:custGeom>
              <a:avLst/>
              <a:gdLst>
                <a:gd name="T0" fmla="*/ 106 w 106"/>
                <a:gd name="T1" fmla="*/ 68 h 180"/>
                <a:gd name="T2" fmla="*/ 106 w 106"/>
                <a:gd name="T3" fmla="*/ 172 h 180"/>
                <a:gd name="T4" fmla="*/ 99 w 106"/>
                <a:gd name="T5" fmla="*/ 177 h 180"/>
                <a:gd name="T6" fmla="*/ 7 w 106"/>
                <a:gd name="T7" fmla="*/ 124 h 180"/>
                <a:gd name="T8" fmla="*/ 0 w 106"/>
                <a:gd name="T9" fmla="*/ 111 h 180"/>
                <a:gd name="T10" fmla="*/ 0 w 106"/>
                <a:gd name="T11" fmla="*/ 7 h 180"/>
                <a:gd name="T12" fmla="*/ 7 w 106"/>
                <a:gd name="T13" fmla="*/ 2 h 180"/>
                <a:gd name="T14" fmla="*/ 99 w 106"/>
                <a:gd name="T15" fmla="*/ 55 h 180"/>
                <a:gd name="T16" fmla="*/ 106 w 106"/>
                <a:gd name="T17" fmla="*/ 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80">
                  <a:moveTo>
                    <a:pt x="106" y="68"/>
                  </a:moveTo>
                  <a:cubicBezTo>
                    <a:pt x="106" y="172"/>
                    <a:pt x="106" y="172"/>
                    <a:pt x="106" y="172"/>
                  </a:cubicBezTo>
                  <a:cubicBezTo>
                    <a:pt x="106" y="177"/>
                    <a:pt x="103" y="180"/>
                    <a:pt x="99" y="177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3" y="122"/>
                    <a:pt x="0" y="116"/>
                    <a:pt x="0" y="11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2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3" y="57"/>
                    <a:pt x="106" y="63"/>
                    <a:pt x="106" y="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4" name="Freeform 2294">
              <a:extLst>
                <a:ext uri="{FF2B5EF4-FFF2-40B4-BE49-F238E27FC236}">
                  <a16:creationId xmlns:a16="http://schemas.microsoft.com/office/drawing/2014/main" id="{53D5241E-8F7D-4A80-A7B0-00092BEA0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" y="3023"/>
              <a:ext cx="142" cy="241"/>
            </a:xfrm>
            <a:custGeom>
              <a:avLst/>
              <a:gdLst>
                <a:gd name="T0" fmla="*/ 512 w 512"/>
                <a:gd name="T1" fmla="*/ 331 h 871"/>
                <a:gd name="T2" fmla="*/ 512 w 512"/>
                <a:gd name="T3" fmla="*/ 835 h 871"/>
                <a:gd name="T4" fmla="*/ 479 w 512"/>
                <a:gd name="T5" fmla="*/ 860 h 871"/>
                <a:gd name="T6" fmla="*/ 465 w 512"/>
                <a:gd name="T7" fmla="*/ 852 h 871"/>
                <a:gd name="T8" fmla="*/ 331 w 512"/>
                <a:gd name="T9" fmla="*/ 552 h 871"/>
                <a:gd name="T10" fmla="*/ 363 w 512"/>
                <a:gd name="T11" fmla="*/ 482 h 871"/>
                <a:gd name="T12" fmla="*/ 256 w 512"/>
                <a:gd name="T13" fmla="*/ 296 h 871"/>
                <a:gd name="T14" fmla="*/ 148 w 512"/>
                <a:gd name="T15" fmla="*/ 358 h 871"/>
                <a:gd name="T16" fmla="*/ 181 w 512"/>
                <a:gd name="T17" fmla="*/ 465 h 871"/>
                <a:gd name="T18" fmla="*/ 46 w 512"/>
                <a:gd name="T19" fmla="*/ 610 h 871"/>
                <a:gd name="T20" fmla="*/ 46 w 512"/>
                <a:gd name="T21" fmla="*/ 610 h 871"/>
                <a:gd name="T22" fmla="*/ 32 w 512"/>
                <a:gd name="T23" fmla="*/ 602 h 871"/>
                <a:gd name="T24" fmla="*/ 0 w 512"/>
                <a:gd name="T25" fmla="*/ 539 h 871"/>
                <a:gd name="T26" fmla="*/ 0 w 512"/>
                <a:gd name="T27" fmla="*/ 36 h 871"/>
                <a:gd name="T28" fmla="*/ 32 w 512"/>
                <a:gd name="T29" fmla="*/ 11 h 871"/>
                <a:gd name="T30" fmla="*/ 479 w 512"/>
                <a:gd name="T31" fmla="*/ 269 h 871"/>
                <a:gd name="T32" fmla="*/ 512 w 512"/>
                <a:gd name="T33" fmla="*/ 331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2" h="871">
                  <a:moveTo>
                    <a:pt x="512" y="331"/>
                  </a:moveTo>
                  <a:cubicBezTo>
                    <a:pt x="512" y="835"/>
                    <a:pt x="512" y="835"/>
                    <a:pt x="512" y="835"/>
                  </a:cubicBezTo>
                  <a:cubicBezTo>
                    <a:pt x="512" y="859"/>
                    <a:pt x="497" y="871"/>
                    <a:pt x="479" y="860"/>
                  </a:cubicBezTo>
                  <a:cubicBezTo>
                    <a:pt x="465" y="852"/>
                    <a:pt x="465" y="852"/>
                    <a:pt x="465" y="852"/>
                  </a:cubicBezTo>
                  <a:cubicBezTo>
                    <a:pt x="443" y="740"/>
                    <a:pt x="381" y="617"/>
                    <a:pt x="331" y="552"/>
                  </a:cubicBezTo>
                  <a:cubicBezTo>
                    <a:pt x="351" y="541"/>
                    <a:pt x="363" y="517"/>
                    <a:pt x="363" y="482"/>
                  </a:cubicBezTo>
                  <a:cubicBezTo>
                    <a:pt x="363" y="414"/>
                    <a:pt x="315" y="330"/>
                    <a:pt x="256" y="296"/>
                  </a:cubicBezTo>
                  <a:cubicBezTo>
                    <a:pt x="196" y="262"/>
                    <a:pt x="148" y="289"/>
                    <a:pt x="148" y="358"/>
                  </a:cubicBezTo>
                  <a:cubicBezTo>
                    <a:pt x="148" y="393"/>
                    <a:pt x="161" y="431"/>
                    <a:pt x="181" y="465"/>
                  </a:cubicBezTo>
                  <a:cubicBezTo>
                    <a:pt x="131" y="472"/>
                    <a:pt x="69" y="524"/>
                    <a:pt x="46" y="610"/>
                  </a:cubicBezTo>
                  <a:cubicBezTo>
                    <a:pt x="46" y="610"/>
                    <a:pt x="46" y="610"/>
                    <a:pt x="46" y="610"/>
                  </a:cubicBezTo>
                  <a:cubicBezTo>
                    <a:pt x="32" y="602"/>
                    <a:pt x="32" y="602"/>
                    <a:pt x="32" y="602"/>
                  </a:cubicBezTo>
                  <a:cubicBezTo>
                    <a:pt x="14" y="592"/>
                    <a:pt x="0" y="564"/>
                    <a:pt x="0" y="53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1"/>
                    <a:pt x="14" y="0"/>
                    <a:pt x="32" y="11"/>
                  </a:cubicBezTo>
                  <a:cubicBezTo>
                    <a:pt x="479" y="269"/>
                    <a:pt x="479" y="269"/>
                    <a:pt x="479" y="269"/>
                  </a:cubicBezTo>
                  <a:cubicBezTo>
                    <a:pt x="497" y="279"/>
                    <a:pt x="512" y="307"/>
                    <a:pt x="512" y="33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5" name="Freeform 2295">
              <a:extLst>
                <a:ext uri="{FF2B5EF4-FFF2-40B4-BE49-F238E27FC236}">
                  <a16:creationId xmlns:a16="http://schemas.microsoft.com/office/drawing/2014/main" id="{203BFF89-E11E-45AC-B086-F89177617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" y="3152"/>
              <a:ext cx="116" cy="107"/>
            </a:xfrm>
            <a:custGeom>
              <a:avLst/>
              <a:gdLst>
                <a:gd name="T0" fmla="*/ 419 w 419"/>
                <a:gd name="T1" fmla="*/ 387 h 387"/>
                <a:gd name="T2" fmla="*/ 0 w 419"/>
                <a:gd name="T3" fmla="*/ 145 h 387"/>
                <a:gd name="T4" fmla="*/ 0 w 419"/>
                <a:gd name="T5" fmla="*/ 145 h 387"/>
                <a:gd name="T6" fmla="*/ 135 w 419"/>
                <a:gd name="T7" fmla="*/ 0 h 387"/>
                <a:gd name="T8" fmla="*/ 146 w 419"/>
                <a:gd name="T9" fmla="*/ 19 h 387"/>
                <a:gd name="T10" fmla="*/ 210 w 419"/>
                <a:gd name="T11" fmla="*/ 79 h 387"/>
                <a:gd name="T12" fmla="*/ 273 w 419"/>
                <a:gd name="T13" fmla="*/ 92 h 387"/>
                <a:gd name="T14" fmla="*/ 285 w 419"/>
                <a:gd name="T15" fmla="*/ 87 h 387"/>
                <a:gd name="T16" fmla="*/ 419 w 419"/>
                <a:gd name="T17" fmla="*/ 3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9" h="387">
                  <a:moveTo>
                    <a:pt x="419" y="387"/>
                  </a:moveTo>
                  <a:cubicBezTo>
                    <a:pt x="0" y="145"/>
                    <a:pt x="0" y="145"/>
                    <a:pt x="0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23" y="59"/>
                    <a:pt x="85" y="7"/>
                    <a:pt x="135" y="0"/>
                  </a:cubicBezTo>
                  <a:cubicBezTo>
                    <a:pt x="138" y="7"/>
                    <a:pt x="142" y="13"/>
                    <a:pt x="146" y="19"/>
                  </a:cubicBezTo>
                  <a:cubicBezTo>
                    <a:pt x="164" y="44"/>
                    <a:pt x="186" y="66"/>
                    <a:pt x="210" y="79"/>
                  </a:cubicBezTo>
                  <a:cubicBezTo>
                    <a:pt x="233" y="93"/>
                    <a:pt x="255" y="97"/>
                    <a:pt x="273" y="92"/>
                  </a:cubicBezTo>
                  <a:cubicBezTo>
                    <a:pt x="277" y="91"/>
                    <a:pt x="281" y="89"/>
                    <a:pt x="285" y="87"/>
                  </a:cubicBezTo>
                  <a:cubicBezTo>
                    <a:pt x="335" y="152"/>
                    <a:pt x="397" y="275"/>
                    <a:pt x="419" y="387"/>
                  </a:cubicBez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6" name="Freeform 2296">
              <a:extLst>
                <a:ext uri="{FF2B5EF4-FFF2-40B4-BE49-F238E27FC236}">
                  <a16:creationId xmlns:a16="http://schemas.microsoft.com/office/drawing/2014/main" id="{33983058-443A-42AD-9B9F-937A7761D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096"/>
              <a:ext cx="60" cy="83"/>
            </a:xfrm>
            <a:custGeom>
              <a:avLst/>
              <a:gdLst>
                <a:gd name="T0" fmla="*/ 215 w 215"/>
                <a:gd name="T1" fmla="*/ 220 h 300"/>
                <a:gd name="T2" fmla="*/ 183 w 215"/>
                <a:gd name="T3" fmla="*/ 290 h 300"/>
                <a:gd name="T4" fmla="*/ 171 w 215"/>
                <a:gd name="T5" fmla="*/ 295 h 300"/>
                <a:gd name="T6" fmla="*/ 108 w 215"/>
                <a:gd name="T7" fmla="*/ 282 h 300"/>
                <a:gd name="T8" fmla="*/ 44 w 215"/>
                <a:gd name="T9" fmla="*/ 222 h 300"/>
                <a:gd name="T10" fmla="*/ 33 w 215"/>
                <a:gd name="T11" fmla="*/ 203 h 300"/>
                <a:gd name="T12" fmla="*/ 0 w 215"/>
                <a:gd name="T13" fmla="*/ 96 h 300"/>
                <a:gd name="T14" fmla="*/ 108 w 215"/>
                <a:gd name="T15" fmla="*/ 34 h 300"/>
                <a:gd name="T16" fmla="*/ 215 w 215"/>
                <a:gd name="T17" fmla="*/ 22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300">
                  <a:moveTo>
                    <a:pt x="215" y="220"/>
                  </a:moveTo>
                  <a:cubicBezTo>
                    <a:pt x="215" y="255"/>
                    <a:pt x="203" y="279"/>
                    <a:pt x="183" y="290"/>
                  </a:cubicBezTo>
                  <a:cubicBezTo>
                    <a:pt x="179" y="292"/>
                    <a:pt x="175" y="294"/>
                    <a:pt x="171" y="295"/>
                  </a:cubicBezTo>
                  <a:cubicBezTo>
                    <a:pt x="153" y="300"/>
                    <a:pt x="131" y="296"/>
                    <a:pt x="108" y="282"/>
                  </a:cubicBezTo>
                  <a:cubicBezTo>
                    <a:pt x="84" y="269"/>
                    <a:pt x="62" y="247"/>
                    <a:pt x="44" y="222"/>
                  </a:cubicBezTo>
                  <a:cubicBezTo>
                    <a:pt x="40" y="216"/>
                    <a:pt x="36" y="210"/>
                    <a:pt x="33" y="203"/>
                  </a:cubicBezTo>
                  <a:cubicBezTo>
                    <a:pt x="13" y="169"/>
                    <a:pt x="0" y="131"/>
                    <a:pt x="0" y="96"/>
                  </a:cubicBezTo>
                  <a:cubicBezTo>
                    <a:pt x="0" y="27"/>
                    <a:pt x="48" y="0"/>
                    <a:pt x="108" y="34"/>
                  </a:cubicBezTo>
                  <a:cubicBezTo>
                    <a:pt x="167" y="68"/>
                    <a:pt x="215" y="152"/>
                    <a:pt x="215" y="2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7" name="Freeform 2297">
              <a:extLst>
                <a:ext uri="{FF2B5EF4-FFF2-40B4-BE49-F238E27FC236}">
                  <a16:creationId xmlns:a16="http://schemas.microsoft.com/office/drawing/2014/main" id="{7A64D5E7-560F-4446-9EC0-82A8FEF3B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" y="3263"/>
              <a:ext cx="30" cy="50"/>
            </a:xfrm>
            <a:custGeom>
              <a:avLst/>
              <a:gdLst>
                <a:gd name="T0" fmla="*/ 106 w 106"/>
                <a:gd name="T1" fmla="*/ 69 h 180"/>
                <a:gd name="T2" fmla="*/ 106 w 106"/>
                <a:gd name="T3" fmla="*/ 173 h 180"/>
                <a:gd name="T4" fmla="*/ 99 w 106"/>
                <a:gd name="T5" fmla="*/ 178 h 180"/>
                <a:gd name="T6" fmla="*/ 7 w 106"/>
                <a:gd name="T7" fmla="*/ 125 h 180"/>
                <a:gd name="T8" fmla="*/ 0 w 106"/>
                <a:gd name="T9" fmla="*/ 112 h 180"/>
                <a:gd name="T10" fmla="*/ 0 w 106"/>
                <a:gd name="T11" fmla="*/ 8 h 180"/>
                <a:gd name="T12" fmla="*/ 7 w 106"/>
                <a:gd name="T13" fmla="*/ 3 h 180"/>
                <a:gd name="T14" fmla="*/ 99 w 106"/>
                <a:gd name="T15" fmla="*/ 56 h 180"/>
                <a:gd name="T16" fmla="*/ 106 w 106"/>
                <a:gd name="T17" fmla="*/ 6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80">
                  <a:moveTo>
                    <a:pt x="106" y="69"/>
                  </a:moveTo>
                  <a:cubicBezTo>
                    <a:pt x="106" y="173"/>
                    <a:pt x="106" y="173"/>
                    <a:pt x="106" y="173"/>
                  </a:cubicBezTo>
                  <a:cubicBezTo>
                    <a:pt x="106" y="178"/>
                    <a:pt x="103" y="180"/>
                    <a:pt x="99" y="178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3" y="123"/>
                    <a:pt x="0" y="117"/>
                    <a:pt x="0" y="1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3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3" y="58"/>
                    <a:pt x="106" y="64"/>
                    <a:pt x="106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8" name="Freeform 2298">
              <a:extLst>
                <a:ext uri="{FF2B5EF4-FFF2-40B4-BE49-F238E27FC236}">
                  <a16:creationId xmlns:a16="http://schemas.microsoft.com/office/drawing/2014/main" id="{37892251-0B5C-4ABF-9D66-8FE444F36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" y="3230"/>
              <a:ext cx="29" cy="50"/>
            </a:xfrm>
            <a:custGeom>
              <a:avLst/>
              <a:gdLst>
                <a:gd name="T0" fmla="*/ 105 w 105"/>
                <a:gd name="T1" fmla="*/ 68 h 180"/>
                <a:gd name="T2" fmla="*/ 105 w 105"/>
                <a:gd name="T3" fmla="*/ 173 h 180"/>
                <a:gd name="T4" fmla="*/ 99 w 105"/>
                <a:gd name="T5" fmla="*/ 178 h 180"/>
                <a:gd name="T6" fmla="*/ 6 w 105"/>
                <a:gd name="T7" fmla="*/ 124 h 180"/>
                <a:gd name="T8" fmla="*/ 0 w 105"/>
                <a:gd name="T9" fmla="*/ 112 h 180"/>
                <a:gd name="T10" fmla="*/ 0 w 105"/>
                <a:gd name="T11" fmla="*/ 7 h 180"/>
                <a:gd name="T12" fmla="*/ 6 w 105"/>
                <a:gd name="T13" fmla="*/ 2 h 180"/>
                <a:gd name="T14" fmla="*/ 99 w 105"/>
                <a:gd name="T15" fmla="*/ 56 h 180"/>
                <a:gd name="T16" fmla="*/ 105 w 105"/>
                <a:gd name="T17" fmla="*/ 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180">
                  <a:moveTo>
                    <a:pt x="105" y="68"/>
                  </a:moveTo>
                  <a:cubicBezTo>
                    <a:pt x="105" y="173"/>
                    <a:pt x="105" y="173"/>
                    <a:pt x="105" y="173"/>
                  </a:cubicBezTo>
                  <a:cubicBezTo>
                    <a:pt x="105" y="178"/>
                    <a:pt x="102" y="180"/>
                    <a:pt x="99" y="178"/>
                  </a:cubicBezTo>
                  <a:cubicBezTo>
                    <a:pt x="6" y="124"/>
                    <a:pt x="6" y="124"/>
                    <a:pt x="6" y="124"/>
                  </a:cubicBezTo>
                  <a:cubicBezTo>
                    <a:pt x="3" y="122"/>
                    <a:pt x="0" y="116"/>
                    <a:pt x="0" y="1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6" y="2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102" y="58"/>
                    <a:pt x="105" y="64"/>
                    <a:pt x="105" y="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9" name="Freeform 2299">
              <a:extLst>
                <a:ext uri="{FF2B5EF4-FFF2-40B4-BE49-F238E27FC236}">
                  <a16:creationId xmlns:a16="http://schemas.microsoft.com/office/drawing/2014/main" id="{22A27F74-F7B7-4FE3-8443-C285709671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8" y="2831"/>
              <a:ext cx="681" cy="957"/>
            </a:xfrm>
            <a:custGeom>
              <a:avLst/>
              <a:gdLst>
                <a:gd name="T0" fmla="*/ 2411 w 2467"/>
                <a:gd name="T1" fmla="*/ 3464 h 3464"/>
                <a:gd name="T2" fmla="*/ 2359 w 2467"/>
                <a:gd name="T3" fmla="*/ 3448 h 3464"/>
                <a:gd name="T4" fmla="*/ 92 w 2467"/>
                <a:gd name="T5" fmla="*/ 2138 h 3464"/>
                <a:gd name="T6" fmla="*/ 31 w 2467"/>
                <a:gd name="T7" fmla="*/ 2073 h 3464"/>
                <a:gd name="T8" fmla="*/ 0 w 2467"/>
                <a:gd name="T9" fmla="*/ 1965 h 3464"/>
                <a:gd name="T10" fmla="*/ 0 w 2467"/>
                <a:gd name="T11" fmla="*/ 90 h 3464"/>
                <a:gd name="T12" fmla="*/ 36 w 2467"/>
                <a:gd name="T13" fmla="*/ 11 h 3464"/>
                <a:gd name="T14" fmla="*/ 37 w 2467"/>
                <a:gd name="T15" fmla="*/ 10 h 3464"/>
                <a:gd name="T16" fmla="*/ 37 w 2467"/>
                <a:gd name="T17" fmla="*/ 10 h 3464"/>
                <a:gd name="T18" fmla="*/ 104 w 2467"/>
                <a:gd name="T19" fmla="*/ 15 h 3464"/>
                <a:gd name="T20" fmla="*/ 2376 w 2467"/>
                <a:gd name="T21" fmla="*/ 1327 h 3464"/>
                <a:gd name="T22" fmla="*/ 2434 w 2467"/>
                <a:gd name="T23" fmla="*/ 1389 h 3464"/>
                <a:gd name="T24" fmla="*/ 2467 w 2467"/>
                <a:gd name="T25" fmla="*/ 1500 h 3464"/>
                <a:gd name="T26" fmla="*/ 2467 w 2467"/>
                <a:gd name="T27" fmla="*/ 3386 h 3464"/>
                <a:gd name="T28" fmla="*/ 2437 w 2467"/>
                <a:gd name="T29" fmla="*/ 3458 h 3464"/>
                <a:gd name="T30" fmla="*/ 2411 w 2467"/>
                <a:gd name="T31" fmla="*/ 3464 h 3464"/>
                <a:gd name="T32" fmla="*/ 48 w 2467"/>
                <a:gd name="T33" fmla="*/ 31 h 3464"/>
                <a:gd name="T34" fmla="*/ 48 w 2467"/>
                <a:gd name="T35" fmla="*/ 32 h 3464"/>
                <a:gd name="T36" fmla="*/ 24 w 2467"/>
                <a:gd name="T37" fmla="*/ 90 h 3464"/>
                <a:gd name="T38" fmla="*/ 24 w 2467"/>
                <a:gd name="T39" fmla="*/ 1965 h 3464"/>
                <a:gd name="T40" fmla="*/ 52 w 2467"/>
                <a:gd name="T41" fmla="*/ 2062 h 3464"/>
                <a:gd name="T42" fmla="*/ 104 w 2467"/>
                <a:gd name="T43" fmla="*/ 2118 h 3464"/>
                <a:gd name="T44" fmla="*/ 2371 w 2467"/>
                <a:gd name="T45" fmla="*/ 3427 h 3464"/>
                <a:gd name="T46" fmla="*/ 2425 w 2467"/>
                <a:gd name="T47" fmla="*/ 3437 h 3464"/>
                <a:gd name="T48" fmla="*/ 2443 w 2467"/>
                <a:gd name="T49" fmla="*/ 3386 h 3464"/>
                <a:gd name="T50" fmla="*/ 2443 w 2467"/>
                <a:gd name="T51" fmla="*/ 1500 h 3464"/>
                <a:gd name="T52" fmla="*/ 2414 w 2467"/>
                <a:gd name="T53" fmla="*/ 1401 h 3464"/>
                <a:gd name="T54" fmla="*/ 2363 w 2467"/>
                <a:gd name="T55" fmla="*/ 1348 h 3464"/>
                <a:gd name="T56" fmla="*/ 92 w 2467"/>
                <a:gd name="T57" fmla="*/ 36 h 3464"/>
                <a:gd name="T58" fmla="*/ 49 w 2467"/>
                <a:gd name="T59" fmla="*/ 31 h 3464"/>
                <a:gd name="T60" fmla="*/ 48 w 2467"/>
                <a:gd name="T61" fmla="*/ 31 h 3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67" h="3464">
                  <a:moveTo>
                    <a:pt x="2411" y="3464"/>
                  </a:moveTo>
                  <a:cubicBezTo>
                    <a:pt x="2398" y="3464"/>
                    <a:pt x="2381" y="3460"/>
                    <a:pt x="2359" y="3448"/>
                  </a:cubicBezTo>
                  <a:cubicBezTo>
                    <a:pt x="92" y="2138"/>
                    <a:pt x="92" y="2138"/>
                    <a:pt x="92" y="2138"/>
                  </a:cubicBezTo>
                  <a:cubicBezTo>
                    <a:pt x="69" y="2125"/>
                    <a:pt x="48" y="2102"/>
                    <a:pt x="31" y="2073"/>
                  </a:cubicBezTo>
                  <a:cubicBezTo>
                    <a:pt x="11" y="2039"/>
                    <a:pt x="0" y="2000"/>
                    <a:pt x="0" y="1965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53"/>
                    <a:pt x="13" y="24"/>
                    <a:pt x="36" y="11"/>
                  </a:cubicBezTo>
                  <a:cubicBezTo>
                    <a:pt x="36" y="11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56" y="0"/>
                    <a:pt x="80" y="2"/>
                    <a:pt x="104" y="15"/>
                  </a:cubicBezTo>
                  <a:cubicBezTo>
                    <a:pt x="2376" y="1327"/>
                    <a:pt x="2376" y="1327"/>
                    <a:pt x="2376" y="1327"/>
                  </a:cubicBezTo>
                  <a:cubicBezTo>
                    <a:pt x="2398" y="1340"/>
                    <a:pt x="2418" y="1361"/>
                    <a:pt x="2434" y="1389"/>
                  </a:cubicBezTo>
                  <a:cubicBezTo>
                    <a:pt x="2455" y="1424"/>
                    <a:pt x="2467" y="1464"/>
                    <a:pt x="2467" y="1500"/>
                  </a:cubicBezTo>
                  <a:cubicBezTo>
                    <a:pt x="2467" y="3386"/>
                    <a:pt x="2467" y="3386"/>
                    <a:pt x="2467" y="3386"/>
                  </a:cubicBezTo>
                  <a:cubicBezTo>
                    <a:pt x="2467" y="3431"/>
                    <a:pt x="2450" y="3450"/>
                    <a:pt x="2437" y="3458"/>
                  </a:cubicBezTo>
                  <a:cubicBezTo>
                    <a:pt x="2430" y="3461"/>
                    <a:pt x="2422" y="3464"/>
                    <a:pt x="2411" y="3464"/>
                  </a:cubicBezTo>
                  <a:close/>
                  <a:moveTo>
                    <a:pt x="48" y="31"/>
                  </a:moveTo>
                  <a:cubicBezTo>
                    <a:pt x="48" y="31"/>
                    <a:pt x="48" y="31"/>
                    <a:pt x="48" y="32"/>
                  </a:cubicBezTo>
                  <a:cubicBezTo>
                    <a:pt x="33" y="40"/>
                    <a:pt x="24" y="61"/>
                    <a:pt x="24" y="90"/>
                  </a:cubicBezTo>
                  <a:cubicBezTo>
                    <a:pt x="24" y="1965"/>
                    <a:pt x="24" y="1965"/>
                    <a:pt x="24" y="1965"/>
                  </a:cubicBezTo>
                  <a:cubicBezTo>
                    <a:pt x="24" y="1996"/>
                    <a:pt x="35" y="2031"/>
                    <a:pt x="52" y="2062"/>
                  </a:cubicBezTo>
                  <a:cubicBezTo>
                    <a:pt x="66" y="2087"/>
                    <a:pt x="85" y="2107"/>
                    <a:pt x="104" y="2118"/>
                  </a:cubicBezTo>
                  <a:cubicBezTo>
                    <a:pt x="2371" y="3427"/>
                    <a:pt x="2371" y="3427"/>
                    <a:pt x="2371" y="3427"/>
                  </a:cubicBezTo>
                  <a:cubicBezTo>
                    <a:pt x="2394" y="3440"/>
                    <a:pt x="2413" y="3444"/>
                    <a:pt x="2425" y="3437"/>
                  </a:cubicBezTo>
                  <a:cubicBezTo>
                    <a:pt x="2436" y="3430"/>
                    <a:pt x="2443" y="3412"/>
                    <a:pt x="2443" y="3386"/>
                  </a:cubicBezTo>
                  <a:cubicBezTo>
                    <a:pt x="2443" y="1500"/>
                    <a:pt x="2443" y="1500"/>
                    <a:pt x="2443" y="1500"/>
                  </a:cubicBezTo>
                  <a:cubicBezTo>
                    <a:pt x="2443" y="1468"/>
                    <a:pt x="2432" y="1432"/>
                    <a:pt x="2414" y="1401"/>
                  </a:cubicBezTo>
                  <a:cubicBezTo>
                    <a:pt x="2400" y="1377"/>
                    <a:pt x="2382" y="1358"/>
                    <a:pt x="2363" y="1348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80" y="30"/>
                    <a:pt x="63" y="23"/>
                    <a:pt x="49" y="31"/>
                  </a:cubicBezTo>
                  <a:cubicBezTo>
                    <a:pt x="49" y="31"/>
                    <a:pt x="48" y="31"/>
                    <a:pt x="48" y="3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0" name="Freeform 2300">
              <a:extLst>
                <a:ext uri="{FF2B5EF4-FFF2-40B4-BE49-F238E27FC236}">
                  <a16:creationId xmlns:a16="http://schemas.microsoft.com/office/drawing/2014/main" id="{771AB6B0-0393-4407-8BDC-6BA85B498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" y="2906"/>
              <a:ext cx="682" cy="397"/>
            </a:xfrm>
            <a:custGeom>
              <a:avLst/>
              <a:gdLst>
                <a:gd name="T0" fmla="*/ 2456 w 2469"/>
                <a:gd name="T1" fmla="*/ 1436 h 1436"/>
                <a:gd name="T2" fmla="*/ 2450 w 2469"/>
                <a:gd name="T3" fmla="*/ 1434 h 1436"/>
                <a:gd name="T4" fmla="*/ 7 w 2469"/>
                <a:gd name="T5" fmla="*/ 24 h 1436"/>
                <a:gd name="T6" fmla="*/ 3 w 2469"/>
                <a:gd name="T7" fmla="*/ 8 h 1436"/>
                <a:gd name="T8" fmla="*/ 19 w 2469"/>
                <a:gd name="T9" fmla="*/ 3 h 1436"/>
                <a:gd name="T10" fmla="*/ 2462 w 2469"/>
                <a:gd name="T11" fmla="*/ 1413 h 1436"/>
                <a:gd name="T12" fmla="*/ 2466 w 2469"/>
                <a:gd name="T13" fmla="*/ 1430 h 1436"/>
                <a:gd name="T14" fmla="*/ 2456 w 2469"/>
                <a:gd name="T15" fmla="*/ 1436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9" h="1436">
                  <a:moveTo>
                    <a:pt x="2456" y="1436"/>
                  </a:moveTo>
                  <a:cubicBezTo>
                    <a:pt x="2453" y="1436"/>
                    <a:pt x="2451" y="1435"/>
                    <a:pt x="2450" y="143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19" y="3"/>
                  </a:cubicBezTo>
                  <a:cubicBezTo>
                    <a:pt x="2462" y="1413"/>
                    <a:pt x="2462" y="1413"/>
                    <a:pt x="2462" y="1413"/>
                  </a:cubicBezTo>
                  <a:cubicBezTo>
                    <a:pt x="2467" y="1417"/>
                    <a:pt x="2469" y="1424"/>
                    <a:pt x="2466" y="1430"/>
                  </a:cubicBezTo>
                  <a:cubicBezTo>
                    <a:pt x="2464" y="1434"/>
                    <a:pt x="2460" y="1436"/>
                    <a:pt x="2456" y="143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1" name="Freeform 2301">
              <a:extLst>
                <a:ext uri="{FF2B5EF4-FFF2-40B4-BE49-F238E27FC236}">
                  <a16:creationId xmlns:a16="http://schemas.microsoft.com/office/drawing/2014/main" id="{FD4AFB98-5002-41E1-AC85-591FD0A09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2805"/>
              <a:ext cx="719" cy="982"/>
            </a:xfrm>
            <a:custGeom>
              <a:avLst/>
              <a:gdLst>
                <a:gd name="T0" fmla="*/ 2403 w 2601"/>
                <a:gd name="T1" fmla="*/ 3553 h 3553"/>
                <a:gd name="T2" fmla="*/ 2392 w 2601"/>
                <a:gd name="T3" fmla="*/ 3547 h 3553"/>
                <a:gd name="T4" fmla="*/ 2397 w 2601"/>
                <a:gd name="T5" fmla="*/ 3531 h 3553"/>
                <a:gd name="T6" fmla="*/ 2559 w 2601"/>
                <a:gd name="T7" fmla="*/ 3437 h 3553"/>
                <a:gd name="T8" fmla="*/ 2577 w 2601"/>
                <a:gd name="T9" fmla="*/ 3386 h 3553"/>
                <a:gd name="T10" fmla="*/ 2577 w 2601"/>
                <a:gd name="T11" fmla="*/ 1500 h 3553"/>
                <a:gd name="T12" fmla="*/ 2548 w 2601"/>
                <a:gd name="T13" fmla="*/ 1402 h 3553"/>
                <a:gd name="T14" fmla="*/ 2498 w 2601"/>
                <a:gd name="T15" fmla="*/ 1348 h 3553"/>
                <a:gd name="T16" fmla="*/ 226 w 2601"/>
                <a:gd name="T17" fmla="*/ 37 h 3553"/>
                <a:gd name="T18" fmla="*/ 182 w 2601"/>
                <a:gd name="T19" fmla="*/ 32 h 3553"/>
                <a:gd name="T20" fmla="*/ 20 w 2601"/>
                <a:gd name="T21" fmla="*/ 126 h 3553"/>
                <a:gd name="T22" fmla="*/ 4 w 2601"/>
                <a:gd name="T23" fmla="*/ 121 h 3553"/>
                <a:gd name="T24" fmla="*/ 8 w 2601"/>
                <a:gd name="T25" fmla="*/ 105 h 3553"/>
                <a:gd name="T26" fmla="*/ 170 w 2601"/>
                <a:gd name="T27" fmla="*/ 11 h 3553"/>
                <a:gd name="T28" fmla="*/ 238 w 2601"/>
                <a:gd name="T29" fmla="*/ 16 h 3553"/>
                <a:gd name="T30" fmla="*/ 2510 w 2601"/>
                <a:gd name="T31" fmla="*/ 1327 h 3553"/>
                <a:gd name="T32" fmla="*/ 2568 w 2601"/>
                <a:gd name="T33" fmla="*/ 1390 h 3553"/>
                <a:gd name="T34" fmla="*/ 2601 w 2601"/>
                <a:gd name="T35" fmla="*/ 1500 h 3553"/>
                <a:gd name="T36" fmla="*/ 2601 w 2601"/>
                <a:gd name="T37" fmla="*/ 3386 h 3553"/>
                <a:gd name="T38" fmla="*/ 2571 w 2601"/>
                <a:gd name="T39" fmla="*/ 3458 h 3553"/>
                <a:gd name="T40" fmla="*/ 2409 w 2601"/>
                <a:gd name="T41" fmla="*/ 3552 h 3553"/>
                <a:gd name="T42" fmla="*/ 2403 w 2601"/>
                <a:gd name="T43" fmla="*/ 3553 h 3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01" h="3553">
                  <a:moveTo>
                    <a:pt x="2403" y="3553"/>
                  </a:moveTo>
                  <a:cubicBezTo>
                    <a:pt x="2398" y="3553"/>
                    <a:pt x="2394" y="3551"/>
                    <a:pt x="2392" y="3547"/>
                  </a:cubicBezTo>
                  <a:cubicBezTo>
                    <a:pt x="2389" y="3542"/>
                    <a:pt x="2391" y="3534"/>
                    <a:pt x="2397" y="3531"/>
                  </a:cubicBezTo>
                  <a:cubicBezTo>
                    <a:pt x="2559" y="3437"/>
                    <a:pt x="2559" y="3437"/>
                    <a:pt x="2559" y="3437"/>
                  </a:cubicBezTo>
                  <a:cubicBezTo>
                    <a:pt x="2570" y="3431"/>
                    <a:pt x="2577" y="3412"/>
                    <a:pt x="2577" y="3386"/>
                  </a:cubicBezTo>
                  <a:cubicBezTo>
                    <a:pt x="2577" y="1500"/>
                    <a:pt x="2577" y="1500"/>
                    <a:pt x="2577" y="1500"/>
                  </a:cubicBezTo>
                  <a:cubicBezTo>
                    <a:pt x="2577" y="1469"/>
                    <a:pt x="2566" y="1433"/>
                    <a:pt x="2548" y="1402"/>
                  </a:cubicBezTo>
                  <a:cubicBezTo>
                    <a:pt x="2534" y="1378"/>
                    <a:pt x="2516" y="1359"/>
                    <a:pt x="2498" y="1348"/>
                  </a:cubicBezTo>
                  <a:cubicBezTo>
                    <a:pt x="226" y="37"/>
                    <a:pt x="226" y="37"/>
                    <a:pt x="226" y="37"/>
                  </a:cubicBezTo>
                  <a:cubicBezTo>
                    <a:pt x="209" y="27"/>
                    <a:pt x="194" y="25"/>
                    <a:pt x="182" y="32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14" y="129"/>
                    <a:pt x="7" y="127"/>
                    <a:pt x="4" y="121"/>
                  </a:cubicBezTo>
                  <a:cubicBezTo>
                    <a:pt x="0" y="115"/>
                    <a:pt x="2" y="108"/>
                    <a:pt x="8" y="105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89" y="0"/>
                    <a:pt x="213" y="2"/>
                    <a:pt x="238" y="16"/>
                  </a:cubicBezTo>
                  <a:cubicBezTo>
                    <a:pt x="2510" y="1327"/>
                    <a:pt x="2510" y="1327"/>
                    <a:pt x="2510" y="1327"/>
                  </a:cubicBezTo>
                  <a:cubicBezTo>
                    <a:pt x="2532" y="1340"/>
                    <a:pt x="2552" y="1362"/>
                    <a:pt x="2568" y="1390"/>
                  </a:cubicBezTo>
                  <a:cubicBezTo>
                    <a:pt x="2589" y="1424"/>
                    <a:pt x="2601" y="1464"/>
                    <a:pt x="2601" y="1500"/>
                  </a:cubicBezTo>
                  <a:cubicBezTo>
                    <a:pt x="2601" y="3386"/>
                    <a:pt x="2601" y="3386"/>
                    <a:pt x="2601" y="3386"/>
                  </a:cubicBezTo>
                  <a:cubicBezTo>
                    <a:pt x="2601" y="3431"/>
                    <a:pt x="2584" y="3450"/>
                    <a:pt x="2571" y="3458"/>
                  </a:cubicBezTo>
                  <a:cubicBezTo>
                    <a:pt x="2409" y="3552"/>
                    <a:pt x="2409" y="3552"/>
                    <a:pt x="2409" y="3552"/>
                  </a:cubicBezTo>
                  <a:cubicBezTo>
                    <a:pt x="2407" y="3553"/>
                    <a:pt x="2405" y="3553"/>
                    <a:pt x="2403" y="355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2" name="Freeform 2302">
              <a:extLst>
                <a:ext uri="{FF2B5EF4-FFF2-40B4-BE49-F238E27FC236}">
                  <a16:creationId xmlns:a16="http://schemas.microsoft.com/office/drawing/2014/main" id="{E39A4A3C-3A12-4255-9462-E1745DEE73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7" y="3096"/>
              <a:ext cx="66" cy="85"/>
            </a:xfrm>
            <a:custGeom>
              <a:avLst/>
              <a:gdLst>
                <a:gd name="T0" fmla="*/ 167 w 239"/>
                <a:gd name="T1" fmla="*/ 307 h 307"/>
                <a:gd name="T2" fmla="*/ 114 w 239"/>
                <a:gd name="T3" fmla="*/ 291 h 307"/>
                <a:gd name="T4" fmla="*/ 46 w 239"/>
                <a:gd name="T5" fmla="*/ 226 h 307"/>
                <a:gd name="T6" fmla="*/ 34 w 239"/>
                <a:gd name="T7" fmla="*/ 207 h 307"/>
                <a:gd name="T8" fmla="*/ 0 w 239"/>
                <a:gd name="T9" fmla="*/ 94 h 307"/>
                <a:gd name="T10" fmla="*/ 37 w 239"/>
                <a:gd name="T11" fmla="*/ 14 h 307"/>
                <a:gd name="T12" fmla="*/ 126 w 239"/>
                <a:gd name="T13" fmla="*/ 22 h 307"/>
                <a:gd name="T14" fmla="*/ 239 w 239"/>
                <a:gd name="T15" fmla="*/ 218 h 307"/>
                <a:gd name="T16" fmla="*/ 201 w 239"/>
                <a:gd name="T17" fmla="*/ 299 h 307"/>
                <a:gd name="T18" fmla="*/ 186 w 239"/>
                <a:gd name="T19" fmla="*/ 304 h 307"/>
                <a:gd name="T20" fmla="*/ 167 w 239"/>
                <a:gd name="T21" fmla="*/ 307 h 307"/>
                <a:gd name="T22" fmla="*/ 72 w 239"/>
                <a:gd name="T23" fmla="*/ 29 h 307"/>
                <a:gd name="T24" fmla="*/ 49 w 239"/>
                <a:gd name="T25" fmla="*/ 35 h 307"/>
                <a:gd name="T26" fmla="*/ 24 w 239"/>
                <a:gd name="T27" fmla="*/ 94 h 307"/>
                <a:gd name="T28" fmla="*/ 55 w 239"/>
                <a:gd name="T29" fmla="*/ 195 h 307"/>
                <a:gd name="T30" fmla="*/ 66 w 239"/>
                <a:gd name="T31" fmla="*/ 213 h 307"/>
                <a:gd name="T32" fmla="*/ 126 w 239"/>
                <a:gd name="T33" fmla="*/ 270 h 307"/>
                <a:gd name="T34" fmla="*/ 180 w 239"/>
                <a:gd name="T35" fmla="*/ 281 h 307"/>
                <a:gd name="T36" fmla="*/ 189 w 239"/>
                <a:gd name="T37" fmla="*/ 278 h 307"/>
                <a:gd name="T38" fmla="*/ 215 w 239"/>
                <a:gd name="T39" fmla="*/ 218 h 307"/>
                <a:gd name="T40" fmla="*/ 114 w 239"/>
                <a:gd name="T41" fmla="*/ 42 h 307"/>
                <a:gd name="T42" fmla="*/ 72 w 239"/>
                <a:gd name="T43" fmla="*/ 29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9" h="307">
                  <a:moveTo>
                    <a:pt x="167" y="307"/>
                  </a:moveTo>
                  <a:cubicBezTo>
                    <a:pt x="150" y="307"/>
                    <a:pt x="132" y="301"/>
                    <a:pt x="114" y="291"/>
                  </a:cubicBezTo>
                  <a:cubicBezTo>
                    <a:pt x="89" y="277"/>
                    <a:pt x="66" y="254"/>
                    <a:pt x="46" y="226"/>
                  </a:cubicBezTo>
                  <a:cubicBezTo>
                    <a:pt x="42" y="221"/>
                    <a:pt x="38" y="214"/>
                    <a:pt x="34" y="207"/>
                  </a:cubicBezTo>
                  <a:cubicBezTo>
                    <a:pt x="12" y="170"/>
                    <a:pt x="0" y="129"/>
                    <a:pt x="0" y="94"/>
                  </a:cubicBezTo>
                  <a:cubicBezTo>
                    <a:pt x="0" y="56"/>
                    <a:pt x="13" y="28"/>
                    <a:pt x="37" y="14"/>
                  </a:cubicBezTo>
                  <a:cubicBezTo>
                    <a:pt x="62" y="0"/>
                    <a:pt x="93" y="3"/>
                    <a:pt x="126" y="22"/>
                  </a:cubicBezTo>
                  <a:cubicBezTo>
                    <a:pt x="188" y="58"/>
                    <a:pt x="239" y="146"/>
                    <a:pt x="239" y="218"/>
                  </a:cubicBezTo>
                  <a:cubicBezTo>
                    <a:pt x="239" y="256"/>
                    <a:pt x="226" y="285"/>
                    <a:pt x="201" y="299"/>
                  </a:cubicBezTo>
                  <a:cubicBezTo>
                    <a:pt x="196" y="301"/>
                    <a:pt x="191" y="303"/>
                    <a:pt x="186" y="304"/>
                  </a:cubicBezTo>
                  <a:cubicBezTo>
                    <a:pt x="180" y="306"/>
                    <a:pt x="174" y="307"/>
                    <a:pt x="167" y="307"/>
                  </a:cubicBezTo>
                  <a:close/>
                  <a:moveTo>
                    <a:pt x="72" y="29"/>
                  </a:moveTo>
                  <a:cubicBezTo>
                    <a:pt x="63" y="29"/>
                    <a:pt x="56" y="31"/>
                    <a:pt x="49" y="35"/>
                  </a:cubicBezTo>
                  <a:cubicBezTo>
                    <a:pt x="33" y="44"/>
                    <a:pt x="24" y="65"/>
                    <a:pt x="24" y="94"/>
                  </a:cubicBezTo>
                  <a:cubicBezTo>
                    <a:pt x="24" y="125"/>
                    <a:pt x="35" y="161"/>
                    <a:pt x="55" y="195"/>
                  </a:cubicBezTo>
                  <a:cubicBezTo>
                    <a:pt x="59" y="202"/>
                    <a:pt x="62" y="208"/>
                    <a:pt x="66" y="213"/>
                  </a:cubicBezTo>
                  <a:cubicBezTo>
                    <a:pt x="84" y="238"/>
                    <a:pt x="104" y="258"/>
                    <a:pt x="126" y="270"/>
                  </a:cubicBezTo>
                  <a:cubicBezTo>
                    <a:pt x="146" y="282"/>
                    <a:pt x="164" y="285"/>
                    <a:pt x="180" y="281"/>
                  </a:cubicBezTo>
                  <a:cubicBezTo>
                    <a:pt x="183" y="280"/>
                    <a:pt x="186" y="279"/>
                    <a:pt x="189" y="278"/>
                  </a:cubicBezTo>
                  <a:cubicBezTo>
                    <a:pt x="206" y="268"/>
                    <a:pt x="215" y="247"/>
                    <a:pt x="215" y="218"/>
                  </a:cubicBezTo>
                  <a:cubicBezTo>
                    <a:pt x="215" y="154"/>
                    <a:pt x="170" y="75"/>
                    <a:pt x="114" y="42"/>
                  </a:cubicBezTo>
                  <a:cubicBezTo>
                    <a:pt x="99" y="34"/>
                    <a:pt x="84" y="29"/>
                    <a:pt x="72" y="2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3" name="Freeform 2303">
              <a:extLst>
                <a:ext uri="{FF2B5EF4-FFF2-40B4-BE49-F238E27FC236}">
                  <a16:creationId xmlns:a16="http://schemas.microsoft.com/office/drawing/2014/main" id="{5A29D920-AAAE-492B-B3D3-E1A57311E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" y="3148"/>
              <a:ext cx="45" cy="47"/>
            </a:xfrm>
            <a:custGeom>
              <a:avLst/>
              <a:gdLst>
                <a:gd name="T0" fmla="*/ 13 w 160"/>
                <a:gd name="T1" fmla="*/ 169 h 169"/>
                <a:gd name="T2" fmla="*/ 10 w 160"/>
                <a:gd name="T3" fmla="*/ 169 h 169"/>
                <a:gd name="T4" fmla="*/ 2 w 160"/>
                <a:gd name="T5" fmla="*/ 154 h 169"/>
                <a:gd name="T6" fmla="*/ 146 w 160"/>
                <a:gd name="T7" fmla="*/ 0 h 169"/>
                <a:gd name="T8" fmla="*/ 159 w 160"/>
                <a:gd name="T9" fmla="*/ 11 h 169"/>
                <a:gd name="T10" fmla="*/ 149 w 160"/>
                <a:gd name="T11" fmla="*/ 24 h 169"/>
                <a:gd name="T12" fmla="*/ 25 w 160"/>
                <a:gd name="T13" fmla="*/ 160 h 169"/>
                <a:gd name="T14" fmla="*/ 13 w 160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169">
                  <a:moveTo>
                    <a:pt x="13" y="169"/>
                  </a:moveTo>
                  <a:cubicBezTo>
                    <a:pt x="12" y="169"/>
                    <a:pt x="11" y="169"/>
                    <a:pt x="10" y="169"/>
                  </a:cubicBezTo>
                  <a:cubicBezTo>
                    <a:pt x="4" y="167"/>
                    <a:pt x="0" y="161"/>
                    <a:pt x="2" y="154"/>
                  </a:cubicBezTo>
                  <a:cubicBezTo>
                    <a:pt x="26" y="63"/>
                    <a:pt x="92" y="8"/>
                    <a:pt x="146" y="0"/>
                  </a:cubicBezTo>
                  <a:cubicBezTo>
                    <a:pt x="152" y="0"/>
                    <a:pt x="159" y="4"/>
                    <a:pt x="159" y="11"/>
                  </a:cubicBezTo>
                  <a:cubicBezTo>
                    <a:pt x="160" y="17"/>
                    <a:pt x="156" y="23"/>
                    <a:pt x="149" y="24"/>
                  </a:cubicBezTo>
                  <a:cubicBezTo>
                    <a:pt x="104" y="31"/>
                    <a:pt x="46" y="80"/>
                    <a:pt x="25" y="160"/>
                  </a:cubicBezTo>
                  <a:cubicBezTo>
                    <a:pt x="24" y="166"/>
                    <a:pt x="19" y="169"/>
                    <a:pt x="13" y="16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4" name="Freeform 2304">
              <a:extLst>
                <a:ext uri="{FF2B5EF4-FFF2-40B4-BE49-F238E27FC236}">
                  <a16:creationId xmlns:a16="http://schemas.microsoft.com/office/drawing/2014/main" id="{840A5FB8-D7AA-41D0-B5B4-FF16BD965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" y="3172"/>
              <a:ext cx="44" cy="90"/>
            </a:xfrm>
            <a:custGeom>
              <a:avLst/>
              <a:gdLst>
                <a:gd name="T0" fmla="*/ 148 w 160"/>
                <a:gd name="T1" fmla="*/ 325 h 325"/>
                <a:gd name="T2" fmla="*/ 136 w 160"/>
                <a:gd name="T3" fmla="*/ 315 h 325"/>
                <a:gd name="T4" fmla="*/ 4 w 160"/>
                <a:gd name="T5" fmla="*/ 20 h 325"/>
                <a:gd name="T6" fmla="*/ 7 w 160"/>
                <a:gd name="T7" fmla="*/ 4 h 325"/>
                <a:gd name="T8" fmla="*/ 23 w 160"/>
                <a:gd name="T9" fmla="*/ 6 h 325"/>
                <a:gd name="T10" fmla="*/ 160 w 160"/>
                <a:gd name="T11" fmla="*/ 311 h 325"/>
                <a:gd name="T12" fmla="*/ 160 w 160"/>
                <a:gd name="T13" fmla="*/ 313 h 325"/>
                <a:gd name="T14" fmla="*/ 148 w 160"/>
                <a:gd name="T15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325">
                  <a:moveTo>
                    <a:pt x="148" y="325"/>
                  </a:moveTo>
                  <a:cubicBezTo>
                    <a:pt x="142" y="325"/>
                    <a:pt x="137" y="321"/>
                    <a:pt x="136" y="315"/>
                  </a:cubicBezTo>
                  <a:cubicBezTo>
                    <a:pt x="114" y="205"/>
                    <a:pt x="53" y="83"/>
                    <a:pt x="4" y="20"/>
                  </a:cubicBezTo>
                  <a:cubicBezTo>
                    <a:pt x="0" y="15"/>
                    <a:pt x="1" y="8"/>
                    <a:pt x="7" y="4"/>
                  </a:cubicBezTo>
                  <a:cubicBezTo>
                    <a:pt x="12" y="0"/>
                    <a:pt x="19" y="1"/>
                    <a:pt x="23" y="6"/>
                  </a:cubicBezTo>
                  <a:cubicBezTo>
                    <a:pt x="74" y="71"/>
                    <a:pt x="137" y="197"/>
                    <a:pt x="160" y="311"/>
                  </a:cubicBezTo>
                  <a:cubicBezTo>
                    <a:pt x="160" y="311"/>
                    <a:pt x="160" y="312"/>
                    <a:pt x="160" y="313"/>
                  </a:cubicBezTo>
                  <a:cubicBezTo>
                    <a:pt x="160" y="320"/>
                    <a:pt x="155" y="325"/>
                    <a:pt x="148" y="32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5" name="Freeform 2305">
              <a:extLst>
                <a:ext uri="{FF2B5EF4-FFF2-40B4-BE49-F238E27FC236}">
                  <a16:creationId xmlns:a16="http://schemas.microsoft.com/office/drawing/2014/main" id="{59174F54-940A-4ED4-8E97-091973530A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" y="3021"/>
              <a:ext cx="148" cy="244"/>
            </a:xfrm>
            <a:custGeom>
              <a:avLst/>
              <a:gdLst>
                <a:gd name="T0" fmla="*/ 504 w 536"/>
                <a:gd name="T1" fmla="*/ 883 h 883"/>
                <a:gd name="T2" fmla="*/ 485 w 536"/>
                <a:gd name="T3" fmla="*/ 877 h 883"/>
                <a:gd name="T4" fmla="*/ 52 w 536"/>
                <a:gd name="T5" fmla="*/ 628 h 883"/>
                <a:gd name="T6" fmla="*/ 52 w 536"/>
                <a:gd name="T7" fmla="*/ 628 h 883"/>
                <a:gd name="T8" fmla="*/ 38 w 536"/>
                <a:gd name="T9" fmla="*/ 620 h 883"/>
                <a:gd name="T10" fmla="*/ 0 w 536"/>
                <a:gd name="T11" fmla="*/ 546 h 883"/>
                <a:gd name="T12" fmla="*/ 0 w 536"/>
                <a:gd name="T13" fmla="*/ 43 h 883"/>
                <a:gd name="T14" fmla="*/ 17 w 536"/>
                <a:gd name="T15" fmla="*/ 6 h 883"/>
                <a:gd name="T16" fmla="*/ 50 w 536"/>
                <a:gd name="T17" fmla="*/ 7 h 883"/>
                <a:gd name="T18" fmla="*/ 497 w 536"/>
                <a:gd name="T19" fmla="*/ 265 h 883"/>
                <a:gd name="T20" fmla="*/ 536 w 536"/>
                <a:gd name="T21" fmla="*/ 338 h 883"/>
                <a:gd name="T22" fmla="*/ 536 w 536"/>
                <a:gd name="T23" fmla="*/ 842 h 883"/>
                <a:gd name="T24" fmla="*/ 519 w 536"/>
                <a:gd name="T25" fmla="*/ 879 h 883"/>
                <a:gd name="T26" fmla="*/ 504 w 536"/>
                <a:gd name="T27" fmla="*/ 883 h 883"/>
                <a:gd name="T28" fmla="*/ 64 w 536"/>
                <a:gd name="T29" fmla="*/ 607 h 883"/>
                <a:gd name="T30" fmla="*/ 497 w 536"/>
                <a:gd name="T31" fmla="*/ 857 h 883"/>
                <a:gd name="T32" fmla="*/ 507 w 536"/>
                <a:gd name="T33" fmla="*/ 858 h 883"/>
                <a:gd name="T34" fmla="*/ 512 w 536"/>
                <a:gd name="T35" fmla="*/ 842 h 883"/>
                <a:gd name="T36" fmla="*/ 512 w 536"/>
                <a:gd name="T37" fmla="*/ 338 h 883"/>
                <a:gd name="T38" fmla="*/ 485 w 536"/>
                <a:gd name="T39" fmla="*/ 286 h 883"/>
                <a:gd name="T40" fmla="*/ 38 w 536"/>
                <a:gd name="T41" fmla="*/ 28 h 883"/>
                <a:gd name="T42" fmla="*/ 29 w 536"/>
                <a:gd name="T43" fmla="*/ 26 h 883"/>
                <a:gd name="T44" fmla="*/ 24 w 536"/>
                <a:gd name="T45" fmla="*/ 43 h 883"/>
                <a:gd name="T46" fmla="*/ 24 w 536"/>
                <a:gd name="T47" fmla="*/ 546 h 883"/>
                <a:gd name="T48" fmla="*/ 50 w 536"/>
                <a:gd name="T49" fmla="*/ 599 h 883"/>
                <a:gd name="T50" fmla="*/ 64 w 536"/>
                <a:gd name="T51" fmla="*/ 607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36" h="883">
                  <a:moveTo>
                    <a:pt x="504" y="883"/>
                  </a:moveTo>
                  <a:cubicBezTo>
                    <a:pt x="498" y="883"/>
                    <a:pt x="491" y="881"/>
                    <a:pt x="485" y="877"/>
                  </a:cubicBezTo>
                  <a:cubicBezTo>
                    <a:pt x="52" y="628"/>
                    <a:pt x="52" y="628"/>
                    <a:pt x="52" y="628"/>
                  </a:cubicBezTo>
                  <a:cubicBezTo>
                    <a:pt x="52" y="628"/>
                    <a:pt x="52" y="628"/>
                    <a:pt x="52" y="628"/>
                  </a:cubicBezTo>
                  <a:cubicBezTo>
                    <a:pt x="38" y="620"/>
                    <a:pt x="38" y="620"/>
                    <a:pt x="38" y="620"/>
                  </a:cubicBezTo>
                  <a:cubicBezTo>
                    <a:pt x="17" y="607"/>
                    <a:pt x="0" y="575"/>
                    <a:pt x="0" y="546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25"/>
                    <a:pt x="6" y="12"/>
                    <a:pt x="17" y="6"/>
                  </a:cubicBezTo>
                  <a:cubicBezTo>
                    <a:pt x="27" y="0"/>
                    <a:pt x="39" y="1"/>
                    <a:pt x="50" y="7"/>
                  </a:cubicBezTo>
                  <a:cubicBezTo>
                    <a:pt x="497" y="265"/>
                    <a:pt x="497" y="265"/>
                    <a:pt x="497" y="265"/>
                  </a:cubicBezTo>
                  <a:cubicBezTo>
                    <a:pt x="519" y="278"/>
                    <a:pt x="536" y="310"/>
                    <a:pt x="536" y="338"/>
                  </a:cubicBezTo>
                  <a:cubicBezTo>
                    <a:pt x="536" y="842"/>
                    <a:pt x="536" y="842"/>
                    <a:pt x="536" y="842"/>
                  </a:cubicBezTo>
                  <a:cubicBezTo>
                    <a:pt x="536" y="859"/>
                    <a:pt x="530" y="873"/>
                    <a:pt x="519" y="879"/>
                  </a:cubicBezTo>
                  <a:cubicBezTo>
                    <a:pt x="514" y="882"/>
                    <a:pt x="509" y="883"/>
                    <a:pt x="504" y="883"/>
                  </a:cubicBezTo>
                  <a:close/>
                  <a:moveTo>
                    <a:pt x="64" y="607"/>
                  </a:moveTo>
                  <a:cubicBezTo>
                    <a:pt x="497" y="857"/>
                    <a:pt x="497" y="857"/>
                    <a:pt x="497" y="857"/>
                  </a:cubicBezTo>
                  <a:cubicBezTo>
                    <a:pt x="499" y="858"/>
                    <a:pt x="504" y="860"/>
                    <a:pt x="507" y="858"/>
                  </a:cubicBezTo>
                  <a:cubicBezTo>
                    <a:pt x="509" y="857"/>
                    <a:pt x="512" y="852"/>
                    <a:pt x="512" y="842"/>
                  </a:cubicBezTo>
                  <a:cubicBezTo>
                    <a:pt x="512" y="338"/>
                    <a:pt x="512" y="338"/>
                    <a:pt x="512" y="338"/>
                  </a:cubicBezTo>
                  <a:cubicBezTo>
                    <a:pt x="512" y="319"/>
                    <a:pt x="499" y="294"/>
                    <a:pt x="485" y="286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7" y="27"/>
                    <a:pt x="32" y="25"/>
                    <a:pt x="29" y="26"/>
                  </a:cubicBezTo>
                  <a:cubicBezTo>
                    <a:pt x="26" y="28"/>
                    <a:pt x="24" y="33"/>
                    <a:pt x="24" y="43"/>
                  </a:cubicBezTo>
                  <a:cubicBezTo>
                    <a:pt x="24" y="546"/>
                    <a:pt x="24" y="546"/>
                    <a:pt x="24" y="546"/>
                  </a:cubicBezTo>
                  <a:cubicBezTo>
                    <a:pt x="24" y="566"/>
                    <a:pt x="36" y="590"/>
                    <a:pt x="50" y="599"/>
                  </a:cubicBezTo>
                  <a:lnTo>
                    <a:pt x="64" y="607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6" name="Freeform 2306">
              <a:extLst>
                <a:ext uri="{FF2B5EF4-FFF2-40B4-BE49-F238E27FC236}">
                  <a16:creationId xmlns:a16="http://schemas.microsoft.com/office/drawing/2014/main" id="{EB67D92F-B584-467C-BAA4-07312EE39B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" y="3227"/>
              <a:ext cx="36" cy="56"/>
            </a:xfrm>
            <a:custGeom>
              <a:avLst/>
              <a:gdLst>
                <a:gd name="T0" fmla="*/ 113 w 129"/>
                <a:gd name="T1" fmla="*/ 202 h 202"/>
                <a:gd name="T2" fmla="*/ 105 w 129"/>
                <a:gd name="T3" fmla="*/ 199 h 202"/>
                <a:gd name="T4" fmla="*/ 12 w 129"/>
                <a:gd name="T5" fmla="*/ 146 h 202"/>
                <a:gd name="T6" fmla="*/ 0 w 129"/>
                <a:gd name="T7" fmla="*/ 123 h 202"/>
                <a:gd name="T8" fmla="*/ 0 w 129"/>
                <a:gd name="T9" fmla="*/ 18 h 202"/>
                <a:gd name="T10" fmla="*/ 8 w 129"/>
                <a:gd name="T11" fmla="*/ 2 h 202"/>
                <a:gd name="T12" fmla="*/ 24 w 129"/>
                <a:gd name="T13" fmla="*/ 3 h 202"/>
                <a:gd name="T14" fmla="*/ 117 w 129"/>
                <a:gd name="T15" fmla="*/ 56 h 202"/>
                <a:gd name="T16" fmla="*/ 129 w 129"/>
                <a:gd name="T17" fmla="*/ 79 h 202"/>
                <a:gd name="T18" fmla="*/ 129 w 129"/>
                <a:gd name="T19" fmla="*/ 184 h 202"/>
                <a:gd name="T20" fmla="*/ 121 w 129"/>
                <a:gd name="T21" fmla="*/ 200 h 202"/>
                <a:gd name="T22" fmla="*/ 113 w 129"/>
                <a:gd name="T23" fmla="*/ 202 h 202"/>
                <a:gd name="T24" fmla="*/ 117 w 129"/>
                <a:gd name="T25" fmla="*/ 178 h 202"/>
                <a:gd name="T26" fmla="*/ 117 w 129"/>
                <a:gd name="T27" fmla="*/ 178 h 202"/>
                <a:gd name="T28" fmla="*/ 24 w 129"/>
                <a:gd name="T29" fmla="*/ 30 h 202"/>
                <a:gd name="T30" fmla="*/ 24 w 129"/>
                <a:gd name="T31" fmla="*/ 123 h 202"/>
                <a:gd name="T32" fmla="*/ 25 w 129"/>
                <a:gd name="T33" fmla="*/ 125 h 202"/>
                <a:gd name="T34" fmla="*/ 105 w 129"/>
                <a:gd name="T35" fmla="*/ 172 h 202"/>
                <a:gd name="T36" fmla="*/ 105 w 129"/>
                <a:gd name="T37" fmla="*/ 79 h 202"/>
                <a:gd name="T38" fmla="*/ 104 w 129"/>
                <a:gd name="T39" fmla="*/ 77 h 202"/>
                <a:gd name="T40" fmla="*/ 24 w 129"/>
                <a:gd name="T41" fmla="*/ 30 h 202"/>
                <a:gd name="T42" fmla="*/ 12 w 129"/>
                <a:gd name="T43" fmla="*/ 24 h 202"/>
                <a:gd name="T44" fmla="*/ 12 w 129"/>
                <a:gd name="T45" fmla="*/ 2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9" h="202">
                  <a:moveTo>
                    <a:pt x="113" y="202"/>
                  </a:moveTo>
                  <a:cubicBezTo>
                    <a:pt x="110" y="202"/>
                    <a:pt x="107" y="201"/>
                    <a:pt x="105" y="199"/>
                  </a:cubicBezTo>
                  <a:cubicBezTo>
                    <a:pt x="12" y="146"/>
                    <a:pt x="12" y="146"/>
                    <a:pt x="12" y="146"/>
                  </a:cubicBezTo>
                  <a:cubicBezTo>
                    <a:pt x="5" y="141"/>
                    <a:pt x="0" y="132"/>
                    <a:pt x="0" y="12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1"/>
                    <a:pt x="3" y="6"/>
                    <a:pt x="8" y="2"/>
                  </a:cubicBezTo>
                  <a:cubicBezTo>
                    <a:pt x="13" y="0"/>
                    <a:pt x="19" y="0"/>
                    <a:pt x="24" y="3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24" y="60"/>
                    <a:pt x="129" y="70"/>
                    <a:pt x="129" y="79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91"/>
                    <a:pt x="126" y="196"/>
                    <a:pt x="121" y="200"/>
                  </a:cubicBezTo>
                  <a:cubicBezTo>
                    <a:pt x="119" y="201"/>
                    <a:pt x="116" y="202"/>
                    <a:pt x="113" y="202"/>
                  </a:cubicBezTo>
                  <a:close/>
                  <a:moveTo>
                    <a:pt x="117" y="178"/>
                  </a:moveTo>
                  <a:cubicBezTo>
                    <a:pt x="117" y="178"/>
                    <a:pt x="117" y="178"/>
                    <a:pt x="117" y="178"/>
                  </a:cubicBezTo>
                  <a:close/>
                  <a:moveTo>
                    <a:pt x="24" y="30"/>
                  </a:moveTo>
                  <a:cubicBezTo>
                    <a:pt x="24" y="123"/>
                    <a:pt x="24" y="123"/>
                    <a:pt x="24" y="123"/>
                  </a:cubicBezTo>
                  <a:cubicBezTo>
                    <a:pt x="24" y="123"/>
                    <a:pt x="24" y="125"/>
                    <a:pt x="25" y="125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05" y="79"/>
                    <a:pt x="105" y="79"/>
                    <a:pt x="105" y="79"/>
                  </a:cubicBezTo>
                  <a:cubicBezTo>
                    <a:pt x="105" y="79"/>
                    <a:pt x="105" y="77"/>
                    <a:pt x="104" y="77"/>
                  </a:cubicBezTo>
                  <a:lnTo>
                    <a:pt x="24" y="30"/>
                  </a:lnTo>
                  <a:close/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2307">
              <a:extLst>
                <a:ext uri="{FF2B5EF4-FFF2-40B4-BE49-F238E27FC236}">
                  <a16:creationId xmlns:a16="http://schemas.microsoft.com/office/drawing/2014/main" id="{5E87F733-3961-4995-9A1B-DBA2B111CC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2" y="3260"/>
              <a:ext cx="36" cy="56"/>
            </a:xfrm>
            <a:custGeom>
              <a:avLst/>
              <a:gdLst>
                <a:gd name="T0" fmla="*/ 114 w 130"/>
                <a:gd name="T1" fmla="*/ 202 h 202"/>
                <a:gd name="T2" fmla="*/ 105 w 130"/>
                <a:gd name="T3" fmla="*/ 199 h 202"/>
                <a:gd name="T4" fmla="*/ 105 w 130"/>
                <a:gd name="T5" fmla="*/ 199 h 202"/>
                <a:gd name="T6" fmla="*/ 13 w 130"/>
                <a:gd name="T7" fmla="*/ 146 h 202"/>
                <a:gd name="T8" fmla="*/ 0 w 130"/>
                <a:gd name="T9" fmla="*/ 123 h 202"/>
                <a:gd name="T10" fmla="*/ 0 w 130"/>
                <a:gd name="T11" fmla="*/ 19 h 202"/>
                <a:gd name="T12" fmla="*/ 8 w 130"/>
                <a:gd name="T13" fmla="*/ 3 h 202"/>
                <a:gd name="T14" fmla="*/ 25 w 130"/>
                <a:gd name="T15" fmla="*/ 3 h 202"/>
                <a:gd name="T16" fmla="*/ 117 w 130"/>
                <a:gd name="T17" fmla="*/ 56 h 202"/>
                <a:gd name="T18" fmla="*/ 130 w 130"/>
                <a:gd name="T19" fmla="*/ 80 h 202"/>
                <a:gd name="T20" fmla="*/ 130 w 130"/>
                <a:gd name="T21" fmla="*/ 184 h 202"/>
                <a:gd name="T22" fmla="*/ 121 w 130"/>
                <a:gd name="T23" fmla="*/ 200 h 202"/>
                <a:gd name="T24" fmla="*/ 114 w 130"/>
                <a:gd name="T25" fmla="*/ 202 h 202"/>
                <a:gd name="T26" fmla="*/ 24 w 130"/>
                <a:gd name="T27" fmla="*/ 30 h 202"/>
                <a:gd name="T28" fmla="*/ 24 w 130"/>
                <a:gd name="T29" fmla="*/ 123 h 202"/>
                <a:gd name="T30" fmla="*/ 25 w 130"/>
                <a:gd name="T31" fmla="*/ 126 h 202"/>
                <a:gd name="T32" fmla="*/ 106 w 130"/>
                <a:gd name="T33" fmla="*/ 172 h 202"/>
                <a:gd name="T34" fmla="*/ 106 w 130"/>
                <a:gd name="T35" fmla="*/ 80 h 202"/>
                <a:gd name="T36" fmla="*/ 104 w 130"/>
                <a:gd name="T37" fmla="*/ 77 h 202"/>
                <a:gd name="T38" fmla="*/ 24 w 130"/>
                <a:gd name="T39" fmla="*/ 3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202">
                  <a:moveTo>
                    <a:pt x="114" y="202"/>
                  </a:moveTo>
                  <a:cubicBezTo>
                    <a:pt x="111" y="202"/>
                    <a:pt x="108" y="201"/>
                    <a:pt x="105" y="199"/>
                  </a:cubicBezTo>
                  <a:cubicBezTo>
                    <a:pt x="105" y="199"/>
                    <a:pt x="105" y="199"/>
                    <a:pt x="105" y="199"/>
                  </a:cubicBezTo>
                  <a:cubicBezTo>
                    <a:pt x="13" y="146"/>
                    <a:pt x="13" y="146"/>
                    <a:pt x="13" y="146"/>
                  </a:cubicBezTo>
                  <a:cubicBezTo>
                    <a:pt x="5" y="142"/>
                    <a:pt x="0" y="132"/>
                    <a:pt x="0" y="12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2"/>
                    <a:pt x="3" y="6"/>
                    <a:pt x="8" y="3"/>
                  </a:cubicBezTo>
                  <a:cubicBezTo>
                    <a:pt x="13" y="0"/>
                    <a:pt x="19" y="0"/>
                    <a:pt x="25" y="3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24" y="61"/>
                    <a:pt x="130" y="71"/>
                    <a:pt x="130" y="80"/>
                  </a:cubicBezTo>
                  <a:cubicBezTo>
                    <a:pt x="130" y="184"/>
                    <a:pt x="130" y="184"/>
                    <a:pt x="130" y="184"/>
                  </a:cubicBezTo>
                  <a:cubicBezTo>
                    <a:pt x="130" y="191"/>
                    <a:pt x="127" y="197"/>
                    <a:pt x="121" y="200"/>
                  </a:cubicBezTo>
                  <a:cubicBezTo>
                    <a:pt x="119" y="201"/>
                    <a:pt x="116" y="202"/>
                    <a:pt x="114" y="202"/>
                  </a:cubicBezTo>
                  <a:close/>
                  <a:moveTo>
                    <a:pt x="24" y="30"/>
                  </a:moveTo>
                  <a:cubicBezTo>
                    <a:pt x="24" y="123"/>
                    <a:pt x="24" y="123"/>
                    <a:pt x="24" y="123"/>
                  </a:cubicBezTo>
                  <a:cubicBezTo>
                    <a:pt x="24" y="124"/>
                    <a:pt x="24" y="125"/>
                    <a:pt x="25" y="126"/>
                  </a:cubicBezTo>
                  <a:cubicBezTo>
                    <a:pt x="106" y="172"/>
                    <a:pt x="106" y="172"/>
                    <a:pt x="106" y="172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106" y="79"/>
                    <a:pt x="105" y="78"/>
                    <a:pt x="104" y="77"/>
                  </a:cubicBezTo>
                  <a:lnTo>
                    <a:pt x="24" y="3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8" name="Freeform 2308">
              <a:extLst>
                <a:ext uri="{FF2B5EF4-FFF2-40B4-BE49-F238E27FC236}">
                  <a16:creationId xmlns:a16="http://schemas.microsoft.com/office/drawing/2014/main" id="{EF191C8D-FD4F-4874-A19A-5DF7A210C4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8" y="3292"/>
              <a:ext cx="36" cy="56"/>
            </a:xfrm>
            <a:custGeom>
              <a:avLst/>
              <a:gdLst>
                <a:gd name="T0" fmla="*/ 114 w 130"/>
                <a:gd name="T1" fmla="*/ 202 h 202"/>
                <a:gd name="T2" fmla="*/ 105 w 130"/>
                <a:gd name="T3" fmla="*/ 200 h 202"/>
                <a:gd name="T4" fmla="*/ 13 w 130"/>
                <a:gd name="T5" fmla="*/ 146 h 202"/>
                <a:gd name="T6" fmla="*/ 0 w 130"/>
                <a:gd name="T7" fmla="*/ 123 h 202"/>
                <a:gd name="T8" fmla="*/ 0 w 130"/>
                <a:gd name="T9" fmla="*/ 19 h 202"/>
                <a:gd name="T10" fmla="*/ 8 w 130"/>
                <a:gd name="T11" fmla="*/ 3 h 202"/>
                <a:gd name="T12" fmla="*/ 25 w 130"/>
                <a:gd name="T13" fmla="*/ 4 h 202"/>
                <a:gd name="T14" fmla="*/ 117 w 130"/>
                <a:gd name="T15" fmla="*/ 57 h 202"/>
                <a:gd name="T16" fmla="*/ 130 w 130"/>
                <a:gd name="T17" fmla="*/ 80 h 202"/>
                <a:gd name="T18" fmla="*/ 130 w 130"/>
                <a:gd name="T19" fmla="*/ 184 h 202"/>
                <a:gd name="T20" fmla="*/ 121 w 130"/>
                <a:gd name="T21" fmla="*/ 200 h 202"/>
                <a:gd name="T22" fmla="*/ 114 w 130"/>
                <a:gd name="T23" fmla="*/ 202 h 202"/>
                <a:gd name="T24" fmla="*/ 117 w 130"/>
                <a:gd name="T25" fmla="*/ 179 h 202"/>
                <a:gd name="T26" fmla="*/ 117 w 130"/>
                <a:gd name="T27" fmla="*/ 179 h 202"/>
                <a:gd name="T28" fmla="*/ 24 w 130"/>
                <a:gd name="T29" fmla="*/ 31 h 202"/>
                <a:gd name="T30" fmla="*/ 24 w 130"/>
                <a:gd name="T31" fmla="*/ 123 h 202"/>
                <a:gd name="T32" fmla="*/ 25 w 130"/>
                <a:gd name="T33" fmla="*/ 126 h 202"/>
                <a:gd name="T34" fmla="*/ 106 w 130"/>
                <a:gd name="T35" fmla="*/ 173 h 202"/>
                <a:gd name="T36" fmla="*/ 106 w 130"/>
                <a:gd name="T37" fmla="*/ 80 h 202"/>
                <a:gd name="T38" fmla="*/ 105 w 130"/>
                <a:gd name="T39" fmla="*/ 77 h 202"/>
                <a:gd name="T40" fmla="*/ 24 w 130"/>
                <a:gd name="T41" fmla="*/ 31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202">
                  <a:moveTo>
                    <a:pt x="114" y="202"/>
                  </a:moveTo>
                  <a:cubicBezTo>
                    <a:pt x="111" y="202"/>
                    <a:pt x="108" y="201"/>
                    <a:pt x="105" y="200"/>
                  </a:cubicBezTo>
                  <a:cubicBezTo>
                    <a:pt x="13" y="146"/>
                    <a:pt x="13" y="146"/>
                    <a:pt x="13" y="146"/>
                  </a:cubicBezTo>
                  <a:cubicBezTo>
                    <a:pt x="5" y="142"/>
                    <a:pt x="0" y="133"/>
                    <a:pt x="0" y="12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2"/>
                    <a:pt x="3" y="6"/>
                    <a:pt x="8" y="3"/>
                  </a:cubicBezTo>
                  <a:cubicBezTo>
                    <a:pt x="13" y="0"/>
                    <a:pt x="19" y="0"/>
                    <a:pt x="25" y="4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25" y="61"/>
                    <a:pt x="130" y="71"/>
                    <a:pt x="130" y="80"/>
                  </a:cubicBezTo>
                  <a:cubicBezTo>
                    <a:pt x="130" y="184"/>
                    <a:pt x="130" y="184"/>
                    <a:pt x="130" y="184"/>
                  </a:cubicBezTo>
                  <a:cubicBezTo>
                    <a:pt x="130" y="191"/>
                    <a:pt x="127" y="197"/>
                    <a:pt x="121" y="200"/>
                  </a:cubicBezTo>
                  <a:cubicBezTo>
                    <a:pt x="119" y="202"/>
                    <a:pt x="116" y="202"/>
                    <a:pt x="114" y="202"/>
                  </a:cubicBezTo>
                  <a:close/>
                  <a:moveTo>
                    <a:pt x="117" y="179"/>
                  </a:moveTo>
                  <a:cubicBezTo>
                    <a:pt x="117" y="179"/>
                    <a:pt x="117" y="179"/>
                    <a:pt x="117" y="179"/>
                  </a:cubicBezTo>
                  <a:close/>
                  <a:moveTo>
                    <a:pt x="24" y="31"/>
                  </a:moveTo>
                  <a:cubicBezTo>
                    <a:pt x="24" y="123"/>
                    <a:pt x="24" y="123"/>
                    <a:pt x="24" y="123"/>
                  </a:cubicBezTo>
                  <a:cubicBezTo>
                    <a:pt x="24" y="124"/>
                    <a:pt x="25" y="125"/>
                    <a:pt x="25" y="126"/>
                  </a:cubicBezTo>
                  <a:cubicBezTo>
                    <a:pt x="106" y="173"/>
                    <a:pt x="106" y="173"/>
                    <a:pt x="106" y="173"/>
                  </a:cubicBezTo>
                  <a:cubicBezTo>
                    <a:pt x="106" y="80"/>
                    <a:pt x="106" y="80"/>
                    <a:pt x="106" y="80"/>
                  </a:cubicBezTo>
                  <a:cubicBezTo>
                    <a:pt x="106" y="79"/>
                    <a:pt x="105" y="78"/>
                    <a:pt x="105" y="77"/>
                  </a:cubicBezTo>
                  <a:lnTo>
                    <a:pt x="24" y="31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Freeform 2309">
              <a:extLst>
                <a:ext uri="{FF2B5EF4-FFF2-40B4-BE49-F238E27FC236}">
                  <a16:creationId xmlns:a16="http://schemas.microsoft.com/office/drawing/2014/main" id="{B734CBCE-9464-46A9-87F7-159D04E581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1" y="3136"/>
              <a:ext cx="370" cy="238"/>
            </a:xfrm>
            <a:custGeom>
              <a:avLst/>
              <a:gdLst>
                <a:gd name="T0" fmla="*/ 1300 w 1338"/>
                <a:gd name="T1" fmla="*/ 861 h 861"/>
                <a:gd name="T2" fmla="*/ 1276 w 1338"/>
                <a:gd name="T3" fmla="*/ 854 h 861"/>
                <a:gd name="T4" fmla="*/ 1276 w 1338"/>
                <a:gd name="T5" fmla="*/ 854 h 861"/>
                <a:gd name="T6" fmla="*/ 51 w 1338"/>
                <a:gd name="T7" fmla="*/ 146 h 861"/>
                <a:gd name="T8" fmla="*/ 0 w 1338"/>
                <a:gd name="T9" fmla="*/ 51 h 861"/>
                <a:gd name="T10" fmla="*/ 39 w 1338"/>
                <a:gd name="T11" fmla="*/ 0 h 861"/>
                <a:gd name="T12" fmla="*/ 63 w 1338"/>
                <a:gd name="T13" fmla="*/ 7 h 861"/>
                <a:gd name="T14" fmla="*/ 1288 w 1338"/>
                <a:gd name="T15" fmla="*/ 714 h 861"/>
                <a:gd name="T16" fmla="*/ 1338 w 1338"/>
                <a:gd name="T17" fmla="*/ 810 h 861"/>
                <a:gd name="T18" fmla="*/ 1300 w 1338"/>
                <a:gd name="T19" fmla="*/ 861 h 861"/>
                <a:gd name="T20" fmla="*/ 1288 w 1338"/>
                <a:gd name="T21" fmla="*/ 833 h 861"/>
                <a:gd name="T22" fmla="*/ 1300 w 1338"/>
                <a:gd name="T23" fmla="*/ 837 h 861"/>
                <a:gd name="T24" fmla="*/ 1314 w 1338"/>
                <a:gd name="T25" fmla="*/ 810 h 861"/>
                <a:gd name="T26" fmla="*/ 1276 w 1338"/>
                <a:gd name="T27" fmla="*/ 735 h 861"/>
                <a:gd name="T28" fmla="*/ 51 w 1338"/>
                <a:gd name="T29" fmla="*/ 27 h 861"/>
                <a:gd name="T30" fmla="*/ 39 w 1338"/>
                <a:gd name="T31" fmla="*/ 24 h 861"/>
                <a:gd name="T32" fmla="*/ 24 w 1338"/>
                <a:gd name="T33" fmla="*/ 51 h 861"/>
                <a:gd name="T34" fmla="*/ 63 w 1338"/>
                <a:gd name="T35" fmla="*/ 126 h 861"/>
                <a:gd name="T36" fmla="*/ 1288 w 1338"/>
                <a:gd name="T37" fmla="*/ 833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38" h="861">
                  <a:moveTo>
                    <a:pt x="1300" y="861"/>
                  </a:moveTo>
                  <a:cubicBezTo>
                    <a:pt x="1292" y="861"/>
                    <a:pt x="1284" y="858"/>
                    <a:pt x="1276" y="854"/>
                  </a:cubicBezTo>
                  <a:cubicBezTo>
                    <a:pt x="1276" y="854"/>
                    <a:pt x="1276" y="854"/>
                    <a:pt x="1276" y="854"/>
                  </a:cubicBezTo>
                  <a:cubicBezTo>
                    <a:pt x="51" y="146"/>
                    <a:pt x="51" y="146"/>
                    <a:pt x="51" y="146"/>
                  </a:cubicBezTo>
                  <a:cubicBezTo>
                    <a:pt x="22" y="130"/>
                    <a:pt x="0" y="88"/>
                    <a:pt x="0" y="51"/>
                  </a:cubicBezTo>
                  <a:cubicBezTo>
                    <a:pt x="0" y="15"/>
                    <a:pt x="19" y="0"/>
                    <a:pt x="39" y="0"/>
                  </a:cubicBezTo>
                  <a:cubicBezTo>
                    <a:pt x="47" y="0"/>
                    <a:pt x="55" y="2"/>
                    <a:pt x="63" y="7"/>
                  </a:cubicBezTo>
                  <a:cubicBezTo>
                    <a:pt x="1288" y="714"/>
                    <a:pt x="1288" y="714"/>
                    <a:pt x="1288" y="714"/>
                  </a:cubicBezTo>
                  <a:cubicBezTo>
                    <a:pt x="1316" y="730"/>
                    <a:pt x="1338" y="772"/>
                    <a:pt x="1338" y="810"/>
                  </a:cubicBezTo>
                  <a:cubicBezTo>
                    <a:pt x="1338" y="845"/>
                    <a:pt x="1319" y="861"/>
                    <a:pt x="1300" y="861"/>
                  </a:cubicBezTo>
                  <a:close/>
                  <a:moveTo>
                    <a:pt x="1288" y="833"/>
                  </a:moveTo>
                  <a:cubicBezTo>
                    <a:pt x="1292" y="835"/>
                    <a:pt x="1296" y="837"/>
                    <a:pt x="1300" y="837"/>
                  </a:cubicBezTo>
                  <a:cubicBezTo>
                    <a:pt x="1311" y="837"/>
                    <a:pt x="1314" y="822"/>
                    <a:pt x="1314" y="810"/>
                  </a:cubicBezTo>
                  <a:cubicBezTo>
                    <a:pt x="1314" y="781"/>
                    <a:pt x="1297" y="747"/>
                    <a:pt x="1276" y="735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46" y="25"/>
                    <a:pt x="42" y="24"/>
                    <a:pt x="39" y="24"/>
                  </a:cubicBezTo>
                  <a:cubicBezTo>
                    <a:pt x="28" y="24"/>
                    <a:pt x="24" y="38"/>
                    <a:pt x="24" y="51"/>
                  </a:cubicBezTo>
                  <a:cubicBezTo>
                    <a:pt x="24" y="79"/>
                    <a:pt x="42" y="114"/>
                    <a:pt x="63" y="126"/>
                  </a:cubicBezTo>
                  <a:lnTo>
                    <a:pt x="1288" y="833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2310">
              <a:extLst>
                <a:ext uri="{FF2B5EF4-FFF2-40B4-BE49-F238E27FC236}">
                  <a16:creationId xmlns:a16="http://schemas.microsoft.com/office/drawing/2014/main" id="{125A1E23-140F-49A1-BAFB-38491EE2C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" y="3215"/>
              <a:ext cx="231" cy="136"/>
            </a:xfrm>
            <a:custGeom>
              <a:avLst/>
              <a:gdLst>
                <a:gd name="T0" fmla="*/ 823 w 837"/>
                <a:gd name="T1" fmla="*/ 493 h 493"/>
                <a:gd name="T2" fmla="*/ 817 w 837"/>
                <a:gd name="T3" fmla="*/ 492 h 493"/>
                <a:gd name="T4" fmla="*/ 8 w 837"/>
                <a:gd name="T5" fmla="*/ 24 h 493"/>
                <a:gd name="T6" fmla="*/ 3 w 837"/>
                <a:gd name="T7" fmla="*/ 8 h 493"/>
                <a:gd name="T8" fmla="*/ 20 w 837"/>
                <a:gd name="T9" fmla="*/ 3 h 493"/>
                <a:gd name="T10" fmla="*/ 829 w 837"/>
                <a:gd name="T11" fmla="*/ 471 h 493"/>
                <a:gd name="T12" fmla="*/ 833 w 837"/>
                <a:gd name="T13" fmla="*/ 487 h 493"/>
                <a:gd name="T14" fmla="*/ 823 w 837"/>
                <a:gd name="T15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493">
                  <a:moveTo>
                    <a:pt x="823" y="493"/>
                  </a:moveTo>
                  <a:cubicBezTo>
                    <a:pt x="821" y="493"/>
                    <a:pt x="819" y="493"/>
                    <a:pt x="817" y="49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829" y="471"/>
                    <a:pt x="829" y="471"/>
                    <a:pt x="829" y="471"/>
                  </a:cubicBezTo>
                  <a:cubicBezTo>
                    <a:pt x="835" y="474"/>
                    <a:pt x="837" y="481"/>
                    <a:pt x="833" y="487"/>
                  </a:cubicBezTo>
                  <a:cubicBezTo>
                    <a:pt x="831" y="491"/>
                    <a:pt x="827" y="493"/>
                    <a:pt x="823" y="4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2311">
              <a:extLst>
                <a:ext uri="{FF2B5EF4-FFF2-40B4-BE49-F238E27FC236}">
                  <a16:creationId xmlns:a16="http://schemas.microsoft.com/office/drawing/2014/main" id="{9C1C86A3-73D2-42B7-A892-DDF01EC5A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" y="3245"/>
              <a:ext cx="231" cy="136"/>
            </a:xfrm>
            <a:custGeom>
              <a:avLst/>
              <a:gdLst>
                <a:gd name="T0" fmla="*/ 823 w 837"/>
                <a:gd name="T1" fmla="*/ 493 h 493"/>
                <a:gd name="T2" fmla="*/ 817 w 837"/>
                <a:gd name="T3" fmla="*/ 492 h 493"/>
                <a:gd name="T4" fmla="*/ 8 w 837"/>
                <a:gd name="T5" fmla="*/ 24 h 493"/>
                <a:gd name="T6" fmla="*/ 3 w 837"/>
                <a:gd name="T7" fmla="*/ 8 h 493"/>
                <a:gd name="T8" fmla="*/ 20 w 837"/>
                <a:gd name="T9" fmla="*/ 3 h 493"/>
                <a:gd name="T10" fmla="*/ 829 w 837"/>
                <a:gd name="T11" fmla="*/ 471 h 493"/>
                <a:gd name="T12" fmla="*/ 833 w 837"/>
                <a:gd name="T13" fmla="*/ 487 h 493"/>
                <a:gd name="T14" fmla="*/ 823 w 837"/>
                <a:gd name="T15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493">
                  <a:moveTo>
                    <a:pt x="823" y="493"/>
                  </a:moveTo>
                  <a:cubicBezTo>
                    <a:pt x="821" y="493"/>
                    <a:pt x="819" y="493"/>
                    <a:pt x="817" y="49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829" y="471"/>
                    <a:pt x="829" y="471"/>
                    <a:pt x="829" y="471"/>
                  </a:cubicBezTo>
                  <a:cubicBezTo>
                    <a:pt x="835" y="474"/>
                    <a:pt x="837" y="481"/>
                    <a:pt x="833" y="487"/>
                  </a:cubicBezTo>
                  <a:cubicBezTo>
                    <a:pt x="831" y="491"/>
                    <a:pt x="827" y="493"/>
                    <a:pt x="823" y="4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2312">
              <a:extLst>
                <a:ext uri="{FF2B5EF4-FFF2-40B4-BE49-F238E27FC236}">
                  <a16:creationId xmlns:a16="http://schemas.microsoft.com/office/drawing/2014/main" id="{C2B9137D-4DA0-436F-A7CE-7F7892F88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" y="3275"/>
              <a:ext cx="231" cy="136"/>
            </a:xfrm>
            <a:custGeom>
              <a:avLst/>
              <a:gdLst>
                <a:gd name="T0" fmla="*/ 823 w 837"/>
                <a:gd name="T1" fmla="*/ 493 h 493"/>
                <a:gd name="T2" fmla="*/ 817 w 837"/>
                <a:gd name="T3" fmla="*/ 492 h 493"/>
                <a:gd name="T4" fmla="*/ 8 w 837"/>
                <a:gd name="T5" fmla="*/ 24 h 493"/>
                <a:gd name="T6" fmla="*/ 3 w 837"/>
                <a:gd name="T7" fmla="*/ 8 h 493"/>
                <a:gd name="T8" fmla="*/ 20 w 837"/>
                <a:gd name="T9" fmla="*/ 4 h 493"/>
                <a:gd name="T10" fmla="*/ 829 w 837"/>
                <a:gd name="T11" fmla="*/ 471 h 493"/>
                <a:gd name="T12" fmla="*/ 833 w 837"/>
                <a:gd name="T13" fmla="*/ 487 h 493"/>
                <a:gd name="T14" fmla="*/ 823 w 837"/>
                <a:gd name="T15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493">
                  <a:moveTo>
                    <a:pt x="823" y="493"/>
                  </a:moveTo>
                  <a:cubicBezTo>
                    <a:pt x="821" y="493"/>
                    <a:pt x="819" y="493"/>
                    <a:pt x="817" y="49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4"/>
                  </a:cubicBezTo>
                  <a:cubicBezTo>
                    <a:pt x="829" y="471"/>
                    <a:pt x="829" y="471"/>
                    <a:pt x="829" y="471"/>
                  </a:cubicBezTo>
                  <a:cubicBezTo>
                    <a:pt x="835" y="474"/>
                    <a:pt x="837" y="481"/>
                    <a:pt x="833" y="487"/>
                  </a:cubicBezTo>
                  <a:cubicBezTo>
                    <a:pt x="831" y="491"/>
                    <a:pt x="827" y="493"/>
                    <a:pt x="823" y="4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2313">
              <a:extLst>
                <a:ext uri="{FF2B5EF4-FFF2-40B4-BE49-F238E27FC236}">
                  <a16:creationId xmlns:a16="http://schemas.microsoft.com/office/drawing/2014/main" id="{83B4A7AB-5915-4805-9367-B3B3943B0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" y="3305"/>
              <a:ext cx="231" cy="137"/>
            </a:xfrm>
            <a:custGeom>
              <a:avLst/>
              <a:gdLst>
                <a:gd name="T0" fmla="*/ 823 w 837"/>
                <a:gd name="T1" fmla="*/ 493 h 493"/>
                <a:gd name="T2" fmla="*/ 817 w 837"/>
                <a:gd name="T3" fmla="*/ 492 h 493"/>
                <a:gd name="T4" fmla="*/ 8 w 837"/>
                <a:gd name="T5" fmla="*/ 24 h 493"/>
                <a:gd name="T6" fmla="*/ 3 w 837"/>
                <a:gd name="T7" fmla="*/ 8 h 493"/>
                <a:gd name="T8" fmla="*/ 20 w 837"/>
                <a:gd name="T9" fmla="*/ 4 h 493"/>
                <a:gd name="T10" fmla="*/ 829 w 837"/>
                <a:gd name="T11" fmla="*/ 471 h 493"/>
                <a:gd name="T12" fmla="*/ 833 w 837"/>
                <a:gd name="T13" fmla="*/ 487 h 493"/>
                <a:gd name="T14" fmla="*/ 823 w 837"/>
                <a:gd name="T15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7" h="493">
                  <a:moveTo>
                    <a:pt x="823" y="493"/>
                  </a:moveTo>
                  <a:cubicBezTo>
                    <a:pt x="821" y="493"/>
                    <a:pt x="819" y="493"/>
                    <a:pt x="817" y="49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4"/>
                  </a:cubicBezTo>
                  <a:cubicBezTo>
                    <a:pt x="829" y="471"/>
                    <a:pt x="829" y="471"/>
                    <a:pt x="829" y="471"/>
                  </a:cubicBezTo>
                  <a:cubicBezTo>
                    <a:pt x="835" y="474"/>
                    <a:pt x="837" y="482"/>
                    <a:pt x="833" y="487"/>
                  </a:cubicBezTo>
                  <a:cubicBezTo>
                    <a:pt x="831" y="491"/>
                    <a:pt x="827" y="493"/>
                    <a:pt x="823" y="4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Freeform 2314">
              <a:extLst>
                <a:ext uri="{FF2B5EF4-FFF2-40B4-BE49-F238E27FC236}">
                  <a16:creationId xmlns:a16="http://schemas.microsoft.com/office/drawing/2014/main" id="{AF927B65-EB73-4DCE-AB0D-33FA10415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" y="3363"/>
              <a:ext cx="96" cy="58"/>
            </a:xfrm>
            <a:custGeom>
              <a:avLst/>
              <a:gdLst>
                <a:gd name="T0" fmla="*/ 331 w 345"/>
                <a:gd name="T1" fmla="*/ 209 h 209"/>
                <a:gd name="T2" fmla="*/ 325 w 345"/>
                <a:gd name="T3" fmla="*/ 207 h 209"/>
                <a:gd name="T4" fmla="*/ 8 w 345"/>
                <a:gd name="T5" fmla="*/ 24 h 209"/>
                <a:gd name="T6" fmla="*/ 3 w 345"/>
                <a:gd name="T7" fmla="*/ 8 h 209"/>
                <a:gd name="T8" fmla="*/ 20 w 345"/>
                <a:gd name="T9" fmla="*/ 3 h 209"/>
                <a:gd name="T10" fmla="*/ 337 w 345"/>
                <a:gd name="T11" fmla="*/ 187 h 209"/>
                <a:gd name="T12" fmla="*/ 341 w 345"/>
                <a:gd name="T13" fmla="*/ 203 h 209"/>
                <a:gd name="T14" fmla="*/ 331 w 345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209">
                  <a:moveTo>
                    <a:pt x="331" y="209"/>
                  </a:moveTo>
                  <a:cubicBezTo>
                    <a:pt x="329" y="209"/>
                    <a:pt x="327" y="209"/>
                    <a:pt x="325" y="207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337" y="187"/>
                    <a:pt x="337" y="187"/>
                    <a:pt x="337" y="187"/>
                  </a:cubicBezTo>
                  <a:cubicBezTo>
                    <a:pt x="343" y="190"/>
                    <a:pt x="345" y="197"/>
                    <a:pt x="341" y="203"/>
                  </a:cubicBezTo>
                  <a:cubicBezTo>
                    <a:pt x="339" y="207"/>
                    <a:pt x="335" y="209"/>
                    <a:pt x="331" y="20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Freeform 2315">
              <a:extLst>
                <a:ext uri="{FF2B5EF4-FFF2-40B4-BE49-F238E27FC236}">
                  <a16:creationId xmlns:a16="http://schemas.microsoft.com/office/drawing/2014/main" id="{2DEB6ED7-B85F-4922-8BF6-FC77C69B0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" y="3393"/>
              <a:ext cx="96" cy="58"/>
            </a:xfrm>
            <a:custGeom>
              <a:avLst/>
              <a:gdLst>
                <a:gd name="T0" fmla="*/ 331 w 345"/>
                <a:gd name="T1" fmla="*/ 209 h 209"/>
                <a:gd name="T2" fmla="*/ 325 w 345"/>
                <a:gd name="T3" fmla="*/ 207 h 209"/>
                <a:gd name="T4" fmla="*/ 8 w 345"/>
                <a:gd name="T5" fmla="*/ 24 h 209"/>
                <a:gd name="T6" fmla="*/ 3 w 345"/>
                <a:gd name="T7" fmla="*/ 8 h 209"/>
                <a:gd name="T8" fmla="*/ 20 w 345"/>
                <a:gd name="T9" fmla="*/ 3 h 209"/>
                <a:gd name="T10" fmla="*/ 337 w 345"/>
                <a:gd name="T11" fmla="*/ 187 h 209"/>
                <a:gd name="T12" fmla="*/ 341 w 345"/>
                <a:gd name="T13" fmla="*/ 203 h 209"/>
                <a:gd name="T14" fmla="*/ 331 w 345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209">
                  <a:moveTo>
                    <a:pt x="331" y="209"/>
                  </a:moveTo>
                  <a:cubicBezTo>
                    <a:pt x="329" y="209"/>
                    <a:pt x="327" y="209"/>
                    <a:pt x="325" y="207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337" y="187"/>
                    <a:pt x="337" y="187"/>
                    <a:pt x="337" y="187"/>
                  </a:cubicBezTo>
                  <a:cubicBezTo>
                    <a:pt x="343" y="190"/>
                    <a:pt x="345" y="197"/>
                    <a:pt x="341" y="203"/>
                  </a:cubicBezTo>
                  <a:cubicBezTo>
                    <a:pt x="339" y="207"/>
                    <a:pt x="335" y="209"/>
                    <a:pt x="331" y="20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Freeform 2316">
              <a:extLst>
                <a:ext uri="{FF2B5EF4-FFF2-40B4-BE49-F238E27FC236}">
                  <a16:creationId xmlns:a16="http://schemas.microsoft.com/office/drawing/2014/main" id="{E482A39C-60F9-4DD8-B5F0-2BB97F408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" y="3424"/>
              <a:ext cx="96" cy="57"/>
            </a:xfrm>
            <a:custGeom>
              <a:avLst/>
              <a:gdLst>
                <a:gd name="T0" fmla="*/ 331 w 345"/>
                <a:gd name="T1" fmla="*/ 209 h 209"/>
                <a:gd name="T2" fmla="*/ 325 w 345"/>
                <a:gd name="T3" fmla="*/ 208 h 209"/>
                <a:gd name="T4" fmla="*/ 8 w 345"/>
                <a:gd name="T5" fmla="*/ 24 h 209"/>
                <a:gd name="T6" fmla="*/ 3 w 345"/>
                <a:gd name="T7" fmla="*/ 8 h 209"/>
                <a:gd name="T8" fmla="*/ 20 w 345"/>
                <a:gd name="T9" fmla="*/ 3 h 209"/>
                <a:gd name="T10" fmla="*/ 337 w 345"/>
                <a:gd name="T11" fmla="*/ 187 h 209"/>
                <a:gd name="T12" fmla="*/ 341 w 345"/>
                <a:gd name="T13" fmla="*/ 203 h 209"/>
                <a:gd name="T14" fmla="*/ 331 w 345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209">
                  <a:moveTo>
                    <a:pt x="331" y="209"/>
                  </a:moveTo>
                  <a:cubicBezTo>
                    <a:pt x="329" y="209"/>
                    <a:pt x="327" y="209"/>
                    <a:pt x="325" y="208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337" y="187"/>
                    <a:pt x="337" y="187"/>
                    <a:pt x="337" y="187"/>
                  </a:cubicBezTo>
                  <a:cubicBezTo>
                    <a:pt x="343" y="190"/>
                    <a:pt x="345" y="197"/>
                    <a:pt x="341" y="203"/>
                  </a:cubicBezTo>
                  <a:cubicBezTo>
                    <a:pt x="339" y="207"/>
                    <a:pt x="335" y="209"/>
                    <a:pt x="331" y="20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Freeform 2317">
              <a:extLst>
                <a:ext uri="{FF2B5EF4-FFF2-40B4-BE49-F238E27FC236}">
                  <a16:creationId xmlns:a16="http://schemas.microsoft.com/office/drawing/2014/main" id="{7A0E438F-BAFF-4F2C-B99E-0663C6E88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" y="3454"/>
              <a:ext cx="96" cy="57"/>
            </a:xfrm>
            <a:custGeom>
              <a:avLst/>
              <a:gdLst>
                <a:gd name="T0" fmla="*/ 331 w 345"/>
                <a:gd name="T1" fmla="*/ 209 h 209"/>
                <a:gd name="T2" fmla="*/ 325 w 345"/>
                <a:gd name="T3" fmla="*/ 208 h 209"/>
                <a:gd name="T4" fmla="*/ 8 w 345"/>
                <a:gd name="T5" fmla="*/ 24 h 209"/>
                <a:gd name="T6" fmla="*/ 3 w 345"/>
                <a:gd name="T7" fmla="*/ 8 h 209"/>
                <a:gd name="T8" fmla="*/ 20 w 345"/>
                <a:gd name="T9" fmla="*/ 4 h 209"/>
                <a:gd name="T10" fmla="*/ 337 w 345"/>
                <a:gd name="T11" fmla="*/ 187 h 209"/>
                <a:gd name="T12" fmla="*/ 341 w 345"/>
                <a:gd name="T13" fmla="*/ 203 h 209"/>
                <a:gd name="T14" fmla="*/ 331 w 345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5" h="209">
                  <a:moveTo>
                    <a:pt x="331" y="209"/>
                  </a:moveTo>
                  <a:cubicBezTo>
                    <a:pt x="329" y="209"/>
                    <a:pt x="327" y="209"/>
                    <a:pt x="325" y="208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4"/>
                    <a:pt x="3" y="8"/>
                  </a:cubicBezTo>
                  <a:cubicBezTo>
                    <a:pt x="6" y="2"/>
                    <a:pt x="14" y="0"/>
                    <a:pt x="20" y="4"/>
                  </a:cubicBezTo>
                  <a:cubicBezTo>
                    <a:pt x="337" y="187"/>
                    <a:pt x="337" y="187"/>
                    <a:pt x="337" y="187"/>
                  </a:cubicBezTo>
                  <a:cubicBezTo>
                    <a:pt x="343" y="190"/>
                    <a:pt x="345" y="198"/>
                    <a:pt x="341" y="203"/>
                  </a:cubicBezTo>
                  <a:cubicBezTo>
                    <a:pt x="339" y="207"/>
                    <a:pt x="335" y="209"/>
                    <a:pt x="331" y="20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2318">
              <a:extLst>
                <a:ext uri="{FF2B5EF4-FFF2-40B4-BE49-F238E27FC236}">
                  <a16:creationId xmlns:a16="http://schemas.microsoft.com/office/drawing/2014/main" id="{3213970E-ED85-4047-B904-E56C09670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" y="3306"/>
              <a:ext cx="150" cy="88"/>
            </a:xfrm>
            <a:custGeom>
              <a:avLst/>
              <a:gdLst>
                <a:gd name="T0" fmla="*/ 526 w 540"/>
                <a:gd name="T1" fmla="*/ 321 h 321"/>
                <a:gd name="T2" fmla="*/ 520 w 540"/>
                <a:gd name="T3" fmla="*/ 320 h 321"/>
                <a:gd name="T4" fmla="*/ 8 w 540"/>
                <a:gd name="T5" fmla="*/ 24 h 321"/>
                <a:gd name="T6" fmla="*/ 3 w 540"/>
                <a:gd name="T7" fmla="*/ 8 h 321"/>
                <a:gd name="T8" fmla="*/ 20 w 540"/>
                <a:gd name="T9" fmla="*/ 3 h 321"/>
                <a:gd name="T10" fmla="*/ 532 w 540"/>
                <a:gd name="T11" fmla="*/ 299 h 321"/>
                <a:gd name="T12" fmla="*/ 536 w 540"/>
                <a:gd name="T13" fmla="*/ 315 h 321"/>
                <a:gd name="T14" fmla="*/ 526 w 540"/>
                <a:gd name="T15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0" h="321">
                  <a:moveTo>
                    <a:pt x="526" y="321"/>
                  </a:moveTo>
                  <a:cubicBezTo>
                    <a:pt x="524" y="321"/>
                    <a:pt x="522" y="321"/>
                    <a:pt x="520" y="32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3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532" y="299"/>
                    <a:pt x="532" y="299"/>
                    <a:pt x="532" y="299"/>
                  </a:cubicBezTo>
                  <a:cubicBezTo>
                    <a:pt x="538" y="302"/>
                    <a:pt x="540" y="310"/>
                    <a:pt x="536" y="315"/>
                  </a:cubicBezTo>
                  <a:cubicBezTo>
                    <a:pt x="534" y="319"/>
                    <a:pt x="530" y="321"/>
                    <a:pt x="526" y="32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2319">
              <a:extLst>
                <a:ext uri="{FF2B5EF4-FFF2-40B4-BE49-F238E27FC236}">
                  <a16:creationId xmlns:a16="http://schemas.microsoft.com/office/drawing/2014/main" id="{2D272278-ED45-4FF0-9D06-2869FE2FD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" y="3336"/>
              <a:ext cx="150" cy="88"/>
            </a:xfrm>
            <a:custGeom>
              <a:avLst/>
              <a:gdLst>
                <a:gd name="T0" fmla="*/ 526 w 540"/>
                <a:gd name="T1" fmla="*/ 321 h 321"/>
                <a:gd name="T2" fmla="*/ 520 w 540"/>
                <a:gd name="T3" fmla="*/ 320 h 321"/>
                <a:gd name="T4" fmla="*/ 8 w 540"/>
                <a:gd name="T5" fmla="*/ 24 h 321"/>
                <a:gd name="T6" fmla="*/ 3 w 540"/>
                <a:gd name="T7" fmla="*/ 8 h 321"/>
                <a:gd name="T8" fmla="*/ 20 w 540"/>
                <a:gd name="T9" fmla="*/ 3 h 321"/>
                <a:gd name="T10" fmla="*/ 532 w 540"/>
                <a:gd name="T11" fmla="*/ 299 h 321"/>
                <a:gd name="T12" fmla="*/ 536 w 540"/>
                <a:gd name="T13" fmla="*/ 315 h 321"/>
                <a:gd name="T14" fmla="*/ 526 w 540"/>
                <a:gd name="T15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0" h="321">
                  <a:moveTo>
                    <a:pt x="526" y="321"/>
                  </a:moveTo>
                  <a:cubicBezTo>
                    <a:pt x="524" y="321"/>
                    <a:pt x="522" y="321"/>
                    <a:pt x="520" y="320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2" y="21"/>
                    <a:pt x="0" y="13"/>
                    <a:pt x="3" y="8"/>
                  </a:cubicBezTo>
                  <a:cubicBezTo>
                    <a:pt x="6" y="2"/>
                    <a:pt x="14" y="0"/>
                    <a:pt x="20" y="3"/>
                  </a:cubicBezTo>
                  <a:cubicBezTo>
                    <a:pt x="532" y="299"/>
                    <a:pt x="532" y="299"/>
                    <a:pt x="532" y="299"/>
                  </a:cubicBezTo>
                  <a:cubicBezTo>
                    <a:pt x="538" y="302"/>
                    <a:pt x="540" y="310"/>
                    <a:pt x="536" y="315"/>
                  </a:cubicBezTo>
                  <a:cubicBezTo>
                    <a:pt x="534" y="319"/>
                    <a:pt x="530" y="321"/>
                    <a:pt x="526" y="32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Freeform 2320">
              <a:extLst>
                <a:ext uri="{FF2B5EF4-FFF2-40B4-BE49-F238E27FC236}">
                  <a16:creationId xmlns:a16="http://schemas.microsoft.com/office/drawing/2014/main" id="{5F673AB9-19E2-4D26-9C2B-B48F03C13F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1" y="3416"/>
              <a:ext cx="370" cy="244"/>
            </a:xfrm>
            <a:custGeom>
              <a:avLst/>
              <a:gdLst>
                <a:gd name="T0" fmla="*/ 1327 w 1340"/>
                <a:gd name="T1" fmla="*/ 886 h 886"/>
                <a:gd name="T2" fmla="*/ 1321 w 1340"/>
                <a:gd name="T3" fmla="*/ 884 h 886"/>
                <a:gd name="T4" fmla="*/ 7 w 1340"/>
                <a:gd name="T5" fmla="*/ 125 h 886"/>
                <a:gd name="T6" fmla="*/ 1 w 1340"/>
                <a:gd name="T7" fmla="*/ 117 h 886"/>
                <a:gd name="T8" fmla="*/ 4 w 1340"/>
                <a:gd name="T9" fmla="*/ 107 h 886"/>
                <a:gd name="T10" fmla="*/ 249 w 1340"/>
                <a:gd name="T11" fmla="*/ 69 h 886"/>
                <a:gd name="T12" fmla="*/ 343 w 1340"/>
                <a:gd name="T13" fmla="*/ 149 h 886"/>
                <a:gd name="T14" fmla="*/ 412 w 1340"/>
                <a:gd name="T15" fmla="*/ 210 h 886"/>
                <a:gd name="T16" fmla="*/ 479 w 1340"/>
                <a:gd name="T17" fmla="*/ 209 h 886"/>
                <a:gd name="T18" fmla="*/ 568 w 1340"/>
                <a:gd name="T19" fmla="*/ 207 h 886"/>
                <a:gd name="T20" fmla="*/ 570 w 1340"/>
                <a:gd name="T21" fmla="*/ 208 h 886"/>
                <a:gd name="T22" fmla="*/ 634 w 1340"/>
                <a:gd name="T23" fmla="*/ 267 h 886"/>
                <a:gd name="T24" fmla="*/ 693 w 1340"/>
                <a:gd name="T25" fmla="*/ 322 h 886"/>
                <a:gd name="T26" fmla="*/ 827 w 1340"/>
                <a:gd name="T27" fmla="*/ 306 h 886"/>
                <a:gd name="T28" fmla="*/ 1000 w 1340"/>
                <a:gd name="T29" fmla="*/ 293 h 886"/>
                <a:gd name="T30" fmla="*/ 1339 w 1340"/>
                <a:gd name="T31" fmla="*/ 870 h 886"/>
                <a:gd name="T32" fmla="*/ 1335 w 1340"/>
                <a:gd name="T33" fmla="*/ 883 h 886"/>
                <a:gd name="T34" fmla="*/ 1327 w 1340"/>
                <a:gd name="T35" fmla="*/ 886 h 886"/>
                <a:gd name="T36" fmla="*/ 32 w 1340"/>
                <a:gd name="T37" fmla="*/ 112 h 886"/>
                <a:gd name="T38" fmla="*/ 1306 w 1340"/>
                <a:gd name="T39" fmla="*/ 848 h 886"/>
                <a:gd name="T40" fmla="*/ 988 w 1340"/>
                <a:gd name="T41" fmla="*/ 314 h 886"/>
                <a:gd name="T42" fmla="*/ 838 w 1340"/>
                <a:gd name="T43" fmla="*/ 328 h 886"/>
                <a:gd name="T44" fmla="*/ 681 w 1340"/>
                <a:gd name="T45" fmla="*/ 342 h 886"/>
                <a:gd name="T46" fmla="*/ 616 w 1340"/>
                <a:gd name="T47" fmla="*/ 283 h 886"/>
                <a:gd name="T48" fmla="*/ 558 w 1340"/>
                <a:gd name="T49" fmla="*/ 228 h 886"/>
                <a:gd name="T50" fmla="*/ 558 w 1340"/>
                <a:gd name="T51" fmla="*/ 229 h 886"/>
                <a:gd name="T52" fmla="*/ 557 w 1340"/>
                <a:gd name="T53" fmla="*/ 228 h 886"/>
                <a:gd name="T54" fmla="*/ 490 w 1340"/>
                <a:gd name="T55" fmla="*/ 230 h 886"/>
                <a:gd name="T56" fmla="*/ 400 w 1340"/>
                <a:gd name="T57" fmla="*/ 231 h 886"/>
                <a:gd name="T58" fmla="*/ 325 w 1340"/>
                <a:gd name="T59" fmla="*/ 166 h 886"/>
                <a:gd name="T60" fmla="*/ 237 w 1340"/>
                <a:gd name="T61" fmla="*/ 90 h 886"/>
                <a:gd name="T62" fmla="*/ 32 w 1340"/>
                <a:gd name="T63" fmla="*/ 112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40" h="886">
                  <a:moveTo>
                    <a:pt x="1327" y="886"/>
                  </a:moveTo>
                  <a:cubicBezTo>
                    <a:pt x="1325" y="886"/>
                    <a:pt x="1323" y="886"/>
                    <a:pt x="1321" y="884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4" y="124"/>
                    <a:pt x="2" y="121"/>
                    <a:pt x="1" y="117"/>
                  </a:cubicBezTo>
                  <a:cubicBezTo>
                    <a:pt x="0" y="113"/>
                    <a:pt x="2" y="110"/>
                    <a:pt x="4" y="107"/>
                  </a:cubicBezTo>
                  <a:cubicBezTo>
                    <a:pt x="57" y="49"/>
                    <a:pt x="128" y="0"/>
                    <a:pt x="249" y="69"/>
                  </a:cubicBezTo>
                  <a:cubicBezTo>
                    <a:pt x="289" y="92"/>
                    <a:pt x="316" y="121"/>
                    <a:pt x="343" y="149"/>
                  </a:cubicBezTo>
                  <a:cubicBezTo>
                    <a:pt x="365" y="173"/>
                    <a:pt x="386" y="195"/>
                    <a:pt x="412" y="210"/>
                  </a:cubicBezTo>
                  <a:cubicBezTo>
                    <a:pt x="443" y="228"/>
                    <a:pt x="459" y="220"/>
                    <a:pt x="479" y="209"/>
                  </a:cubicBezTo>
                  <a:cubicBezTo>
                    <a:pt x="500" y="198"/>
                    <a:pt x="527" y="184"/>
                    <a:pt x="568" y="207"/>
                  </a:cubicBezTo>
                  <a:cubicBezTo>
                    <a:pt x="569" y="207"/>
                    <a:pt x="569" y="207"/>
                    <a:pt x="570" y="208"/>
                  </a:cubicBezTo>
                  <a:cubicBezTo>
                    <a:pt x="595" y="222"/>
                    <a:pt x="615" y="245"/>
                    <a:pt x="634" y="267"/>
                  </a:cubicBezTo>
                  <a:cubicBezTo>
                    <a:pt x="653" y="289"/>
                    <a:pt x="671" y="309"/>
                    <a:pt x="693" y="322"/>
                  </a:cubicBezTo>
                  <a:cubicBezTo>
                    <a:pt x="742" y="350"/>
                    <a:pt x="782" y="330"/>
                    <a:pt x="827" y="306"/>
                  </a:cubicBezTo>
                  <a:cubicBezTo>
                    <a:pt x="876" y="281"/>
                    <a:pt x="931" y="253"/>
                    <a:pt x="1000" y="293"/>
                  </a:cubicBezTo>
                  <a:cubicBezTo>
                    <a:pt x="1167" y="389"/>
                    <a:pt x="1302" y="759"/>
                    <a:pt x="1339" y="870"/>
                  </a:cubicBezTo>
                  <a:cubicBezTo>
                    <a:pt x="1340" y="875"/>
                    <a:pt x="1339" y="880"/>
                    <a:pt x="1335" y="883"/>
                  </a:cubicBezTo>
                  <a:cubicBezTo>
                    <a:pt x="1333" y="885"/>
                    <a:pt x="1330" y="886"/>
                    <a:pt x="1327" y="886"/>
                  </a:cubicBezTo>
                  <a:close/>
                  <a:moveTo>
                    <a:pt x="32" y="112"/>
                  </a:moveTo>
                  <a:cubicBezTo>
                    <a:pt x="1306" y="848"/>
                    <a:pt x="1306" y="848"/>
                    <a:pt x="1306" y="848"/>
                  </a:cubicBezTo>
                  <a:cubicBezTo>
                    <a:pt x="1230" y="630"/>
                    <a:pt x="1110" y="384"/>
                    <a:pt x="988" y="314"/>
                  </a:cubicBezTo>
                  <a:cubicBezTo>
                    <a:pt x="931" y="280"/>
                    <a:pt x="886" y="303"/>
                    <a:pt x="838" y="328"/>
                  </a:cubicBezTo>
                  <a:cubicBezTo>
                    <a:pt x="791" y="352"/>
                    <a:pt x="741" y="377"/>
                    <a:pt x="681" y="342"/>
                  </a:cubicBezTo>
                  <a:cubicBezTo>
                    <a:pt x="655" y="328"/>
                    <a:pt x="635" y="305"/>
                    <a:pt x="616" y="283"/>
                  </a:cubicBezTo>
                  <a:cubicBezTo>
                    <a:pt x="597" y="261"/>
                    <a:pt x="580" y="241"/>
                    <a:pt x="558" y="228"/>
                  </a:cubicBezTo>
                  <a:cubicBezTo>
                    <a:pt x="557" y="228"/>
                    <a:pt x="558" y="228"/>
                    <a:pt x="558" y="229"/>
                  </a:cubicBezTo>
                  <a:cubicBezTo>
                    <a:pt x="558" y="228"/>
                    <a:pt x="557" y="228"/>
                    <a:pt x="557" y="228"/>
                  </a:cubicBezTo>
                  <a:cubicBezTo>
                    <a:pt x="527" y="211"/>
                    <a:pt x="511" y="219"/>
                    <a:pt x="490" y="230"/>
                  </a:cubicBezTo>
                  <a:cubicBezTo>
                    <a:pt x="469" y="241"/>
                    <a:pt x="442" y="256"/>
                    <a:pt x="400" y="231"/>
                  </a:cubicBezTo>
                  <a:cubicBezTo>
                    <a:pt x="371" y="214"/>
                    <a:pt x="348" y="191"/>
                    <a:pt x="325" y="166"/>
                  </a:cubicBezTo>
                  <a:cubicBezTo>
                    <a:pt x="300" y="139"/>
                    <a:pt x="274" y="112"/>
                    <a:pt x="237" y="90"/>
                  </a:cubicBezTo>
                  <a:cubicBezTo>
                    <a:pt x="138" y="33"/>
                    <a:pt x="79" y="65"/>
                    <a:pt x="32" y="11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2321">
              <a:extLst>
                <a:ext uri="{FF2B5EF4-FFF2-40B4-BE49-F238E27FC236}">
                  <a16:creationId xmlns:a16="http://schemas.microsoft.com/office/drawing/2014/main" id="{C482DA59-50C3-44CF-A8B8-06B344D27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" y="2927"/>
              <a:ext cx="24" cy="35"/>
            </a:xfrm>
            <a:custGeom>
              <a:avLst/>
              <a:gdLst>
                <a:gd name="T0" fmla="*/ 43 w 86"/>
                <a:gd name="T1" fmla="*/ 13 h 126"/>
                <a:gd name="T2" fmla="*/ 86 w 86"/>
                <a:gd name="T3" fmla="*/ 88 h 126"/>
                <a:gd name="T4" fmla="*/ 43 w 86"/>
                <a:gd name="T5" fmla="*/ 112 h 126"/>
                <a:gd name="T6" fmla="*/ 0 w 86"/>
                <a:gd name="T7" fmla="*/ 38 h 126"/>
                <a:gd name="T8" fmla="*/ 43 w 86"/>
                <a:gd name="T9" fmla="*/ 1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126">
                  <a:moveTo>
                    <a:pt x="43" y="13"/>
                  </a:moveTo>
                  <a:cubicBezTo>
                    <a:pt x="67" y="27"/>
                    <a:pt x="86" y="60"/>
                    <a:pt x="86" y="88"/>
                  </a:cubicBezTo>
                  <a:cubicBezTo>
                    <a:pt x="86" y="115"/>
                    <a:pt x="67" y="126"/>
                    <a:pt x="43" y="112"/>
                  </a:cubicBezTo>
                  <a:cubicBezTo>
                    <a:pt x="20" y="99"/>
                    <a:pt x="0" y="66"/>
                    <a:pt x="0" y="38"/>
                  </a:cubicBezTo>
                  <a:cubicBezTo>
                    <a:pt x="0" y="11"/>
                    <a:pt x="20" y="0"/>
                    <a:pt x="43" y="13"/>
                  </a:cubicBez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2322">
              <a:extLst>
                <a:ext uri="{FF2B5EF4-FFF2-40B4-BE49-F238E27FC236}">
                  <a16:creationId xmlns:a16="http://schemas.microsoft.com/office/drawing/2014/main" id="{F8B01E2B-5C5A-44A6-99BA-E9ED768F5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903"/>
              <a:ext cx="24" cy="35"/>
            </a:xfrm>
            <a:custGeom>
              <a:avLst/>
              <a:gdLst>
                <a:gd name="T0" fmla="*/ 43 w 86"/>
                <a:gd name="T1" fmla="*/ 14 h 127"/>
                <a:gd name="T2" fmla="*/ 86 w 86"/>
                <a:gd name="T3" fmla="*/ 88 h 127"/>
                <a:gd name="T4" fmla="*/ 43 w 86"/>
                <a:gd name="T5" fmla="*/ 113 h 127"/>
                <a:gd name="T6" fmla="*/ 0 w 86"/>
                <a:gd name="T7" fmla="*/ 38 h 127"/>
                <a:gd name="T8" fmla="*/ 43 w 86"/>
                <a:gd name="T9" fmla="*/ 1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127">
                  <a:moveTo>
                    <a:pt x="43" y="14"/>
                  </a:moveTo>
                  <a:cubicBezTo>
                    <a:pt x="67" y="27"/>
                    <a:pt x="86" y="61"/>
                    <a:pt x="86" y="88"/>
                  </a:cubicBezTo>
                  <a:cubicBezTo>
                    <a:pt x="86" y="115"/>
                    <a:pt x="67" y="127"/>
                    <a:pt x="43" y="113"/>
                  </a:cubicBezTo>
                  <a:cubicBezTo>
                    <a:pt x="20" y="99"/>
                    <a:pt x="0" y="66"/>
                    <a:pt x="0" y="38"/>
                  </a:cubicBezTo>
                  <a:cubicBezTo>
                    <a:pt x="0" y="11"/>
                    <a:pt x="20" y="0"/>
                    <a:pt x="43" y="1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2323">
              <a:extLst>
                <a:ext uri="{FF2B5EF4-FFF2-40B4-BE49-F238E27FC236}">
                  <a16:creationId xmlns:a16="http://schemas.microsoft.com/office/drawing/2014/main" id="{0C6BE902-AA52-4223-A6A6-64AD67495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" y="2879"/>
              <a:ext cx="24" cy="35"/>
            </a:xfrm>
            <a:custGeom>
              <a:avLst/>
              <a:gdLst>
                <a:gd name="T0" fmla="*/ 44 w 86"/>
                <a:gd name="T1" fmla="*/ 14 h 127"/>
                <a:gd name="T2" fmla="*/ 86 w 86"/>
                <a:gd name="T3" fmla="*/ 88 h 127"/>
                <a:gd name="T4" fmla="*/ 44 w 86"/>
                <a:gd name="T5" fmla="*/ 113 h 127"/>
                <a:gd name="T6" fmla="*/ 0 w 86"/>
                <a:gd name="T7" fmla="*/ 39 h 127"/>
                <a:gd name="T8" fmla="*/ 44 w 86"/>
                <a:gd name="T9" fmla="*/ 1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127">
                  <a:moveTo>
                    <a:pt x="44" y="14"/>
                  </a:moveTo>
                  <a:cubicBezTo>
                    <a:pt x="67" y="28"/>
                    <a:pt x="86" y="61"/>
                    <a:pt x="86" y="88"/>
                  </a:cubicBezTo>
                  <a:cubicBezTo>
                    <a:pt x="86" y="116"/>
                    <a:pt x="67" y="127"/>
                    <a:pt x="44" y="113"/>
                  </a:cubicBezTo>
                  <a:cubicBezTo>
                    <a:pt x="20" y="99"/>
                    <a:pt x="0" y="66"/>
                    <a:pt x="0" y="39"/>
                  </a:cubicBezTo>
                  <a:cubicBezTo>
                    <a:pt x="0" y="11"/>
                    <a:pt x="20" y="0"/>
                    <a:pt x="44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Freeform 2324">
              <a:extLst>
                <a:ext uri="{FF2B5EF4-FFF2-40B4-BE49-F238E27FC236}">
                  <a16:creationId xmlns:a16="http://schemas.microsoft.com/office/drawing/2014/main" id="{7B66F1A8-DB7D-4108-A496-AA0630538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1" y="3663"/>
              <a:ext cx="89" cy="278"/>
            </a:xfrm>
            <a:custGeom>
              <a:avLst/>
              <a:gdLst>
                <a:gd name="T0" fmla="*/ 319 w 319"/>
                <a:gd name="T1" fmla="*/ 0 h 1005"/>
                <a:gd name="T2" fmla="*/ 311 w 319"/>
                <a:gd name="T3" fmla="*/ 565 h 1005"/>
                <a:gd name="T4" fmla="*/ 159 w 319"/>
                <a:gd name="T5" fmla="*/ 913 h 1005"/>
                <a:gd name="T6" fmla="*/ 0 w 319"/>
                <a:gd name="T7" fmla="*/ 1005 h 1005"/>
                <a:gd name="T8" fmla="*/ 145 w 319"/>
                <a:gd name="T9" fmla="*/ 660 h 1005"/>
                <a:gd name="T10" fmla="*/ 154 w 319"/>
                <a:gd name="T11" fmla="*/ 96 h 1005"/>
                <a:gd name="T12" fmla="*/ 319 w 319"/>
                <a:gd name="T13" fmla="*/ 0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9" h="1005">
                  <a:moveTo>
                    <a:pt x="319" y="0"/>
                  </a:moveTo>
                  <a:cubicBezTo>
                    <a:pt x="311" y="565"/>
                    <a:pt x="311" y="565"/>
                    <a:pt x="311" y="565"/>
                  </a:cubicBezTo>
                  <a:cubicBezTo>
                    <a:pt x="311" y="753"/>
                    <a:pt x="257" y="857"/>
                    <a:pt x="159" y="913"/>
                  </a:cubicBezTo>
                  <a:cubicBezTo>
                    <a:pt x="0" y="1005"/>
                    <a:pt x="0" y="1005"/>
                    <a:pt x="0" y="1005"/>
                  </a:cubicBezTo>
                  <a:cubicBezTo>
                    <a:pt x="93" y="948"/>
                    <a:pt x="145" y="844"/>
                    <a:pt x="145" y="660"/>
                  </a:cubicBezTo>
                  <a:cubicBezTo>
                    <a:pt x="154" y="96"/>
                    <a:pt x="154" y="96"/>
                    <a:pt x="154" y="96"/>
                  </a:cubicBezTo>
                  <a:lnTo>
                    <a:pt x="319" y="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5" name="Freeform 2325">
              <a:extLst>
                <a:ext uri="{FF2B5EF4-FFF2-40B4-BE49-F238E27FC236}">
                  <a16:creationId xmlns:a16="http://schemas.microsoft.com/office/drawing/2014/main" id="{B5EA8B43-4736-42B3-AEC5-FA0A7BECE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6" y="3546"/>
              <a:ext cx="114" cy="144"/>
            </a:xfrm>
            <a:custGeom>
              <a:avLst/>
              <a:gdLst>
                <a:gd name="T0" fmla="*/ 410 w 410"/>
                <a:gd name="T1" fmla="*/ 424 h 520"/>
                <a:gd name="T2" fmla="*/ 245 w 410"/>
                <a:gd name="T3" fmla="*/ 520 h 520"/>
                <a:gd name="T4" fmla="*/ 0 w 410"/>
                <a:gd name="T5" fmla="*/ 96 h 520"/>
                <a:gd name="T6" fmla="*/ 166 w 410"/>
                <a:gd name="T7" fmla="*/ 0 h 520"/>
                <a:gd name="T8" fmla="*/ 410 w 410"/>
                <a:gd name="T9" fmla="*/ 424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0" h="520">
                  <a:moveTo>
                    <a:pt x="410" y="424"/>
                  </a:moveTo>
                  <a:cubicBezTo>
                    <a:pt x="245" y="520"/>
                    <a:pt x="245" y="520"/>
                    <a:pt x="245" y="520"/>
                  </a:cubicBezTo>
                  <a:cubicBezTo>
                    <a:pt x="125" y="415"/>
                    <a:pt x="30" y="252"/>
                    <a:pt x="0" y="96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96" y="156"/>
                    <a:pt x="290" y="320"/>
                    <a:pt x="410" y="424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2326">
              <a:extLst>
                <a:ext uri="{FF2B5EF4-FFF2-40B4-BE49-F238E27FC236}">
                  <a16:creationId xmlns:a16="http://schemas.microsoft.com/office/drawing/2014/main" id="{DC6836E2-216B-4AC0-97C3-D3AB6C8802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5" y="3443"/>
              <a:ext cx="359" cy="517"/>
            </a:xfrm>
            <a:custGeom>
              <a:avLst/>
              <a:gdLst>
                <a:gd name="T0" fmla="*/ 1301 w 1301"/>
                <a:gd name="T1" fmla="*/ 892 h 1870"/>
                <a:gd name="T2" fmla="*/ 1292 w 1301"/>
                <a:gd name="T3" fmla="*/ 1456 h 1870"/>
                <a:gd name="T4" fmla="*/ 1147 w 1301"/>
                <a:gd name="T5" fmla="*/ 1801 h 1870"/>
                <a:gd name="T6" fmla="*/ 1145 w 1301"/>
                <a:gd name="T7" fmla="*/ 1802 h 1870"/>
                <a:gd name="T8" fmla="*/ 1140 w 1301"/>
                <a:gd name="T9" fmla="*/ 1805 h 1870"/>
                <a:gd name="T10" fmla="*/ 650 w 1301"/>
                <a:gd name="T11" fmla="*/ 1861 h 1870"/>
                <a:gd name="T12" fmla="*/ 9 w 1301"/>
                <a:gd name="T13" fmla="*/ 715 h 1870"/>
                <a:gd name="T14" fmla="*/ 0 w 1301"/>
                <a:gd name="T15" fmla="*/ 141 h 1870"/>
                <a:gd name="T16" fmla="*/ 224 w 1301"/>
                <a:gd name="T17" fmla="*/ 55 h 1870"/>
                <a:gd name="T18" fmla="*/ 245 w 1301"/>
                <a:gd name="T19" fmla="*/ 0 h 1870"/>
                <a:gd name="T20" fmla="*/ 1056 w 1301"/>
                <a:gd name="T21" fmla="*/ 468 h 1870"/>
                <a:gd name="T22" fmla="*/ 1301 w 1301"/>
                <a:gd name="T23" fmla="*/ 892 h 1870"/>
                <a:gd name="T24" fmla="*/ 871 w 1301"/>
                <a:gd name="T25" fmla="*/ 1454 h 1870"/>
                <a:gd name="T26" fmla="*/ 871 w 1301"/>
                <a:gd name="T27" fmla="*/ 1033 h 1870"/>
                <a:gd name="T28" fmla="*/ 828 w 1301"/>
                <a:gd name="T29" fmla="*/ 958 h 1870"/>
                <a:gd name="T30" fmla="*/ 812 w 1301"/>
                <a:gd name="T31" fmla="*/ 948 h 1870"/>
                <a:gd name="T32" fmla="*/ 812 w 1301"/>
                <a:gd name="T33" fmla="*/ 753 h 1870"/>
                <a:gd name="T34" fmla="*/ 633 w 1301"/>
                <a:gd name="T35" fmla="*/ 443 h 1870"/>
                <a:gd name="T36" fmla="*/ 453 w 1301"/>
                <a:gd name="T37" fmla="*/ 546 h 1870"/>
                <a:gd name="T38" fmla="*/ 453 w 1301"/>
                <a:gd name="T39" fmla="*/ 742 h 1870"/>
                <a:gd name="T40" fmla="*/ 437 w 1301"/>
                <a:gd name="T41" fmla="*/ 732 h 1870"/>
                <a:gd name="T42" fmla="*/ 394 w 1301"/>
                <a:gd name="T43" fmla="*/ 757 h 1870"/>
                <a:gd name="T44" fmla="*/ 394 w 1301"/>
                <a:gd name="T45" fmla="*/ 1179 h 1870"/>
                <a:gd name="T46" fmla="*/ 437 w 1301"/>
                <a:gd name="T47" fmla="*/ 1254 h 1870"/>
                <a:gd name="T48" fmla="*/ 828 w 1301"/>
                <a:gd name="T49" fmla="*/ 1479 h 1870"/>
                <a:gd name="T50" fmla="*/ 871 w 1301"/>
                <a:gd name="T51" fmla="*/ 1454 h 1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01" h="1870">
                  <a:moveTo>
                    <a:pt x="1301" y="892"/>
                  </a:moveTo>
                  <a:cubicBezTo>
                    <a:pt x="1292" y="1456"/>
                    <a:pt x="1292" y="1456"/>
                    <a:pt x="1292" y="1456"/>
                  </a:cubicBezTo>
                  <a:cubicBezTo>
                    <a:pt x="1292" y="1640"/>
                    <a:pt x="1240" y="1744"/>
                    <a:pt x="1147" y="1801"/>
                  </a:cubicBezTo>
                  <a:cubicBezTo>
                    <a:pt x="1145" y="1802"/>
                    <a:pt x="1145" y="1802"/>
                    <a:pt x="1145" y="1802"/>
                  </a:cubicBezTo>
                  <a:cubicBezTo>
                    <a:pt x="1140" y="1805"/>
                    <a:pt x="1140" y="1805"/>
                    <a:pt x="1140" y="1805"/>
                  </a:cubicBezTo>
                  <a:cubicBezTo>
                    <a:pt x="1028" y="1870"/>
                    <a:pt x="859" y="1870"/>
                    <a:pt x="650" y="1861"/>
                  </a:cubicBezTo>
                  <a:cubicBezTo>
                    <a:pt x="262" y="1430"/>
                    <a:pt x="9" y="1121"/>
                    <a:pt x="9" y="715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100" y="169"/>
                    <a:pt x="182" y="137"/>
                    <a:pt x="224" y="55"/>
                  </a:cubicBezTo>
                  <a:cubicBezTo>
                    <a:pt x="233" y="39"/>
                    <a:pt x="240" y="20"/>
                    <a:pt x="245" y="0"/>
                  </a:cubicBezTo>
                  <a:cubicBezTo>
                    <a:pt x="1056" y="468"/>
                    <a:pt x="1056" y="468"/>
                    <a:pt x="1056" y="468"/>
                  </a:cubicBezTo>
                  <a:cubicBezTo>
                    <a:pt x="1086" y="624"/>
                    <a:pt x="1181" y="787"/>
                    <a:pt x="1301" y="892"/>
                  </a:cubicBezTo>
                  <a:close/>
                  <a:moveTo>
                    <a:pt x="871" y="1454"/>
                  </a:moveTo>
                  <a:cubicBezTo>
                    <a:pt x="871" y="1033"/>
                    <a:pt x="871" y="1033"/>
                    <a:pt x="871" y="1033"/>
                  </a:cubicBezTo>
                  <a:cubicBezTo>
                    <a:pt x="871" y="1005"/>
                    <a:pt x="852" y="972"/>
                    <a:pt x="828" y="958"/>
                  </a:cubicBezTo>
                  <a:cubicBezTo>
                    <a:pt x="812" y="948"/>
                    <a:pt x="812" y="948"/>
                    <a:pt x="812" y="948"/>
                  </a:cubicBezTo>
                  <a:cubicBezTo>
                    <a:pt x="812" y="753"/>
                    <a:pt x="812" y="753"/>
                    <a:pt x="812" y="753"/>
                  </a:cubicBezTo>
                  <a:cubicBezTo>
                    <a:pt x="812" y="639"/>
                    <a:pt x="731" y="500"/>
                    <a:pt x="633" y="443"/>
                  </a:cubicBezTo>
                  <a:cubicBezTo>
                    <a:pt x="534" y="385"/>
                    <a:pt x="453" y="432"/>
                    <a:pt x="453" y="546"/>
                  </a:cubicBezTo>
                  <a:cubicBezTo>
                    <a:pt x="453" y="742"/>
                    <a:pt x="453" y="742"/>
                    <a:pt x="453" y="742"/>
                  </a:cubicBezTo>
                  <a:cubicBezTo>
                    <a:pt x="437" y="732"/>
                    <a:pt x="437" y="732"/>
                    <a:pt x="437" y="732"/>
                  </a:cubicBezTo>
                  <a:cubicBezTo>
                    <a:pt x="413" y="718"/>
                    <a:pt x="394" y="730"/>
                    <a:pt x="394" y="757"/>
                  </a:cubicBezTo>
                  <a:cubicBezTo>
                    <a:pt x="394" y="1179"/>
                    <a:pt x="394" y="1179"/>
                    <a:pt x="394" y="1179"/>
                  </a:cubicBezTo>
                  <a:cubicBezTo>
                    <a:pt x="394" y="1206"/>
                    <a:pt x="413" y="1240"/>
                    <a:pt x="437" y="1254"/>
                  </a:cubicBezTo>
                  <a:cubicBezTo>
                    <a:pt x="828" y="1479"/>
                    <a:pt x="828" y="1479"/>
                    <a:pt x="828" y="1479"/>
                  </a:cubicBezTo>
                  <a:cubicBezTo>
                    <a:pt x="852" y="1493"/>
                    <a:pt x="871" y="1482"/>
                    <a:pt x="871" y="14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Freeform 2327">
              <a:extLst>
                <a:ext uri="{FF2B5EF4-FFF2-40B4-BE49-F238E27FC236}">
                  <a16:creationId xmlns:a16="http://schemas.microsoft.com/office/drawing/2014/main" id="{335CEA87-9D73-4DC4-968A-1096DF872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" y="3666"/>
              <a:ext cx="199" cy="294"/>
            </a:xfrm>
            <a:custGeom>
              <a:avLst/>
              <a:gdLst>
                <a:gd name="T0" fmla="*/ 637 w 721"/>
                <a:gd name="T1" fmla="*/ 0 h 1065"/>
                <a:gd name="T2" fmla="*/ 629 w 721"/>
                <a:gd name="T3" fmla="*/ 554 h 1065"/>
                <a:gd name="T4" fmla="*/ 477 w 721"/>
                <a:gd name="T5" fmla="*/ 914 h 1065"/>
                <a:gd name="T6" fmla="*/ 476 w 721"/>
                <a:gd name="T7" fmla="*/ 914 h 1065"/>
                <a:gd name="T8" fmla="*/ 471 w 721"/>
                <a:gd name="T9" fmla="*/ 917 h 1065"/>
                <a:gd name="T10" fmla="*/ 0 w 721"/>
                <a:gd name="T11" fmla="*/ 978 h 1065"/>
                <a:gd name="T12" fmla="*/ 70 w 721"/>
                <a:gd name="T13" fmla="*/ 1056 h 1065"/>
                <a:gd name="T14" fmla="*/ 560 w 721"/>
                <a:gd name="T15" fmla="*/ 1000 h 1065"/>
                <a:gd name="T16" fmla="*/ 565 w 721"/>
                <a:gd name="T17" fmla="*/ 997 h 1065"/>
                <a:gd name="T18" fmla="*/ 567 w 721"/>
                <a:gd name="T19" fmla="*/ 996 h 1065"/>
                <a:gd name="T20" fmla="*/ 712 w 721"/>
                <a:gd name="T21" fmla="*/ 651 h 1065"/>
                <a:gd name="T22" fmla="*/ 721 w 721"/>
                <a:gd name="T23" fmla="*/ 87 h 1065"/>
                <a:gd name="T24" fmla="*/ 637 w 721"/>
                <a:gd name="T2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1" h="1065">
                  <a:moveTo>
                    <a:pt x="637" y="0"/>
                  </a:moveTo>
                  <a:cubicBezTo>
                    <a:pt x="629" y="554"/>
                    <a:pt x="629" y="554"/>
                    <a:pt x="629" y="554"/>
                  </a:cubicBezTo>
                  <a:cubicBezTo>
                    <a:pt x="629" y="746"/>
                    <a:pt x="575" y="854"/>
                    <a:pt x="477" y="914"/>
                  </a:cubicBezTo>
                  <a:cubicBezTo>
                    <a:pt x="476" y="914"/>
                    <a:pt x="476" y="914"/>
                    <a:pt x="476" y="914"/>
                  </a:cubicBezTo>
                  <a:cubicBezTo>
                    <a:pt x="471" y="917"/>
                    <a:pt x="471" y="917"/>
                    <a:pt x="471" y="917"/>
                  </a:cubicBezTo>
                  <a:cubicBezTo>
                    <a:pt x="361" y="981"/>
                    <a:pt x="199" y="985"/>
                    <a:pt x="0" y="978"/>
                  </a:cubicBezTo>
                  <a:cubicBezTo>
                    <a:pt x="23" y="1003"/>
                    <a:pt x="46" y="1029"/>
                    <a:pt x="70" y="1056"/>
                  </a:cubicBezTo>
                  <a:cubicBezTo>
                    <a:pt x="279" y="1065"/>
                    <a:pt x="448" y="1065"/>
                    <a:pt x="560" y="1000"/>
                  </a:cubicBezTo>
                  <a:cubicBezTo>
                    <a:pt x="565" y="997"/>
                    <a:pt x="565" y="997"/>
                    <a:pt x="565" y="997"/>
                  </a:cubicBezTo>
                  <a:cubicBezTo>
                    <a:pt x="567" y="996"/>
                    <a:pt x="567" y="996"/>
                    <a:pt x="567" y="996"/>
                  </a:cubicBezTo>
                  <a:cubicBezTo>
                    <a:pt x="660" y="939"/>
                    <a:pt x="712" y="835"/>
                    <a:pt x="712" y="651"/>
                  </a:cubicBezTo>
                  <a:cubicBezTo>
                    <a:pt x="721" y="87"/>
                    <a:pt x="721" y="87"/>
                    <a:pt x="721" y="87"/>
                  </a:cubicBezTo>
                  <a:cubicBezTo>
                    <a:pt x="691" y="61"/>
                    <a:pt x="663" y="32"/>
                    <a:pt x="637" y="0"/>
                  </a:cubicBez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Freeform 2328">
              <a:extLst>
                <a:ext uri="{FF2B5EF4-FFF2-40B4-BE49-F238E27FC236}">
                  <a16:creationId xmlns:a16="http://schemas.microsoft.com/office/drawing/2014/main" id="{668D61F4-8FAB-4B7B-8BD1-4551452B4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2" y="3417"/>
              <a:ext cx="270" cy="156"/>
            </a:xfrm>
            <a:custGeom>
              <a:avLst/>
              <a:gdLst>
                <a:gd name="T0" fmla="*/ 270 w 270"/>
                <a:gd name="T1" fmla="*/ 129 h 156"/>
                <a:gd name="T2" fmla="*/ 224 w 270"/>
                <a:gd name="T3" fmla="*/ 156 h 156"/>
                <a:gd name="T4" fmla="*/ 0 w 270"/>
                <a:gd name="T5" fmla="*/ 26 h 156"/>
                <a:gd name="T6" fmla="*/ 46 w 270"/>
                <a:gd name="T7" fmla="*/ 0 h 156"/>
                <a:gd name="T8" fmla="*/ 270 w 270"/>
                <a:gd name="T9" fmla="*/ 12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0" h="156">
                  <a:moveTo>
                    <a:pt x="270" y="129"/>
                  </a:moveTo>
                  <a:lnTo>
                    <a:pt x="224" y="156"/>
                  </a:lnTo>
                  <a:lnTo>
                    <a:pt x="0" y="26"/>
                  </a:lnTo>
                  <a:lnTo>
                    <a:pt x="46" y="0"/>
                  </a:lnTo>
                  <a:lnTo>
                    <a:pt x="270" y="129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9" name="Freeform 2329">
              <a:extLst>
                <a:ext uri="{FF2B5EF4-FFF2-40B4-BE49-F238E27FC236}">
                  <a16:creationId xmlns:a16="http://schemas.microsoft.com/office/drawing/2014/main" id="{A0026E07-2B66-4C9D-BBAC-B6D439E048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3" y="3642"/>
              <a:ext cx="132" cy="214"/>
            </a:xfrm>
            <a:custGeom>
              <a:avLst/>
              <a:gdLst>
                <a:gd name="T0" fmla="*/ 239 w 477"/>
                <a:gd name="T1" fmla="*/ 406 h 775"/>
                <a:gd name="T2" fmla="*/ 285 w 477"/>
                <a:gd name="T3" fmla="*/ 379 h 775"/>
                <a:gd name="T4" fmla="*/ 239 w 477"/>
                <a:gd name="T5" fmla="*/ 299 h 775"/>
                <a:gd name="T6" fmla="*/ 192 w 477"/>
                <a:gd name="T7" fmla="*/ 326 h 775"/>
                <a:gd name="T8" fmla="*/ 239 w 477"/>
                <a:gd name="T9" fmla="*/ 406 h 775"/>
                <a:gd name="T10" fmla="*/ 477 w 477"/>
                <a:gd name="T11" fmla="*/ 315 h 775"/>
                <a:gd name="T12" fmla="*/ 477 w 477"/>
                <a:gd name="T13" fmla="*/ 736 h 775"/>
                <a:gd name="T14" fmla="*/ 434 w 477"/>
                <a:gd name="T15" fmla="*/ 761 h 775"/>
                <a:gd name="T16" fmla="*/ 43 w 477"/>
                <a:gd name="T17" fmla="*/ 536 h 775"/>
                <a:gd name="T18" fmla="*/ 0 w 477"/>
                <a:gd name="T19" fmla="*/ 461 h 775"/>
                <a:gd name="T20" fmla="*/ 0 w 477"/>
                <a:gd name="T21" fmla="*/ 39 h 775"/>
                <a:gd name="T22" fmla="*/ 43 w 477"/>
                <a:gd name="T23" fmla="*/ 14 h 775"/>
                <a:gd name="T24" fmla="*/ 434 w 477"/>
                <a:gd name="T25" fmla="*/ 240 h 775"/>
                <a:gd name="T26" fmla="*/ 477 w 477"/>
                <a:gd name="T27" fmla="*/ 315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7" h="775">
                  <a:moveTo>
                    <a:pt x="239" y="406"/>
                  </a:moveTo>
                  <a:cubicBezTo>
                    <a:pt x="264" y="421"/>
                    <a:pt x="285" y="409"/>
                    <a:pt x="285" y="379"/>
                  </a:cubicBezTo>
                  <a:cubicBezTo>
                    <a:pt x="285" y="350"/>
                    <a:pt x="264" y="314"/>
                    <a:pt x="239" y="299"/>
                  </a:cubicBezTo>
                  <a:cubicBezTo>
                    <a:pt x="213" y="285"/>
                    <a:pt x="192" y="297"/>
                    <a:pt x="192" y="326"/>
                  </a:cubicBezTo>
                  <a:cubicBezTo>
                    <a:pt x="192" y="355"/>
                    <a:pt x="213" y="391"/>
                    <a:pt x="239" y="406"/>
                  </a:cubicBezTo>
                  <a:close/>
                  <a:moveTo>
                    <a:pt x="477" y="315"/>
                  </a:moveTo>
                  <a:cubicBezTo>
                    <a:pt x="477" y="736"/>
                    <a:pt x="477" y="736"/>
                    <a:pt x="477" y="736"/>
                  </a:cubicBezTo>
                  <a:cubicBezTo>
                    <a:pt x="477" y="764"/>
                    <a:pt x="458" y="775"/>
                    <a:pt x="434" y="761"/>
                  </a:cubicBezTo>
                  <a:cubicBezTo>
                    <a:pt x="43" y="536"/>
                    <a:pt x="43" y="536"/>
                    <a:pt x="43" y="536"/>
                  </a:cubicBezTo>
                  <a:cubicBezTo>
                    <a:pt x="19" y="522"/>
                    <a:pt x="0" y="488"/>
                    <a:pt x="0" y="46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2"/>
                    <a:pt x="19" y="0"/>
                    <a:pt x="43" y="14"/>
                  </a:cubicBezTo>
                  <a:cubicBezTo>
                    <a:pt x="434" y="240"/>
                    <a:pt x="434" y="240"/>
                    <a:pt x="434" y="240"/>
                  </a:cubicBezTo>
                  <a:cubicBezTo>
                    <a:pt x="458" y="254"/>
                    <a:pt x="477" y="287"/>
                    <a:pt x="477" y="315"/>
                  </a:cubicBez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2330">
              <a:extLst>
                <a:ext uri="{FF2B5EF4-FFF2-40B4-BE49-F238E27FC236}">
                  <a16:creationId xmlns:a16="http://schemas.microsoft.com/office/drawing/2014/main" id="{03977FE7-9C78-46DE-A34C-500133AA2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3550"/>
              <a:ext cx="99" cy="155"/>
            </a:xfrm>
            <a:custGeom>
              <a:avLst/>
              <a:gdLst>
                <a:gd name="T0" fmla="*/ 359 w 359"/>
                <a:gd name="T1" fmla="*/ 368 h 563"/>
                <a:gd name="T2" fmla="*/ 359 w 359"/>
                <a:gd name="T3" fmla="*/ 563 h 563"/>
                <a:gd name="T4" fmla="*/ 289 w 359"/>
                <a:gd name="T5" fmla="*/ 523 h 563"/>
                <a:gd name="T6" fmla="*/ 289 w 359"/>
                <a:gd name="T7" fmla="*/ 328 h 563"/>
                <a:gd name="T8" fmla="*/ 180 w 359"/>
                <a:gd name="T9" fmla="*/ 138 h 563"/>
                <a:gd name="T10" fmla="*/ 70 w 359"/>
                <a:gd name="T11" fmla="*/ 201 h 563"/>
                <a:gd name="T12" fmla="*/ 70 w 359"/>
                <a:gd name="T13" fmla="*/ 397 h 563"/>
                <a:gd name="T14" fmla="*/ 0 w 359"/>
                <a:gd name="T15" fmla="*/ 357 h 563"/>
                <a:gd name="T16" fmla="*/ 0 w 359"/>
                <a:gd name="T17" fmla="*/ 161 h 563"/>
                <a:gd name="T18" fmla="*/ 180 w 359"/>
                <a:gd name="T19" fmla="*/ 58 h 563"/>
                <a:gd name="T20" fmla="*/ 359 w 359"/>
                <a:gd name="T21" fmla="*/ 368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9" h="563">
                  <a:moveTo>
                    <a:pt x="359" y="368"/>
                  </a:moveTo>
                  <a:cubicBezTo>
                    <a:pt x="359" y="563"/>
                    <a:pt x="359" y="563"/>
                    <a:pt x="359" y="563"/>
                  </a:cubicBezTo>
                  <a:cubicBezTo>
                    <a:pt x="289" y="523"/>
                    <a:pt x="289" y="523"/>
                    <a:pt x="289" y="523"/>
                  </a:cubicBezTo>
                  <a:cubicBezTo>
                    <a:pt x="289" y="328"/>
                    <a:pt x="289" y="328"/>
                    <a:pt x="289" y="328"/>
                  </a:cubicBezTo>
                  <a:cubicBezTo>
                    <a:pt x="289" y="258"/>
                    <a:pt x="240" y="172"/>
                    <a:pt x="180" y="138"/>
                  </a:cubicBezTo>
                  <a:cubicBezTo>
                    <a:pt x="119" y="103"/>
                    <a:pt x="70" y="131"/>
                    <a:pt x="70" y="201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47"/>
                    <a:pt x="81" y="0"/>
                    <a:pt x="180" y="58"/>
                  </a:cubicBezTo>
                  <a:cubicBezTo>
                    <a:pt x="278" y="115"/>
                    <a:pt x="359" y="254"/>
                    <a:pt x="359" y="36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2331">
              <a:extLst>
                <a:ext uri="{FF2B5EF4-FFF2-40B4-BE49-F238E27FC236}">
                  <a16:creationId xmlns:a16="http://schemas.microsoft.com/office/drawing/2014/main" id="{F971C56A-0F34-4EBD-890A-B8C3D39EE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9" y="3578"/>
              <a:ext cx="61" cy="116"/>
            </a:xfrm>
            <a:custGeom>
              <a:avLst/>
              <a:gdLst>
                <a:gd name="T0" fmla="*/ 219 w 219"/>
                <a:gd name="T1" fmla="*/ 225 h 420"/>
                <a:gd name="T2" fmla="*/ 219 w 219"/>
                <a:gd name="T3" fmla="*/ 420 h 420"/>
                <a:gd name="T4" fmla="*/ 0 w 219"/>
                <a:gd name="T5" fmla="*/ 294 h 420"/>
                <a:gd name="T6" fmla="*/ 0 w 219"/>
                <a:gd name="T7" fmla="*/ 98 h 420"/>
                <a:gd name="T8" fmla="*/ 110 w 219"/>
                <a:gd name="T9" fmla="*/ 35 h 420"/>
                <a:gd name="T10" fmla="*/ 219 w 219"/>
                <a:gd name="T11" fmla="*/ 225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9" h="420">
                  <a:moveTo>
                    <a:pt x="219" y="225"/>
                  </a:moveTo>
                  <a:cubicBezTo>
                    <a:pt x="219" y="420"/>
                    <a:pt x="219" y="420"/>
                    <a:pt x="219" y="420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28"/>
                    <a:pt x="49" y="0"/>
                    <a:pt x="110" y="35"/>
                  </a:cubicBezTo>
                  <a:cubicBezTo>
                    <a:pt x="170" y="69"/>
                    <a:pt x="219" y="155"/>
                    <a:pt x="219" y="22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Freeform 2332">
              <a:extLst>
                <a:ext uri="{FF2B5EF4-FFF2-40B4-BE49-F238E27FC236}">
                  <a16:creationId xmlns:a16="http://schemas.microsoft.com/office/drawing/2014/main" id="{66607E65-226A-4FC2-8448-85291CF2B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6" y="3721"/>
              <a:ext cx="26" cy="37"/>
            </a:xfrm>
            <a:custGeom>
              <a:avLst/>
              <a:gdLst>
                <a:gd name="T0" fmla="*/ 47 w 93"/>
                <a:gd name="T1" fmla="*/ 14 h 136"/>
                <a:gd name="T2" fmla="*/ 93 w 93"/>
                <a:gd name="T3" fmla="*/ 94 h 136"/>
                <a:gd name="T4" fmla="*/ 47 w 93"/>
                <a:gd name="T5" fmla="*/ 121 h 136"/>
                <a:gd name="T6" fmla="*/ 0 w 93"/>
                <a:gd name="T7" fmla="*/ 41 h 136"/>
                <a:gd name="T8" fmla="*/ 47 w 93"/>
                <a:gd name="T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136">
                  <a:moveTo>
                    <a:pt x="47" y="14"/>
                  </a:moveTo>
                  <a:cubicBezTo>
                    <a:pt x="72" y="29"/>
                    <a:pt x="93" y="65"/>
                    <a:pt x="93" y="94"/>
                  </a:cubicBezTo>
                  <a:cubicBezTo>
                    <a:pt x="93" y="124"/>
                    <a:pt x="72" y="136"/>
                    <a:pt x="47" y="121"/>
                  </a:cubicBezTo>
                  <a:cubicBezTo>
                    <a:pt x="21" y="106"/>
                    <a:pt x="0" y="70"/>
                    <a:pt x="0" y="41"/>
                  </a:cubicBezTo>
                  <a:cubicBezTo>
                    <a:pt x="0" y="12"/>
                    <a:pt x="21" y="0"/>
                    <a:pt x="47" y="1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Freeform 2333">
              <a:extLst>
                <a:ext uri="{FF2B5EF4-FFF2-40B4-BE49-F238E27FC236}">
                  <a16:creationId xmlns:a16="http://schemas.microsoft.com/office/drawing/2014/main" id="{D5DB24AE-3848-494F-B8B3-8348BA991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5" y="3456"/>
              <a:ext cx="61" cy="34"/>
            </a:xfrm>
            <a:custGeom>
              <a:avLst/>
              <a:gdLst>
                <a:gd name="T0" fmla="*/ 166 w 224"/>
                <a:gd name="T1" fmla="*/ 0 h 124"/>
                <a:gd name="T2" fmla="*/ 224 w 224"/>
                <a:gd name="T3" fmla="*/ 10 h 124"/>
                <a:gd name="T4" fmla="*/ 0 w 224"/>
                <a:gd name="T5" fmla="*/ 96 h 124"/>
                <a:gd name="T6" fmla="*/ 166 w 224"/>
                <a:gd name="T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124">
                  <a:moveTo>
                    <a:pt x="166" y="0"/>
                  </a:moveTo>
                  <a:cubicBezTo>
                    <a:pt x="186" y="6"/>
                    <a:pt x="206" y="9"/>
                    <a:pt x="224" y="10"/>
                  </a:cubicBezTo>
                  <a:cubicBezTo>
                    <a:pt x="182" y="92"/>
                    <a:pt x="100" y="124"/>
                    <a:pt x="0" y="96"/>
                  </a:cubicBezTo>
                  <a:lnTo>
                    <a:pt x="166" y="0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Freeform 2334">
              <a:extLst>
                <a:ext uri="{FF2B5EF4-FFF2-40B4-BE49-F238E27FC236}">
                  <a16:creationId xmlns:a16="http://schemas.microsoft.com/office/drawing/2014/main" id="{37CCB21E-CC66-4FBD-9F0D-F99A892247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1" y="3440"/>
              <a:ext cx="366" cy="522"/>
            </a:xfrm>
            <a:custGeom>
              <a:avLst/>
              <a:gdLst>
                <a:gd name="T0" fmla="*/ 822 w 1325"/>
                <a:gd name="T1" fmla="*/ 1890 h 1890"/>
                <a:gd name="T2" fmla="*/ 662 w 1325"/>
                <a:gd name="T3" fmla="*/ 1886 h 1890"/>
                <a:gd name="T4" fmla="*/ 654 w 1325"/>
                <a:gd name="T5" fmla="*/ 1882 h 1890"/>
                <a:gd name="T6" fmla="*/ 9 w 1325"/>
                <a:gd name="T7" fmla="*/ 728 h 1890"/>
                <a:gd name="T8" fmla="*/ 0 w 1325"/>
                <a:gd name="T9" fmla="*/ 154 h 1890"/>
                <a:gd name="T10" fmla="*/ 5 w 1325"/>
                <a:gd name="T11" fmla="*/ 144 h 1890"/>
                <a:gd name="T12" fmla="*/ 16 w 1325"/>
                <a:gd name="T13" fmla="*/ 142 h 1890"/>
                <a:gd name="T14" fmla="*/ 226 w 1325"/>
                <a:gd name="T15" fmla="*/ 63 h 1890"/>
                <a:gd name="T16" fmla="*/ 245 w 1325"/>
                <a:gd name="T17" fmla="*/ 10 h 1890"/>
                <a:gd name="T18" fmla="*/ 252 w 1325"/>
                <a:gd name="T19" fmla="*/ 1 h 1890"/>
                <a:gd name="T20" fmla="*/ 263 w 1325"/>
                <a:gd name="T21" fmla="*/ 2 h 1890"/>
                <a:gd name="T22" fmla="*/ 1074 w 1325"/>
                <a:gd name="T23" fmla="*/ 470 h 1890"/>
                <a:gd name="T24" fmla="*/ 1080 w 1325"/>
                <a:gd name="T25" fmla="*/ 479 h 1890"/>
                <a:gd name="T26" fmla="*/ 1321 w 1325"/>
                <a:gd name="T27" fmla="*/ 896 h 1890"/>
                <a:gd name="T28" fmla="*/ 1325 w 1325"/>
                <a:gd name="T29" fmla="*/ 905 h 1890"/>
                <a:gd name="T30" fmla="*/ 1316 w 1325"/>
                <a:gd name="T31" fmla="*/ 1469 h 1890"/>
                <a:gd name="T32" fmla="*/ 1165 w 1325"/>
                <a:gd name="T33" fmla="*/ 1825 h 1890"/>
                <a:gd name="T34" fmla="*/ 1161 w 1325"/>
                <a:gd name="T35" fmla="*/ 1826 h 1890"/>
                <a:gd name="T36" fmla="*/ 1158 w 1325"/>
                <a:gd name="T37" fmla="*/ 1828 h 1890"/>
                <a:gd name="T38" fmla="*/ 822 w 1325"/>
                <a:gd name="T39" fmla="*/ 1890 h 1890"/>
                <a:gd name="T40" fmla="*/ 668 w 1325"/>
                <a:gd name="T41" fmla="*/ 1862 h 1890"/>
                <a:gd name="T42" fmla="*/ 1146 w 1325"/>
                <a:gd name="T43" fmla="*/ 1808 h 1890"/>
                <a:gd name="T44" fmla="*/ 1150 w 1325"/>
                <a:gd name="T45" fmla="*/ 1806 h 1890"/>
                <a:gd name="T46" fmla="*/ 1153 w 1325"/>
                <a:gd name="T47" fmla="*/ 1804 h 1890"/>
                <a:gd name="T48" fmla="*/ 1292 w 1325"/>
                <a:gd name="T49" fmla="*/ 1469 h 1890"/>
                <a:gd name="T50" fmla="*/ 1301 w 1325"/>
                <a:gd name="T51" fmla="*/ 910 h 1890"/>
                <a:gd name="T52" fmla="*/ 1057 w 1325"/>
                <a:gd name="T53" fmla="*/ 489 h 1890"/>
                <a:gd name="T54" fmla="*/ 264 w 1325"/>
                <a:gd name="T55" fmla="*/ 31 h 1890"/>
                <a:gd name="T56" fmla="*/ 247 w 1325"/>
                <a:gd name="T57" fmla="*/ 74 h 1890"/>
                <a:gd name="T58" fmla="*/ 25 w 1325"/>
                <a:gd name="T59" fmla="*/ 169 h 1890"/>
                <a:gd name="T60" fmla="*/ 33 w 1325"/>
                <a:gd name="T61" fmla="*/ 728 h 1890"/>
                <a:gd name="T62" fmla="*/ 668 w 1325"/>
                <a:gd name="T63" fmla="*/ 1862 h 1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25" h="1890">
                  <a:moveTo>
                    <a:pt x="822" y="1890"/>
                  </a:moveTo>
                  <a:cubicBezTo>
                    <a:pt x="770" y="1890"/>
                    <a:pt x="716" y="1888"/>
                    <a:pt x="662" y="1886"/>
                  </a:cubicBezTo>
                  <a:cubicBezTo>
                    <a:pt x="659" y="1886"/>
                    <a:pt x="656" y="1884"/>
                    <a:pt x="654" y="1882"/>
                  </a:cubicBezTo>
                  <a:cubicBezTo>
                    <a:pt x="264" y="1450"/>
                    <a:pt x="9" y="1136"/>
                    <a:pt x="9" y="728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0"/>
                    <a:pt x="2" y="147"/>
                    <a:pt x="5" y="144"/>
                  </a:cubicBezTo>
                  <a:cubicBezTo>
                    <a:pt x="8" y="142"/>
                    <a:pt x="12" y="141"/>
                    <a:pt x="16" y="142"/>
                  </a:cubicBezTo>
                  <a:cubicBezTo>
                    <a:pt x="109" y="169"/>
                    <a:pt x="186" y="140"/>
                    <a:pt x="226" y="63"/>
                  </a:cubicBezTo>
                  <a:cubicBezTo>
                    <a:pt x="234" y="47"/>
                    <a:pt x="240" y="29"/>
                    <a:pt x="245" y="10"/>
                  </a:cubicBezTo>
                  <a:cubicBezTo>
                    <a:pt x="246" y="6"/>
                    <a:pt x="249" y="3"/>
                    <a:pt x="252" y="1"/>
                  </a:cubicBezTo>
                  <a:cubicBezTo>
                    <a:pt x="256" y="0"/>
                    <a:pt x="260" y="0"/>
                    <a:pt x="263" y="2"/>
                  </a:cubicBezTo>
                  <a:cubicBezTo>
                    <a:pt x="1074" y="470"/>
                    <a:pt x="1074" y="470"/>
                    <a:pt x="1074" y="470"/>
                  </a:cubicBezTo>
                  <a:cubicBezTo>
                    <a:pt x="1077" y="472"/>
                    <a:pt x="1079" y="475"/>
                    <a:pt x="1080" y="479"/>
                  </a:cubicBezTo>
                  <a:cubicBezTo>
                    <a:pt x="1110" y="633"/>
                    <a:pt x="1202" y="793"/>
                    <a:pt x="1321" y="896"/>
                  </a:cubicBezTo>
                  <a:cubicBezTo>
                    <a:pt x="1323" y="898"/>
                    <a:pt x="1325" y="901"/>
                    <a:pt x="1325" y="905"/>
                  </a:cubicBezTo>
                  <a:cubicBezTo>
                    <a:pt x="1316" y="1469"/>
                    <a:pt x="1316" y="1469"/>
                    <a:pt x="1316" y="1469"/>
                  </a:cubicBezTo>
                  <a:cubicBezTo>
                    <a:pt x="1316" y="1649"/>
                    <a:pt x="1268" y="1761"/>
                    <a:pt x="1165" y="1825"/>
                  </a:cubicBezTo>
                  <a:cubicBezTo>
                    <a:pt x="1164" y="1825"/>
                    <a:pt x="1163" y="1826"/>
                    <a:pt x="1161" y="1826"/>
                  </a:cubicBezTo>
                  <a:cubicBezTo>
                    <a:pt x="1160" y="1827"/>
                    <a:pt x="1159" y="1828"/>
                    <a:pt x="1158" y="1828"/>
                  </a:cubicBezTo>
                  <a:cubicBezTo>
                    <a:pt x="1073" y="1878"/>
                    <a:pt x="954" y="1890"/>
                    <a:pt x="822" y="1890"/>
                  </a:cubicBezTo>
                  <a:close/>
                  <a:moveTo>
                    <a:pt x="668" y="1862"/>
                  </a:moveTo>
                  <a:cubicBezTo>
                    <a:pt x="856" y="1871"/>
                    <a:pt x="1034" y="1872"/>
                    <a:pt x="1146" y="1808"/>
                  </a:cubicBezTo>
                  <a:cubicBezTo>
                    <a:pt x="1148" y="1807"/>
                    <a:pt x="1149" y="1806"/>
                    <a:pt x="1150" y="1806"/>
                  </a:cubicBezTo>
                  <a:cubicBezTo>
                    <a:pt x="1151" y="1805"/>
                    <a:pt x="1152" y="1805"/>
                    <a:pt x="1153" y="1804"/>
                  </a:cubicBezTo>
                  <a:cubicBezTo>
                    <a:pt x="1248" y="1746"/>
                    <a:pt x="1292" y="1639"/>
                    <a:pt x="1292" y="1469"/>
                  </a:cubicBezTo>
                  <a:cubicBezTo>
                    <a:pt x="1301" y="910"/>
                    <a:pt x="1301" y="910"/>
                    <a:pt x="1301" y="910"/>
                  </a:cubicBezTo>
                  <a:cubicBezTo>
                    <a:pt x="1182" y="805"/>
                    <a:pt x="1089" y="644"/>
                    <a:pt x="1057" y="489"/>
                  </a:cubicBezTo>
                  <a:cubicBezTo>
                    <a:pt x="264" y="31"/>
                    <a:pt x="264" y="31"/>
                    <a:pt x="264" y="31"/>
                  </a:cubicBezTo>
                  <a:cubicBezTo>
                    <a:pt x="260" y="46"/>
                    <a:pt x="254" y="60"/>
                    <a:pt x="247" y="74"/>
                  </a:cubicBezTo>
                  <a:cubicBezTo>
                    <a:pt x="204" y="157"/>
                    <a:pt x="122" y="192"/>
                    <a:pt x="25" y="169"/>
                  </a:cubicBezTo>
                  <a:cubicBezTo>
                    <a:pt x="33" y="728"/>
                    <a:pt x="33" y="728"/>
                    <a:pt x="33" y="728"/>
                  </a:cubicBezTo>
                  <a:cubicBezTo>
                    <a:pt x="33" y="1126"/>
                    <a:pt x="284" y="1436"/>
                    <a:pt x="668" y="186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Freeform 2335">
              <a:extLst>
                <a:ext uri="{FF2B5EF4-FFF2-40B4-BE49-F238E27FC236}">
                  <a16:creationId xmlns:a16="http://schemas.microsoft.com/office/drawing/2014/main" id="{8A089C9D-371B-4287-8326-33D945B58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" y="3413"/>
              <a:ext cx="345" cy="532"/>
            </a:xfrm>
            <a:custGeom>
              <a:avLst/>
              <a:gdLst>
                <a:gd name="T0" fmla="*/ 909 w 1247"/>
                <a:gd name="T1" fmla="*/ 1926 h 1926"/>
                <a:gd name="T2" fmla="*/ 899 w 1247"/>
                <a:gd name="T3" fmla="*/ 1920 h 1926"/>
                <a:gd name="T4" fmla="*/ 903 w 1247"/>
                <a:gd name="T5" fmla="*/ 1904 h 1926"/>
                <a:gd name="T6" fmla="*/ 1069 w 1247"/>
                <a:gd name="T7" fmla="*/ 1808 h 1926"/>
                <a:gd name="T8" fmla="*/ 1215 w 1247"/>
                <a:gd name="T9" fmla="*/ 1470 h 1926"/>
                <a:gd name="T10" fmla="*/ 1223 w 1247"/>
                <a:gd name="T11" fmla="*/ 910 h 1926"/>
                <a:gd name="T12" fmla="*/ 980 w 1247"/>
                <a:gd name="T13" fmla="*/ 489 h 1926"/>
                <a:gd name="T14" fmla="*/ 180 w 1247"/>
                <a:gd name="T15" fmla="*/ 27 h 1926"/>
                <a:gd name="T16" fmla="*/ 20 w 1247"/>
                <a:gd name="T17" fmla="*/ 119 h 1926"/>
                <a:gd name="T18" fmla="*/ 4 w 1247"/>
                <a:gd name="T19" fmla="*/ 115 h 1926"/>
                <a:gd name="T20" fmla="*/ 8 w 1247"/>
                <a:gd name="T21" fmla="*/ 98 h 1926"/>
                <a:gd name="T22" fmla="*/ 174 w 1247"/>
                <a:gd name="T23" fmla="*/ 2 h 1926"/>
                <a:gd name="T24" fmla="*/ 186 w 1247"/>
                <a:gd name="T25" fmla="*/ 2 h 1926"/>
                <a:gd name="T26" fmla="*/ 997 w 1247"/>
                <a:gd name="T27" fmla="*/ 471 h 1926"/>
                <a:gd name="T28" fmla="*/ 1002 w 1247"/>
                <a:gd name="T29" fmla="*/ 479 h 1926"/>
                <a:gd name="T30" fmla="*/ 1243 w 1247"/>
                <a:gd name="T31" fmla="*/ 896 h 1926"/>
                <a:gd name="T32" fmla="*/ 1247 w 1247"/>
                <a:gd name="T33" fmla="*/ 905 h 1926"/>
                <a:gd name="T34" fmla="*/ 1239 w 1247"/>
                <a:gd name="T35" fmla="*/ 1470 h 1926"/>
                <a:gd name="T36" fmla="*/ 1081 w 1247"/>
                <a:gd name="T37" fmla="*/ 1829 h 1926"/>
                <a:gd name="T38" fmla="*/ 915 w 1247"/>
                <a:gd name="T39" fmla="*/ 1924 h 1926"/>
                <a:gd name="T40" fmla="*/ 909 w 1247"/>
                <a:gd name="T41" fmla="*/ 1926 h 1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47" h="1926">
                  <a:moveTo>
                    <a:pt x="909" y="1926"/>
                  </a:moveTo>
                  <a:cubicBezTo>
                    <a:pt x="905" y="1926"/>
                    <a:pt x="901" y="1924"/>
                    <a:pt x="899" y="1920"/>
                  </a:cubicBezTo>
                  <a:cubicBezTo>
                    <a:pt x="896" y="1914"/>
                    <a:pt x="898" y="1907"/>
                    <a:pt x="903" y="1904"/>
                  </a:cubicBezTo>
                  <a:cubicBezTo>
                    <a:pt x="1069" y="1808"/>
                    <a:pt x="1069" y="1808"/>
                    <a:pt x="1069" y="1808"/>
                  </a:cubicBezTo>
                  <a:cubicBezTo>
                    <a:pt x="1169" y="1750"/>
                    <a:pt x="1215" y="1643"/>
                    <a:pt x="1215" y="1470"/>
                  </a:cubicBezTo>
                  <a:cubicBezTo>
                    <a:pt x="1223" y="910"/>
                    <a:pt x="1223" y="910"/>
                    <a:pt x="1223" y="910"/>
                  </a:cubicBezTo>
                  <a:cubicBezTo>
                    <a:pt x="1104" y="805"/>
                    <a:pt x="1012" y="644"/>
                    <a:pt x="980" y="489"/>
                  </a:cubicBezTo>
                  <a:cubicBezTo>
                    <a:pt x="180" y="27"/>
                    <a:pt x="180" y="27"/>
                    <a:pt x="180" y="27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14" y="122"/>
                    <a:pt x="7" y="120"/>
                    <a:pt x="4" y="115"/>
                  </a:cubicBezTo>
                  <a:cubicBezTo>
                    <a:pt x="0" y="109"/>
                    <a:pt x="2" y="101"/>
                    <a:pt x="8" y="98"/>
                  </a:cubicBezTo>
                  <a:cubicBezTo>
                    <a:pt x="174" y="2"/>
                    <a:pt x="174" y="2"/>
                    <a:pt x="174" y="2"/>
                  </a:cubicBezTo>
                  <a:cubicBezTo>
                    <a:pt x="177" y="0"/>
                    <a:pt x="182" y="0"/>
                    <a:pt x="186" y="2"/>
                  </a:cubicBezTo>
                  <a:cubicBezTo>
                    <a:pt x="997" y="471"/>
                    <a:pt x="997" y="471"/>
                    <a:pt x="997" y="471"/>
                  </a:cubicBezTo>
                  <a:cubicBezTo>
                    <a:pt x="1000" y="472"/>
                    <a:pt x="1002" y="475"/>
                    <a:pt x="1002" y="479"/>
                  </a:cubicBezTo>
                  <a:cubicBezTo>
                    <a:pt x="1032" y="633"/>
                    <a:pt x="1125" y="793"/>
                    <a:pt x="1243" y="896"/>
                  </a:cubicBezTo>
                  <a:cubicBezTo>
                    <a:pt x="1246" y="898"/>
                    <a:pt x="1247" y="902"/>
                    <a:pt x="1247" y="905"/>
                  </a:cubicBezTo>
                  <a:cubicBezTo>
                    <a:pt x="1239" y="1470"/>
                    <a:pt x="1239" y="1470"/>
                    <a:pt x="1239" y="1470"/>
                  </a:cubicBezTo>
                  <a:cubicBezTo>
                    <a:pt x="1239" y="1652"/>
                    <a:pt x="1189" y="1767"/>
                    <a:pt x="1081" y="1829"/>
                  </a:cubicBezTo>
                  <a:cubicBezTo>
                    <a:pt x="915" y="1924"/>
                    <a:pt x="915" y="1924"/>
                    <a:pt x="915" y="1924"/>
                  </a:cubicBezTo>
                  <a:cubicBezTo>
                    <a:pt x="913" y="1925"/>
                    <a:pt x="911" y="1926"/>
                    <a:pt x="909" y="19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2336">
              <a:extLst>
                <a:ext uri="{FF2B5EF4-FFF2-40B4-BE49-F238E27FC236}">
                  <a16:creationId xmlns:a16="http://schemas.microsoft.com/office/drawing/2014/main" id="{6A645040-F18D-4F64-ACBF-864E208258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1" y="3453"/>
              <a:ext cx="69" cy="33"/>
            </a:xfrm>
            <a:custGeom>
              <a:avLst/>
              <a:gdLst>
                <a:gd name="T0" fmla="*/ 13 w 250"/>
                <a:gd name="T1" fmla="*/ 120 h 120"/>
                <a:gd name="T2" fmla="*/ 3 w 250"/>
                <a:gd name="T3" fmla="*/ 114 h 120"/>
                <a:gd name="T4" fmla="*/ 7 w 250"/>
                <a:gd name="T5" fmla="*/ 98 h 120"/>
                <a:gd name="T6" fmla="*/ 173 w 250"/>
                <a:gd name="T7" fmla="*/ 2 h 120"/>
                <a:gd name="T8" fmla="*/ 182 w 250"/>
                <a:gd name="T9" fmla="*/ 1 h 120"/>
                <a:gd name="T10" fmla="*/ 238 w 250"/>
                <a:gd name="T11" fmla="*/ 10 h 120"/>
                <a:gd name="T12" fmla="*/ 249 w 250"/>
                <a:gd name="T13" fmla="*/ 23 h 120"/>
                <a:gd name="T14" fmla="*/ 237 w 250"/>
                <a:gd name="T15" fmla="*/ 34 h 120"/>
                <a:gd name="T16" fmla="*/ 181 w 250"/>
                <a:gd name="T17" fmla="*/ 25 h 120"/>
                <a:gd name="T18" fmla="*/ 19 w 250"/>
                <a:gd name="T19" fmla="*/ 118 h 120"/>
                <a:gd name="T20" fmla="*/ 13 w 250"/>
                <a:gd name="T2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120">
                  <a:moveTo>
                    <a:pt x="13" y="120"/>
                  </a:moveTo>
                  <a:cubicBezTo>
                    <a:pt x="9" y="120"/>
                    <a:pt x="5" y="118"/>
                    <a:pt x="3" y="114"/>
                  </a:cubicBezTo>
                  <a:cubicBezTo>
                    <a:pt x="0" y="108"/>
                    <a:pt x="2" y="101"/>
                    <a:pt x="7" y="98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6" y="0"/>
                    <a:pt x="179" y="0"/>
                    <a:pt x="182" y="1"/>
                  </a:cubicBezTo>
                  <a:cubicBezTo>
                    <a:pt x="201" y="6"/>
                    <a:pt x="220" y="9"/>
                    <a:pt x="238" y="10"/>
                  </a:cubicBezTo>
                  <a:cubicBezTo>
                    <a:pt x="245" y="10"/>
                    <a:pt x="250" y="16"/>
                    <a:pt x="249" y="23"/>
                  </a:cubicBezTo>
                  <a:cubicBezTo>
                    <a:pt x="249" y="29"/>
                    <a:pt x="244" y="34"/>
                    <a:pt x="237" y="34"/>
                  </a:cubicBezTo>
                  <a:cubicBezTo>
                    <a:pt x="218" y="33"/>
                    <a:pt x="199" y="30"/>
                    <a:pt x="181" y="25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7" y="119"/>
                    <a:pt x="15" y="120"/>
                    <a:pt x="13" y="12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7" name="Freeform 2337">
              <a:extLst>
                <a:ext uri="{FF2B5EF4-FFF2-40B4-BE49-F238E27FC236}">
                  <a16:creationId xmlns:a16="http://schemas.microsoft.com/office/drawing/2014/main" id="{1A597417-A5D0-4CE8-9196-502E42178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" y="3542"/>
              <a:ext cx="54" cy="34"/>
            </a:xfrm>
            <a:custGeom>
              <a:avLst/>
              <a:gdLst>
                <a:gd name="T0" fmla="*/ 14 w 193"/>
                <a:gd name="T1" fmla="*/ 122 h 122"/>
                <a:gd name="T2" fmla="*/ 3 w 193"/>
                <a:gd name="T3" fmla="*/ 116 h 122"/>
                <a:gd name="T4" fmla="*/ 8 w 193"/>
                <a:gd name="T5" fmla="*/ 99 h 122"/>
                <a:gd name="T6" fmla="*/ 174 w 193"/>
                <a:gd name="T7" fmla="*/ 4 h 122"/>
                <a:gd name="T8" fmla="*/ 190 w 193"/>
                <a:gd name="T9" fmla="*/ 8 h 122"/>
                <a:gd name="T10" fmla="*/ 186 w 193"/>
                <a:gd name="T11" fmla="*/ 24 h 122"/>
                <a:gd name="T12" fmla="*/ 20 w 193"/>
                <a:gd name="T13" fmla="*/ 120 h 122"/>
                <a:gd name="T14" fmla="*/ 14 w 193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3" h="122">
                  <a:moveTo>
                    <a:pt x="14" y="122"/>
                  </a:moveTo>
                  <a:cubicBezTo>
                    <a:pt x="10" y="122"/>
                    <a:pt x="6" y="120"/>
                    <a:pt x="3" y="116"/>
                  </a:cubicBezTo>
                  <a:cubicBezTo>
                    <a:pt x="0" y="110"/>
                    <a:pt x="2" y="103"/>
                    <a:pt x="8" y="99"/>
                  </a:cubicBezTo>
                  <a:cubicBezTo>
                    <a:pt x="174" y="4"/>
                    <a:pt x="174" y="4"/>
                    <a:pt x="174" y="4"/>
                  </a:cubicBezTo>
                  <a:cubicBezTo>
                    <a:pt x="179" y="0"/>
                    <a:pt x="187" y="2"/>
                    <a:pt x="190" y="8"/>
                  </a:cubicBezTo>
                  <a:cubicBezTo>
                    <a:pt x="193" y="14"/>
                    <a:pt x="191" y="21"/>
                    <a:pt x="186" y="24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18" y="121"/>
                    <a:pt x="16" y="122"/>
                    <a:pt x="14" y="12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Freeform 2338">
              <a:extLst>
                <a:ext uri="{FF2B5EF4-FFF2-40B4-BE49-F238E27FC236}">
                  <a16:creationId xmlns:a16="http://schemas.microsoft.com/office/drawing/2014/main" id="{65BBD43B-6E93-4D56-A51A-47FDBE8A2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0" y="3659"/>
              <a:ext cx="53" cy="34"/>
            </a:xfrm>
            <a:custGeom>
              <a:avLst/>
              <a:gdLst>
                <a:gd name="T0" fmla="*/ 14 w 193"/>
                <a:gd name="T1" fmla="*/ 122 h 122"/>
                <a:gd name="T2" fmla="*/ 3 w 193"/>
                <a:gd name="T3" fmla="*/ 116 h 122"/>
                <a:gd name="T4" fmla="*/ 8 w 193"/>
                <a:gd name="T5" fmla="*/ 99 h 122"/>
                <a:gd name="T6" fmla="*/ 173 w 193"/>
                <a:gd name="T7" fmla="*/ 4 h 122"/>
                <a:gd name="T8" fmla="*/ 190 w 193"/>
                <a:gd name="T9" fmla="*/ 8 h 122"/>
                <a:gd name="T10" fmla="*/ 185 w 193"/>
                <a:gd name="T11" fmla="*/ 24 h 122"/>
                <a:gd name="T12" fmla="*/ 20 w 193"/>
                <a:gd name="T13" fmla="*/ 120 h 122"/>
                <a:gd name="T14" fmla="*/ 14 w 193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3" h="122">
                  <a:moveTo>
                    <a:pt x="14" y="122"/>
                  </a:moveTo>
                  <a:cubicBezTo>
                    <a:pt x="10" y="122"/>
                    <a:pt x="5" y="119"/>
                    <a:pt x="3" y="116"/>
                  </a:cubicBezTo>
                  <a:cubicBezTo>
                    <a:pt x="0" y="110"/>
                    <a:pt x="2" y="103"/>
                    <a:pt x="8" y="99"/>
                  </a:cubicBezTo>
                  <a:cubicBezTo>
                    <a:pt x="173" y="4"/>
                    <a:pt x="173" y="4"/>
                    <a:pt x="173" y="4"/>
                  </a:cubicBezTo>
                  <a:cubicBezTo>
                    <a:pt x="179" y="0"/>
                    <a:pt x="187" y="2"/>
                    <a:pt x="190" y="8"/>
                  </a:cubicBezTo>
                  <a:cubicBezTo>
                    <a:pt x="193" y="14"/>
                    <a:pt x="191" y="21"/>
                    <a:pt x="185" y="24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18" y="121"/>
                    <a:pt x="16" y="122"/>
                    <a:pt x="14" y="12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Freeform 2339">
              <a:extLst>
                <a:ext uri="{FF2B5EF4-FFF2-40B4-BE49-F238E27FC236}">
                  <a16:creationId xmlns:a16="http://schemas.microsoft.com/office/drawing/2014/main" id="{FA170618-FA55-42D2-B57E-8C1B5A0326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640"/>
              <a:ext cx="139" cy="217"/>
            </a:xfrm>
            <a:custGeom>
              <a:avLst/>
              <a:gdLst>
                <a:gd name="T0" fmla="*/ 465 w 501"/>
                <a:gd name="T1" fmla="*/ 785 h 785"/>
                <a:gd name="T2" fmla="*/ 440 w 501"/>
                <a:gd name="T3" fmla="*/ 777 h 785"/>
                <a:gd name="T4" fmla="*/ 49 w 501"/>
                <a:gd name="T5" fmla="*/ 552 h 785"/>
                <a:gd name="T6" fmla="*/ 0 w 501"/>
                <a:gd name="T7" fmla="*/ 467 h 785"/>
                <a:gd name="T8" fmla="*/ 0 w 501"/>
                <a:gd name="T9" fmla="*/ 45 h 785"/>
                <a:gd name="T10" fmla="*/ 19 w 501"/>
                <a:gd name="T11" fmla="*/ 7 h 785"/>
                <a:gd name="T12" fmla="*/ 61 w 501"/>
                <a:gd name="T13" fmla="*/ 10 h 785"/>
                <a:gd name="T14" fmla="*/ 452 w 501"/>
                <a:gd name="T15" fmla="*/ 235 h 785"/>
                <a:gd name="T16" fmla="*/ 501 w 501"/>
                <a:gd name="T17" fmla="*/ 321 h 785"/>
                <a:gd name="T18" fmla="*/ 501 w 501"/>
                <a:gd name="T19" fmla="*/ 742 h 785"/>
                <a:gd name="T20" fmla="*/ 482 w 501"/>
                <a:gd name="T21" fmla="*/ 781 h 785"/>
                <a:gd name="T22" fmla="*/ 465 w 501"/>
                <a:gd name="T23" fmla="*/ 785 h 785"/>
                <a:gd name="T24" fmla="*/ 36 w 501"/>
                <a:gd name="T25" fmla="*/ 26 h 785"/>
                <a:gd name="T26" fmla="*/ 31 w 501"/>
                <a:gd name="T27" fmla="*/ 28 h 785"/>
                <a:gd name="T28" fmla="*/ 24 w 501"/>
                <a:gd name="T29" fmla="*/ 45 h 785"/>
                <a:gd name="T30" fmla="*/ 24 w 501"/>
                <a:gd name="T31" fmla="*/ 467 h 785"/>
                <a:gd name="T32" fmla="*/ 61 w 501"/>
                <a:gd name="T33" fmla="*/ 531 h 785"/>
                <a:gd name="T34" fmla="*/ 452 w 501"/>
                <a:gd name="T35" fmla="*/ 757 h 785"/>
                <a:gd name="T36" fmla="*/ 470 w 501"/>
                <a:gd name="T37" fmla="*/ 760 h 785"/>
                <a:gd name="T38" fmla="*/ 477 w 501"/>
                <a:gd name="T39" fmla="*/ 742 h 785"/>
                <a:gd name="T40" fmla="*/ 477 w 501"/>
                <a:gd name="T41" fmla="*/ 321 h 785"/>
                <a:gd name="T42" fmla="*/ 440 w 501"/>
                <a:gd name="T43" fmla="*/ 256 h 785"/>
                <a:gd name="T44" fmla="*/ 49 w 501"/>
                <a:gd name="T45" fmla="*/ 31 h 785"/>
                <a:gd name="T46" fmla="*/ 36 w 501"/>
                <a:gd name="T47" fmla="*/ 26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1" h="785">
                  <a:moveTo>
                    <a:pt x="465" y="785"/>
                  </a:moveTo>
                  <a:cubicBezTo>
                    <a:pt x="457" y="785"/>
                    <a:pt x="448" y="782"/>
                    <a:pt x="440" y="777"/>
                  </a:cubicBezTo>
                  <a:cubicBezTo>
                    <a:pt x="49" y="552"/>
                    <a:pt x="49" y="552"/>
                    <a:pt x="49" y="552"/>
                  </a:cubicBezTo>
                  <a:cubicBezTo>
                    <a:pt x="22" y="536"/>
                    <a:pt x="0" y="498"/>
                    <a:pt x="0" y="467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8"/>
                    <a:pt x="7" y="14"/>
                    <a:pt x="19" y="7"/>
                  </a:cubicBezTo>
                  <a:cubicBezTo>
                    <a:pt x="31" y="0"/>
                    <a:pt x="46" y="1"/>
                    <a:pt x="61" y="10"/>
                  </a:cubicBezTo>
                  <a:cubicBezTo>
                    <a:pt x="452" y="235"/>
                    <a:pt x="452" y="235"/>
                    <a:pt x="452" y="235"/>
                  </a:cubicBezTo>
                  <a:cubicBezTo>
                    <a:pt x="480" y="251"/>
                    <a:pt x="501" y="289"/>
                    <a:pt x="501" y="321"/>
                  </a:cubicBezTo>
                  <a:cubicBezTo>
                    <a:pt x="501" y="742"/>
                    <a:pt x="501" y="742"/>
                    <a:pt x="501" y="742"/>
                  </a:cubicBezTo>
                  <a:cubicBezTo>
                    <a:pt x="501" y="760"/>
                    <a:pt x="494" y="774"/>
                    <a:pt x="482" y="781"/>
                  </a:cubicBezTo>
                  <a:cubicBezTo>
                    <a:pt x="477" y="783"/>
                    <a:pt x="471" y="785"/>
                    <a:pt x="465" y="785"/>
                  </a:cubicBezTo>
                  <a:close/>
                  <a:moveTo>
                    <a:pt x="36" y="26"/>
                  </a:moveTo>
                  <a:cubicBezTo>
                    <a:pt x="34" y="26"/>
                    <a:pt x="32" y="27"/>
                    <a:pt x="31" y="28"/>
                  </a:cubicBezTo>
                  <a:cubicBezTo>
                    <a:pt x="26" y="30"/>
                    <a:pt x="24" y="37"/>
                    <a:pt x="24" y="45"/>
                  </a:cubicBezTo>
                  <a:cubicBezTo>
                    <a:pt x="24" y="467"/>
                    <a:pt x="24" y="467"/>
                    <a:pt x="24" y="467"/>
                  </a:cubicBezTo>
                  <a:cubicBezTo>
                    <a:pt x="24" y="490"/>
                    <a:pt x="41" y="519"/>
                    <a:pt x="61" y="531"/>
                  </a:cubicBezTo>
                  <a:cubicBezTo>
                    <a:pt x="452" y="757"/>
                    <a:pt x="452" y="757"/>
                    <a:pt x="452" y="757"/>
                  </a:cubicBezTo>
                  <a:cubicBezTo>
                    <a:pt x="459" y="761"/>
                    <a:pt x="466" y="762"/>
                    <a:pt x="470" y="760"/>
                  </a:cubicBezTo>
                  <a:cubicBezTo>
                    <a:pt x="475" y="757"/>
                    <a:pt x="477" y="751"/>
                    <a:pt x="477" y="742"/>
                  </a:cubicBezTo>
                  <a:cubicBezTo>
                    <a:pt x="477" y="321"/>
                    <a:pt x="477" y="321"/>
                    <a:pt x="477" y="321"/>
                  </a:cubicBezTo>
                  <a:cubicBezTo>
                    <a:pt x="477" y="297"/>
                    <a:pt x="460" y="268"/>
                    <a:pt x="440" y="256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4" y="28"/>
                    <a:pt x="40" y="26"/>
                    <a:pt x="36" y="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Freeform 2340">
              <a:extLst>
                <a:ext uri="{FF2B5EF4-FFF2-40B4-BE49-F238E27FC236}">
                  <a16:creationId xmlns:a16="http://schemas.microsoft.com/office/drawing/2014/main" id="{D0280E36-8FCC-48C8-8DB1-176365F24C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3" y="3719"/>
              <a:ext cx="32" cy="40"/>
            </a:xfrm>
            <a:custGeom>
              <a:avLst/>
              <a:gdLst>
                <a:gd name="T0" fmla="*/ 79 w 117"/>
                <a:gd name="T1" fmla="*/ 145 h 145"/>
                <a:gd name="T2" fmla="*/ 53 w 117"/>
                <a:gd name="T3" fmla="*/ 137 h 145"/>
                <a:gd name="T4" fmla="*/ 0 w 117"/>
                <a:gd name="T5" fmla="*/ 47 h 145"/>
                <a:gd name="T6" fmla="*/ 20 w 117"/>
                <a:gd name="T7" fmla="*/ 7 h 145"/>
                <a:gd name="T8" fmla="*/ 65 w 117"/>
                <a:gd name="T9" fmla="*/ 10 h 145"/>
                <a:gd name="T10" fmla="*/ 117 w 117"/>
                <a:gd name="T11" fmla="*/ 100 h 145"/>
                <a:gd name="T12" fmla="*/ 97 w 117"/>
                <a:gd name="T13" fmla="*/ 141 h 145"/>
                <a:gd name="T14" fmla="*/ 79 w 117"/>
                <a:gd name="T15" fmla="*/ 145 h 145"/>
                <a:gd name="T16" fmla="*/ 38 w 117"/>
                <a:gd name="T17" fmla="*/ 26 h 145"/>
                <a:gd name="T18" fmla="*/ 32 w 117"/>
                <a:gd name="T19" fmla="*/ 28 h 145"/>
                <a:gd name="T20" fmla="*/ 24 w 117"/>
                <a:gd name="T21" fmla="*/ 47 h 145"/>
                <a:gd name="T22" fmla="*/ 65 w 117"/>
                <a:gd name="T23" fmla="*/ 116 h 145"/>
                <a:gd name="T24" fmla="*/ 85 w 117"/>
                <a:gd name="T25" fmla="*/ 120 h 145"/>
                <a:gd name="T26" fmla="*/ 93 w 117"/>
                <a:gd name="T27" fmla="*/ 100 h 145"/>
                <a:gd name="T28" fmla="*/ 53 w 117"/>
                <a:gd name="T29" fmla="*/ 31 h 145"/>
                <a:gd name="T30" fmla="*/ 38 w 117"/>
                <a:gd name="T31" fmla="*/ 2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" h="145">
                  <a:moveTo>
                    <a:pt x="79" y="145"/>
                  </a:moveTo>
                  <a:cubicBezTo>
                    <a:pt x="71" y="145"/>
                    <a:pt x="62" y="143"/>
                    <a:pt x="53" y="137"/>
                  </a:cubicBezTo>
                  <a:cubicBezTo>
                    <a:pt x="23" y="120"/>
                    <a:pt x="0" y="81"/>
                    <a:pt x="0" y="47"/>
                  </a:cubicBezTo>
                  <a:cubicBezTo>
                    <a:pt x="0" y="28"/>
                    <a:pt x="7" y="14"/>
                    <a:pt x="20" y="7"/>
                  </a:cubicBezTo>
                  <a:cubicBezTo>
                    <a:pt x="32" y="0"/>
                    <a:pt x="48" y="1"/>
                    <a:pt x="65" y="10"/>
                  </a:cubicBezTo>
                  <a:cubicBezTo>
                    <a:pt x="94" y="27"/>
                    <a:pt x="117" y="67"/>
                    <a:pt x="117" y="100"/>
                  </a:cubicBezTo>
                  <a:cubicBezTo>
                    <a:pt x="117" y="119"/>
                    <a:pt x="110" y="133"/>
                    <a:pt x="97" y="141"/>
                  </a:cubicBezTo>
                  <a:cubicBezTo>
                    <a:pt x="92" y="144"/>
                    <a:pt x="86" y="145"/>
                    <a:pt x="79" y="145"/>
                  </a:cubicBezTo>
                  <a:close/>
                  <a:moveTo>
                    <a:pt x="38" y="26"/>
                  </a:moveTo>
                  <a:cubicBezTo>
                    <a:pt x="36" y="26"/>
                    <a:pt x="34" y="27"/>
                    <a:pt x="32" y="28"/>
                  </a:cubicBezTo>
                  <a:cubicBezTo>
                    <a:pt x="27" y="30"/>
                    <a:pt x="24" y="37"/>
                    <a:pt x="24" y="47"/>
                  </a:cubicBezTo>
                  <a:cubicBezTo>
                    <a:pt x="24" y="72"/>
                    <a:pt x="43" y="104"/>
                    <a:pt x="65" y="116"/>
                  </a:cubicBezTo>
                  <a:cubicBezTo>
                    <a:pt x="73" y="121"/>
                    <a:pt x="80" y="123"/>
                    <a:pt x="85" y="120"/>
                  </a:cubicBezTo>
                  <a:cubicBezTo>
                    <a:pt x="90" y="117"/>
                    <a:pt x="93" y="110"/>
                    <a:pt x="93" y="100"/>
                  </a:cubicBezTo>
                  <a:cubicBezTo>
                    <a:pt x="93" y="75"/>
                    <a:pt x="74" y="43"/>
                    <a:pt x="53" y="31"/>
                  </a:cubicBezTo>
                  <a:cubicBezTo>
                    <a:pt x="47" y="28"/>
                    <a:pt x="42" y="26"/>
                    <a:pt x="38" y="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2341">
              <a:extLst>
                <a:ext uri="{FF2B5EF4-FFF2-40B4-BE49-F238E27FC236}">
                  <a16:creationId xmlns:a16="http://schemas.microsoft.com/office/drawing/2014/main" id="{B268E83E-19C7-4F4B-BCCC-74AB37084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6" y="3553"/>
              <a:ext cx="106" cy="156"/>
            </a:xfrm>
            <a:custGeom>
              <a:avLst/>
              <a:gdLst>
                <a:gd name="T0" fmla="*/ 371 w 383"/>
                <a:gd name="T1" fmla="*/ 562 h 562"/>
                <a:gd name="T2" fmla="*/ 359 w 383"/>
                <a:gd name="T3" fmla="*/ 550 h 562"/>
                <a:gd name="T4" fmla="*/ 359 w 383"/>
                <a:gd name="T5" fmla="*/ 355 h 562"/>
                <a:gd name="T6" fmla="*/ 186 w 383"/>
                <a:gd name="T7" fmla="*/ 55 h 562"/>
                <a:gd name="T8" fmla="*/ 71 w 383"/>
                <a:gd name="T9" fmla="*/ 42 h 562"/>
                <a:gd name="T10" fmla="*/ 24 w 383"/>
                <a:gd name="T11" fmla="*/ 148 h 562"/>
                <a:gd name="T12" fmla="*/ 24 w 383"/>
                <a:gd name="T13" fmla="*/ 344 h 562"/>
                <a:gd name="T14" fmla="*/ 12 w 383"/>
                <a:gd name="T15" fmla="*/ 356 h 562"/>
                <a:gd name="T16" fmla="*/ 0 w 383"/>
                <a:gd name="T17" fmla="*/ 344 h 562"/>
                <a:gd name="T18" fmla="*/ 0 w 383"/>
                <a:gd name="T19" fmla="*/ 148 h 562"/>
                <a:gd name="T20" fmla="*/ 59 w 383"/>
                <a:gd name="T21" fmla="*/ 22 h 562"/>
                <a:gd name="T22" fmla="*/ 198 w 383"/>
                <a:gd name="T23" fmla="*/ 34 h 562"/>
                <a:gd name="T24" fmla="*/ 383 w 383"/>
                <a:gd name="T25" fmla="*/ 355 h 562"/>
                <a:gd name="T26" fmla="*/ 383 w 383"/>
                <a:gd name="T27" fmla="*/ 550 h 562"/>
                <a:gd name="T28" fmla="*/ 371 w 383"/>
                <a:gd name="T29" fmla="*/ 56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3" h="562">
                  <a:moveTo>
                    <a:pt x="371" y="562"/>
                  </a:moveTo>
                  <a:cubicBezTo>
                    <a:pt x="364" y="562"/>
                    <a:pt x="359" y="557"/>
                    <a:pt x="359" y="550"/>
                  </a:cubicBezTo>
                  <a:cubicBezTo>
                    <a:pt x="359" y="355"/>
                    <a:pt x="359" y="355"/>
                    <a:pt x="359" y="355"/>
                  </a:cubicBezTo>
                  <a:cubicBezTo>
                    <a:pt x="359" y="245"/>
                    <a:pt x="281" y="110"/>
                    <a:pt x="186" y="55"/>
                  </a:cubicBezTo>
                  <a:cubicBezTo>
                    <a:pt x="142" y="30"/>
                    <a:pt x="101" y="25"/>
                    <a:pt x="71" y="42"/>
                  </a:cubicBezTo>
                  <a:cubicBezTo>
                    <a:pt x="41" y="60"/>
                    <a:pt x="24" y="97"/>
                    <a:pt x="24" y="148"/>
                  </a:cubicBezTo>
                  <a:cubicBezTo>
                    <a:pt x="24" y="344"/>
                    <a:pt x="24" y="344"/>
                    <a:pt x="24" y="344"/>
                  </a:cubicBezTo>
                  <a:cubicBezTo>
                    <a:pt x="24" y="350"/>
                    <a:pt x="19" y="356"/>
                    <a:pt x="12" y="356"/>
                  </a:cubicBezTo>
                  <a:cubicBezTo>
                    <a:pt x="6" y="356"/>
                    <a:pt x="0" y="350"/>
                    <a:pt x="0" y="344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8"/>
                    <a:pt x="21" y="43"/>
                    <a:pt x="59" y="22"/>
                  </a:cubicBezTo>
                  <a:cubicBezTo>
                    <a:pt x="97" y="0"/>
                    <a:pt x="146" y="4"/>
                    <a:pt x="198" y="34"/>
                  </a:cubicBezTo>
                  <a:cubicBezTo>
                    <a:pt x="300" y="93"/>
                    <a:pt x="383" y="237"/>
                    <a:pt x="383" y="355"/>
                  </a:cubicBezTo>
                  <a:cubicBezTo>
                    <a:pt x="383" y="550"/>
                    <a:pt x="383" y="550"/>
                    <a:pt x="383" y="550"/>
                  </a:cubicBezTo>
                  <a:cubicBezTo>
                    <a:pt x="383" y="557"/>
                    <a:pt x="377" y="562"/>
                    <a:pt x="371" y="56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Freeform 2342">
              <a:extLst>
                <a:ext uri="{FF2B5EF4-FFF2-40B4-BE49-F238E27FC236}">
                  <a16:creationId xmlns:a16="http://schemas.microsoft.com/office/drawing/2014/main" id="{4DA73E18-0BD3-46A7-AA34-183014AE7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6" y="3579"/>
              <a:ext cx="67" cy="119"/>
            </a:xfrm>
            <a:custGeom>
              <a:avLst/>
              <a:gdLst>
                <a:gd name="T0" fmla="*/ 231 w 243"/>
                <a:gd name="T1" fmla="*/ 430 h 430"/>
                <a:gd name="T2" fmla="*/ 219 w 243"/>
                <a:gd name="T3" fmla="*/ 418 h 430"/>
                <a:gd name="T4" fmla="*/ 219 w 243"/>
                <a:gd name="T5" fmla="*/ 223 h 430"/>
                <a:gd name="T6" fmla="*/ 116 w 243"/>
                <a:gd name="T7" fmla="*/ 43 h 430"/>
                <a:gd name="T8" fmla="*/ 50 w 243"/>
                <a:gd name="T9" fmla="*/ 35 h 430"/>
                <a:gd name="T10" fmla="*/ 24 w 243"/>
                <a:gd name="T11" fmla="*/ 96 h 430"/>
                <a:gd name="T12" fmla="*/ 24 w 243"/>
                <a:gd name="T13" fmla="*/ 292 h 430"/>
                <a:gd name="T14" fmla="*/ 12 w 243"/>
                <a:gd name="T15" fmla="*/ 304 h 430"/>
                <a:gd name="T16" fmla="*/ 0 w 243"/>
                <a:gd name="T17" fmla="*/ 292 h 430"/>
                <a:gd name="T18" fmla="*/ 0 w 243"/>
                <a:gd name="T19" fmla="*/ 96 h 430"/>
                <a:gd name="T20" fmla="*/ 38 w 243"/>
                <a:gd name="T21" fmla="*/ 14 h 430"/>
                <a:gd name="T22" fmla="*/ 128 w 243"/>
                <a:gd name="T23" fmla="*/ 22 h 430"/>
                <a:gd name="T24" fmla="*/ 243 w 243"/>
                <a:gd name="T25" fmla="*/ 223 h 430"/>
                <a:gd name="T26" fmla="*/ 243 w 243"/>
                <a:gd name="T27" fmla="*/ 418 h 430"/>
                <a:gd name="T28" fmla="*/ 231 w 243"/>
                <a:gd name="T29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3" h="430">
                  <a:moveTo>
                    <a:pt x="231" y="430"/>
                  </a:moveTo>
                  <a:cubicBezTo>
                    <a:pt x="225" y="430"/>
                    <a:pt x="219" y="425"/>
                    <a:pt x="219" y="418"/>
                  </a:cubicBezTo>
                  <a:cubicBezTo>
                    <a:pt x="219" y="223"/>
                    <a:pt x="219" y="223"/>
                    <a:pt x="219" y="223"/>
                  </a:cubicBezTo>
                  <a:cubicBezTo>
                    <a:pt x="219" y="157"/>
                    <a:pt x="173" y="76"/>
                    <a:pt x="116" y="43"/>
                  </a:cubicBezTo>
                  <a:cubicBezTo>
                    <a:pt x="90" y="28"/>
                    <a:pt x="67" y="26"/>
                    <a:pt x="50" y="35"/>
                  </a:cubicBezTo>
                  <a:cubicBezTo>
                    <a:pt x="33" y="45"/>
                    <a:pt x="24" y="67"/>
                    <a:pt x="24" y="96"/>
                  </a:cubicBezTo>
                  <a:cubicBezTo>
                    <a:pt x="24" y="292"/>
                    <a:pt x="24" y="292"/>
                    <a:pt x="24" y="292"/>
                  </a:cubicBezTo>
                  <a:cubicBezTo>
                    <a:pt x="24" y="298"/>
                    <a:pt x="18" y="304"/>
                    <a:pt x="12" y="304"/>
                  </a:cubicBezTo>
                  <a:cubicBezTo>
                    <a:pt x="5" y="304"/>
                    <a:pt x="0" y="298"/>
                    <a:pt x="0" y="29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58"/>
                    <a:pt x="13" y="29"/>
                    <a:pt x="38" y="14"/>
                  </a:cubicBezTo>
                  <a:cubicBezTo>
                    <a:pt x="62" y="0"/>
                    <a:pt x="94" y="3"/>
                    <a:pt x="128" y="22"/>
                  </a:cubicBezTo>
                  <a:cubicBezTo>
                    <a:pt x="191" y="59"/>
                    <a:pt x="243" y="149"/>
                    <a:pt x="243" y="223"/>
                  </a:cubicBezTo>
                  <a:cubicBezTo>
                    <a:pt x="243" y="418"/>
                    <a:pt x="243" y="418"/>
                    <a:pt x="243" y="418"/>
                  </a:cubicBezTo>
                  <a:cubicBezTo>
                    <a:pt x="243" y="425"/>
                    <a:pt x="238" y="430"/>
                    <a:pt x="231" y="43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Freeform 2343">
              <a:extLst>
                <a:ext uri="{FF2B5EF4-FFF2-40B4-BE49-F238E27FC236}">
                  <a16:creationId xmlns:a16="http://schemas.microsoft.com/office/drawing/2014/main" id="{2D7BC903-B75A-4C04-A0A9-A08823DA6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6" y="3751"/>
              <a:ext cx="7" cy="27"/>
            </a:xfrm>
            <a:custGeom>
              <a:avLst/>
              <a:gdLst>
                <a:gd name="T0" fmla="*/ 12 w 24"/>
                <a:gd name="T1" fmla="*/ 100 h 100"/>
                <a:gd name="T2" fmla="*/ 0 w 24"/>
                <a:gd name="T3" fmla="*/ 88 h 100"/>
                <a:gd name="T4" fmla="*/ 0 w 24"/>
                <a:gd name="T5" fmla="*/ 12 h 100"/>
                <a:gd name="T6" fmla="*/ 12 w 24"/>
                <a:gd name="T7" fmla="*/ 0 h 100"/>
                <a:gd name="T8" fmla="*/ 24 w 24"/>
                <a:gd name="T9" fmla="*/ 12 h 100"/>
                <a:gd name="T10" fmla="*/ 24 w 24"/>
                <a:gd name="T11" fmla="*/ 88 h 100"/>
                <a:gd name="T12" fmla="*/ 12 w 24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00">
                  <a:moveTo>
                    <a:pt x="12" y="100"/>
                  </a:moveTo>
                  <a:cubicBezTo>
                    <a:pt x="5" y="100"/>
                    <a:pt x="0" y="95"/>
                    <a:pt x="0" y="88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95"/>
                    <a:pt x="18" y="100"/>
                    <a:pt x="12" y="10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4" name="Freeform 2344">
              <a:extLst>
                <a:ext uri="{FF2B5EF4-FFF2-40B4-BE49-F238E27FC236}">
                  <a16:creationId xmlns:a16="http://schemas.microsoft.com/office/drawing/2014/main" id="{6F136CE0-AD87-4991-BC9D-76CFC4D2E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8" y="3430"/>
              <a:ext cx="21" cy="66"/>
            </a:xfrm>
            <a:custGeom>
              <a:avLst/>
              <a:gdLst>
                <a:gd name="T0" fmla="*/ 21 w 21"/>
                <a:gd name="T1" fmla="*/ 0 h 66"/>
                <a:gd name="T2" fmla="*/ 21 w 21"/>
                <a:gd name="T3" fmla="*/ 54 h 66"/>
                <a:gd name="T4" fmla="*/ 0 w 21"/>
                <a:gd name="T5" fmla="*/ 66 h 66"/>
                <a:gd name="T6" fmla="*/ 0 w 21"/>
                <a:gd name="T7" fmla="*/ 12 h 66"/>
                <a:gd name="T8" fmla="*/ 21 w 21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66">
                  <a:moveTo>
                    <a:pt x="21" y="0"/>
                  </a:moveTo>
                  <a:lnTo>
                    <a:pt x="21" y="54"/>
                  </a:lnTo>
                  <a:lnTo>
                    <a:pt x="0" y="66"/>
                  </a:lnTo>
                  <a:lnTo>
                    <a:pt x="0" y="12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Freeform 2345">
              <a:extLst>
                <a:ext uri="{FF2B5EF4-FFF2-40B4-BE49-F238E27FC236}">
                  <a16:creationId xmlns:a16="http://schemas.microsoft.com/office/drawing/2014/main" id="{EC64D230-42AB-4C29-852F-7729CB683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" y="3409"/>
              <a:ext cx="59" cy="33"/>
            </a:xfrm>
            <a:custGeom>
              <a:avLst/>
              <a:gdLst>
                <a:gd name="T0" fmla="*/ 59 w 59"/>
                <a:gd name="T1" fmla="*/ 21 h 33"/>
                <a:gd name="T2" fmla="*/ 38 w 59"/>
                <a:gd name="T3" fmla="*/ 33 h 33"/>
                <a:gd name="T4" fmla="*/ 0 w 59"/>
                <a:gd name="T5" fmla="*/ 12 h 33"/>
                <a:gd name="T6" fmla="*/ 21 w 59"/>
                <a:gd name="T7" fmla="*/ 0 h 33"/>
                <a:gd name="T8" fmla="*/ 59 w 59"/>
                <a:gd name="T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33">
                  <a:moveTo>
                    <a:pt x="59" y="21"/>
                  </a:moveTo>
                  <a:lnTo>
                    <a:pt x="38" y="33"/>
                  </a:lnTo>
                  <a:lnTo>
                    <a:pt x="0" y="12"/>
                  </a:lnTo>
                  <a:lnTo>
                    <a:pt x="21" y="0"/>
                  </a:lnTo>
                  <a:lnTo>
                    <a:pt x="59" y="21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2346">
              <a:extLst>
                <a:ext uri="{FF2B5EF4-FFF2-40B4-BE49-F238E27FC236}">
                  <a16:creationId xmlns:a16="http://schemas.microsoft.com/office/drawing/2014/main" id="{AE6C6F43-FC3F-45B8-AE85-D8F4E0C3E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" y="3421"/>
              <a:ext cx="38" cy="75"/>
            </a:xfrm>
            <a:custGeom>
              <a:avLst/>
              <a:gdLst>
                <a:gd name="T0" fmla="*/ 38 w 38"/>
                <a:gd name="T1" fmla="*/ 21 h 75"/>
                <a:gd name="T2" fmla="*/ 38 w 38"/>
                <a:gd name="T3" fmla="*/ 75 h 75"/>
                <a:gd name="T4" fmla="*/ 0 w 38"/>
                <a:gd name="T5" fmla="*/ 53 h 75"/>
                <a:gd name="T6" fmla="*/ 0 w 38"/>
                <a:gd name="T7" fmla="*/ 0 h 75"/>
                <a:gd name="T8" fmla="*/ 38 w 38"/>
                <a:gd name="T9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75">
                  <a:moveTo>
                    <a:pt x="38" y="21"/>
                  </a:moveTo>
                  <a:lnTo>
                    <a:pt x="38" y="75"/>
                  </a:lnTo>
                  <a:lnTo>
                    <a:pt x="0" y="53"/>
                  </a:lnTo>
                  <a:lnTo>
                    <a:pt x="0" y="0"/>
                  </a:lnTo>
                  <a:lnTo>
                    <a:pt x="38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Freeform 2347">
              <a:extLst>
                <a:ext uri="{FF2B5EF4-FFF2-40B4-BE49-F238E27FC236}">
                  <a16:creationId xmlns:a16="http://schemas.microsoft.com/office/drawing/2014/main" id="{E20FF8E1-7C95-4A5A-8DAE-F26AE2F5C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" y="3383"/>
              <a:ext cx="41" cy="117"/>
            </a:xfrm>
            <a:custGeom>
              <a:avLst/>
              <a:gdLst>
                <a:gd name="T0" fmla="*/ 41 w 41"/>
                <a:gd name="T1" fmla="*/ 0 h 117"/>
                <a:gd name="T2" fmla="*/ 41 w 41"/>
                <a:gd name="T3" fmla="*/ 31 h 117"/>
                <a:gd name="T4" fmla="*/ 32 w 41"/>
                <a:gd name="T5" fmla="*/ 26 h 117"/>
                <a:gd name="T6" fmla="*/ 11 w 41"/>
                <a:gd name="T7" fmla="*/ 38 h 117"/>
                <a:gd name="T8" fmla="*/ 11 w 41"/>
                <a:gd name="T9" fmla="*/ 91 h 117"/>
                <a:gd name="T10" fmla="*/ 28 w 41"/>
                <a:gd name="T11" fmla="*/ 101 h 117"/>
                <a:gd name="T12" fmla="*/ 0 w 41"/>
                <a:gd name="T13" fmla="*/ 117 h 117"/>
                <a:gd name="T14" fmla="*/ 0 w 41"/>
                <a:gd name="T15" fmla="*/ 24 h 117"/>
                <a:gd name="T16" fmla="*/ 41 w 41"/>
                <a:gd name="T1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117">
                  <a:moveTo>
                    <a:pt x="41" y="0"/>
                  </a:moveTo>
                  <a:lnTo>
                    <a:pt x="41" y="31"/>
                  </a:lnTo>
                  <a:lnTo>
                    <a:pt x="32" y="26"/>
                  </a:lnTo>
                  <a:lnTo>
                    <a:pt x="11" y="38"/>
                  </a:lnTo>
                  <a:lnTo>
                    <a:pt x="11" y="91"/>
                  </a:lnTo>
                  <a:lnTo>
                    <a:pt x="28" y="101"/>
                  </a:lnTo>
                  <a:lnTo>
                    <a:pt x="0" y="117"/>
                  </a:lnTo>
                  <a:lnTo>
                    <a:pt x="0" y="24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Freeform 2348">
              <a:extLst>
                <a:ext uri="{FF2B5EF4-FFF2-40B4-BE49-F238E27FC236}">
                  <a16:creationId xmlns:a16="http://schemas.microsoft.com/office/drawing/2014/main" id="{8EEE6454-7CA3-4854-AA3E-2450D7228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6" y="3285"/>
              <a:ext cx="224" cy="122"/>
            </a:xfrm>
            <a:custGeom>
              <a:avLst/>
              <a:gdLst>
                <a:gd name="T0" fmla="*/ 811 w 811"/>
                <a:gd name="T1" fmla="*/ 355 h 441"/>
                <a:gd name="T2" fmla="*/ 662 w 811"/>
                <a:gd name="T3" fmla="*/ 441 h 441"/>
                <a:gd name="T4" fmla="*/ 81 w 811"/>
                <a:gd name="T5" fmla="*/ 105 h 441"/>
                <a:gd name="T6" fmla="*/ 30 w 811"/>
                <a:gd name="T7" fmla="*/ 90 h 441"/>
                <a:gd name="T8" fmla="*/ 0 w 811"/>
                <a:gd name="T9" fmla="*/ 98 h 441"/>
                <a:gd name="T10" fmla="*/ 146 w 811"/>
                <a:gd name="T11" fmla="*/ 13 h 441"/>
                <a:gd name="T12" fmla="*/ 229 w 811"/>
                <a:gd name="T13" fmla="*/ 20 h 441"/>
                <a:gd name="T14" fmla="*/ 811 w 811"/>
                <a:gd name="T15" fmla="*/ 355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1" h="441">
                  <a:moveTo>
                    <a:pt x="811" y="355"/>
                  </a:moveTo>
                  <a:cubicBezTo>
                    <a:pt x="662" y="441"/>
                    <a:pt x="662" y="441"/>
                    <a:pt x="662" y="441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63" y="95"/>
                    <a:pt x="46" y="90"/>
                    <a:pt x="30" y="90"/>
                  </a:cubicBezTo>
                  <a:cubicBezTo>
                    <a:pt x="19" y="90"/>
                    <a:pt x="9" y="93"/>
                    <a:pt x="0" y="98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69" y="0"/>
                    <a:pt x="197" y="1"/>
                    <a:pt x="229" y="20"/>
                  </a:cubicBezTo>
                  <a:lnTo>
                    <a:pt x="811" y="355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2349">
              <a:extLst>
                <a:ext uri="{FF2B5EF4-FFF2-40B4-BE49-F238E27FC236}">
                  <a16:creationId xmlns:a16="http://schemas.microsoft.com/office/drawing/2014/main" id="{52EE220B-6867-44E8-A07A-23C1593606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3" y="3310"/>
              <a:ext cx="196" cy="190"/>
            </a:xfrm>
            <a:custGeom>
              <a:avLst/>
              <a:gdLst>
                <a:gd name="T0" fmla="*/ 708 w 708"/>
                <a:gd name="T1" fmla="*/ 351 h 689"/>
                <a:gd name="T2" fmla="*/ 708 w 708"/>
                <a:gd name="T3" fmla="*/ 689 h 689"/>
                <a:gd name="T4" fmla="*/ 127 w 708"/>
                <a:gd name="T5" fmla="*/ 353 h 689"/>
                <a:gd name="T6" fmla="*/ 0 w 708"/>
                <a:gd name="T7" fmla="*/ 111 h 689"/>
                <a:gd name="T8" fmla="*/ 44 w 708"/>
                <a:gd name="T9" fmla="*/ 9 h 689"/>
                <a:gd name="T10" fmla="*/ 46 w 708"/>
                <a:gd name="T11" fmla="*/ 8 h 689"/>
                <a:gd name="T12" fmla="*/ 76 w 708"/>
                <a:gd name="T13" fmla="*/ 0 h 689"/>
                <a:gd name="T14" fmla="*/ 127 w 708"/>
                <a:gd name="T15" fmla="*/ 15 h 689"/>
                <a:gd name="T16" fmla="*/ 708 w 708"/>
                <a:gd name="T17" fmla="*/ 351 h 689"/>
                <a:gd name="T18" fmla="*/ 468 w 708"/>
                <a:gd name="T19" fmla="*/ 434 h 689"/>
                <a:gd name="T20" fmla="*/ 494 w 708"/>
                <a:gd name="T21" fmla="*/ 396 h 689"/>
                <a:gd name="T22" fmla="*/ 451 w 708"/>
                <a:gd name="T23" fmla="*/ 314 h 689"/>
                <a:gd name="T24" fmla="*/ 184 w 708"/>
                <a:gd name="T25" fmla="*/ 160 h 689"/>
                <a:gd name="T26" fmla="*/ 167 w 708"/>
                <a:gd name="T27" fmla="*/ 155 h 689"/>
                <a:gd name="T28" fmla="*/ 141 w 708"/>
                <a:gd name="T29" fmla="*/ 193 h 689"/>
                <a:gd name="T30" fmla="*/ 184 w 708"/>
                <a:gd name="T31" fmla="*/ 275 h 689"/>
                <a:gd name="T32" fmla="*/ 451 w 708"/>
                <a:gd name="T33" fmla="*/ 429 h 689"/>
                <a:gd name="T34" fmla="*/ 468 w 708"/>
                <a:gd name="T35" fmla="*/ 434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8" h="689">
                  <a:moveTo>
                    <a:pt x="708" y="351"/>
                  </a:moveTo>
                  <a:cubicBezTo>
                    <a:pt x="708" y="689"/>
                    <a:pt x="708" y="689"/>
                    <a:pt x="708" y="689"/>
                  </a:cubicBezTo>
                  <a:cubicBezTo>
                    <a:pt x="127" y="353"/>
                    <a:pt x="127" y="353"/>
                    <a:pt x="127" y="353"/>
                  </a:cubicBezTo>
                  <a:cubicBezTo>
                    <a:pt x="57" y="313"/>
                    <a:pt x="0" y="204"/>
                    <a:pt x="0" y="111"/>
                  </a:cubicBezTo>
                  <a:cubicBezTo>
                    <a:pt x="0" y="85"/>
                    <a:pt x="5" y="63"/>
                    <a:pt x="44" y="9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55" y="3"/>
                    <a:pt x="65" y="0"/>
                    <a:pt x="76" y="0"/>
                  </a:cubicBezTo>
                  <a:cubicBezTo>
                    <a:pt x="92" y="0"/>
                    <a:pt x="109" y="5"/>
                    <a:pt x="127" y="15"/>
                  </a:cubicBezTo>
                  <a:lnTo>
                    <a:pt x="708" y="351"/>
                  </a:lnTo>
                  <a:close/>
                  <a:moveTo>
                    <a:pt x="468" y="434"/>
                  </a:moveTo>
                  <a:cubicBezTo>
                    <a:pt x="484" y="434"/>
                    <a:pt x="494" y="420"/>
                    <a:pt x="494" y="396"/>
                  </a:cubicBezTo>
                  <a:cubicBezTo>
                    <a:pt x="494" y="365"/>
                    <a:pt x="475" y="328"/>
                    <a:pt x="451" y="314"/>
                  </a:cubicBezTo>
                  <a:cubicBezTo>
                    <a:pt x="184" y="160"/>
                    <a:pt x="184" y="160"/>
                    <a:pt x="184" y="160"/>
                  </a:cubicBezTo>
                  <a:cubicBezTo>
                    <a:pt x="178" y="157"/>
                    <a:pt x="172" y="155"/>
                    <a:pt x="167" y="155"/>
                  </a:cubicBezTo>
                  <a:cubicBezTo>
                    <a:pt x="152" y="155"/>
                    <a:pt x="141" y="169"/>
                    <a:pt x="141" y="193"/>
                  </a:cubicBezTo>
                  <a:cubicBezTo>
                    <a:pt x="141" y="224"/>
                    <a:pt x="161" y="261"/>
                    <a:pt x="184" y="275"/>
                  </a:cubicBezTo>
                  <a:cubicBezTo>
                    <a:pt x="451" y="429"/>
                    <a:pt x="451" y="429"/>
                    <a:pt x="451" y="429"/>
                  </a:cubicBezTo>
                  <a:cubicBezTo>
                    <a:pt x="457" y="432"/>
                    <a:pt x="463" y="434"/>
                    <a:pt x="468" y="4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Freeform 2350">
              <a:extLst>
                <a:ext uri="{FF2B5EF4-FFF2-40B4-BE49-F238E27FC236}">
                  <a16:creationId xmlns:a16="http://schemas.microsoft.com/office/drawing/2014/main" id="{5B45C888-D523-4663-91A8-FCEEEAA43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" y="3353"/>
              <a:ext cx="98" cy="77"/>
            </a:xfrm>
            <a:custGeom>
              <a:avLst/>
              <a:gdLst>
                <a:gd name="T0" fmla="*/ 353 w 353"/>
                <a:gd name="T1" fmla="*/ 241 h 279"/>
                <a:gd name="T2" fmla="*/ 327 w 353"/>
                <a:gd name="T3" fmla="*/ 279 h 279"/>
                <a:gd name="T4" fmla="*/ 310 w 353"/>
                <a:gd name="T5" fmla="*/ 274 h 279"/>
                <a:gd name="T6" fmla="*/ 43 w 353"/>
                <a:gd name="T7" fmla="*/ 120 h 279"/>
                <a:gd name="T8" fmla="*/ 0 w 353"/>
                <a:gd name="T9" fmla="*/ 38 h 279"/>
                <a:gd name="T10" fmla="*/ 26 w 353"/>
                <a:gd name="T11" fmla="*/ 0 h 279"/>
                <a:gd name="T12" fmla="*/ 43 w 353"/>
                <a:gd name="T13" fmla="*/ 5 h 279"/>
                <a:gd name="T14" fmla="*/ 310 w 353"/>
                <a:gd name="T15" fmla="*/ 159 h 279"/>
                <a:gd name="T16" fmla="*/ 353 w 353"/>
                <a:gd name="T17" fmla="*/ 24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79">
                  <a:moveTo>
                    <a:pt x="353" y="241"/>
                  </a:moveTo>
                  <a:cubicBezTo>
                    <a:pt x="353" y="265"/>
                    <a:pt x="343" y="279"/>
                    <a:pt x="327" y="279"/>
                  </a:cubicBezTo>
                  <a:cubicBezTo>
                    <a:pt x="322" y="279"/>
                    <a:pt x="316" y="277"/>
                    <a:pt x="310" y="274"/>
                  </a:cubicBezTo>
                  <a:cubicBezTo>
                    <a:pt x="43" y="120"/>
                    <a:pt x="43" y="120"/>
                    <a:pt x="43" y="120"/>
                  </a:cubicBezTo>
                  <a:cubicBezTo>
                    <a:pt x="20" y="106"/>
                    <a:pt x="0" y="69"/>
                    <a:pt x="0" y="38"/>
                  </a:cubicBezTo>
                  <a:cubicBezTo>
                    <a:pt x="0" y="14"/>
                    <a:pt x="11" y="0"/>
                    <a:pt x="26" y="0"/>
                  </a:cubicBezTo>
                  <a:cubicBezTo>
                    <a:pt x="31" y="0"/>
                    <a:pt x="37" y="2"/>
                    <a:pt x="43" y="5"/>
                  </a:cubicBezTo>
                  <a:cubicBezTo>
                    <a:pt x="310" y="159"/>
                    <a:pt x="310" y="159"/>
                    <a:pt x="310" y="159"/>
                  </a:cubicBezTo>
                  <a:cubicBezTo>
                    <a:pt x="334" y="173"/>
                    <a:pt x="353" y="210"/>
                    <a:pt x="353" y="241"/>
                  </a:cubicBez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Freeform 2351">
              <a:extLst>
                <a:ext uri="{FF2B5EF4-FFF2-40B4-BE49-F238E27FC236}">
                  <a16:creationId xmlns:a16="http://schemas.microsoft.com/office/drawing/2014/main" id="{E7B4132D-7FFC-48E8-B976-84BB81755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0" y="3305"/>
              <a:ext cx="202" cy="199"/>
            </a:xfrm>
            <a:custGeom>
              <a:avLst/>
              <a:gdLst>
                <a:gd name="T0" fmla="*/ 720 w 732"/>
                <a:gd name="T1" fmla="*/ 718 h 718"/>
                <a:gd name="T2" fmla="*/ 714 w 732"/>
                <a:gd name="T3" fmla="*/ 716 h 718"/>
                <a:gd name="T4" fmla="*/ 133 w 732"/>
                <a:gd name="T5" fmla="*/ 380 h 718"/>
                <a:gd name="T6" fmla="*/ 0 w 732"/>
                <a:gd name="T7" fmla="*/ 128 h 718"/>
                <a:gd name="T8" fmla="*/ 46 w 732"/>
                <a:gd name="T9" fmla="*/ 19 h 718"/>
                <a:gd name="T10" fmla="*/ 51 w 732"/>
                <a:gd name="T11" fmla="*/ 15 h 718"/>
                <a:gd name="T12" fmla="*/ 52 w 732"/>
                <a:gd name="T13" fmla="*/ 14 h 718"/>
                <a:gd name="T14" fmla="*/ 145 w 732"/>
                <a:gd name="T15" fmla="*/ 22 h 718"/>
                <a:gd name="T16" fmla="*/ 726 w 732"/>
                <a:gd name="T17" fmla="*/ 358 h 718"/>
                <a:gd name="T18" fmla="*/ 732 w 732"/>
                <a:gd name="T19" fmla="*/ 368 h 718"/>
                <a:gd name="T20" fmla="*/ 732 w 732"/>
                <a:gd name="T21" fmla="*/ 706 h 718"/>
                <a:gd name="T22" fmla="*/ 726 w 732"/>
                <a:gd name="T23" fmla="*/ 716 h 718"/>
                <a:gd name="T24" fmla="*/ 720 w 732"/>
                <a:gd name="T25" fmla="*/ 718 h 718"/>
                <a:gd name="T26" fmla="*/ 64 w 732"/>
                <a:gd name="T27" fmla="*/ 35 h 718"/>
                <a:gd name="T28" fmla="*/ 24 w 732"/>
                <a:gd name="T29" fmla="*/ 128 h 718"/>
                <a:gd name="T30" fmla="*/ 145 w 732"/>
                <a:gd name="T31" fmla="*/ 360 h 718"/>
                <a:gd name="T32" fmla="*/ 708 w 732"/>
                <a:gd name="T33" fmla="*/ 685 h 718"/>
                <a:gd name="T34" fmla="*/ 708 w 732"/>
                <a:gd name="T35" fmla="*/ 375 h 718"/>
                <a:gd name="T36" fmla="*/ 133 w 732"/>
                <a:gd name="T37" fmla="*/ 43 h 718"/>
                <a:gd name="T38" fmla="*/ 64 w 732"/>
                <a:gd name="T39" fmla="*/ 35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32" h="718">
                  <a:moveTo>
                    <a:pt x="720" y="718"/>
                  </a:moveTo>
                  <a:cubicBezTo>
                    <a:pt x="718" y="718"/>
                    <a:pt x="716" y="717"/>
                    <a:pt x="714" y="716"/>
                  </a:cubicBezTo>
                  <a:cubicBezTo>
                    <a:pt x="133" y="380"/>
                    <a:pt x="133" y="380"/>
                    <a:pt x="133" y="380"/>
                  </a:cubicBezTo>
                  <a:cubicBezTo>
                    <a:pt x="60" y="338"/>
                    <a:pt x="0" y="225"/>
                    <a:pt x="0" y="128"/>
                  </a:cubicBezTo>
                  <a:cubicBezTo>
                    <a:pt x="0" y="97"/>
                    <a:pt x="7" y="72"/>
                    <a:pt x="46" y="19"/>
                  </a:cubicBezTo>
                  <a:cubicBezTo>
                    <a:pt x="47" y="17"/>
                    <a:pt x="49" y="16"/>
                    <a:pt x="51" y="15"/>
                  </a:cubicBezTo>
                  <a:cubicBezTo>
                    <a:pt x="51" y="15"/>
                    <a:pt x="52" y="14"/>
                    <a:pt x="52" y="14"/>
                  </a:cubicBezTo>
                  <a:cubicBezTo>
                    <a:pt x="78" y="0"/>
                    <a:pt x="111" y="3"/>
                    <a:pt x="145" y="22"/>
                  </a:cubicBezTo>
                  <a:cubicBezTo>
                    <a:pt x="726" y="358"/>
                    <a:pt x="726" y="358"/>
                    <a:pt x="726" y="358"/>
                  </a:cubicBezTo>
                  <a:cubicBezTo>
                    <a:pt x="730" y="360"/>
                    <a:pt x="732" y="364"/>
                    <a:pt x="732" y="368"/>
                  </a:cubicBezTo>
                  <a:cubicBezTo>
                    <a:pt x="732" y="706"/>
                    <a:pt x="732" y="706"/>
                    <a:pt x="732" y="706"/>
                  </a:cubicBezTo>
                  <a:cubicBezTo>
                    <a:pt x="732" y="710"/>
                    <a:pt x="730" y="714"/>
                    <a:pt x="726" y="716"/>
                  </a:cubicBezTo>
                  <a:cubicBezTo>
                    <a:pt x="724" y="717"/>
                    <a:pt x="722" y="718"/>
                    <a:pt x="720" y="718"/>
                  </a:cubicBezTo>
                  <a:close/>
                  <a:moveTo>
                    <a:pt x="64" y="35"/>
                  </a:moveTo>
                  <a:cubicBezTo>
                    <a:pt x="27" y="86"/>
                    <a:pt x="24" y="106"/>
                    <a:pt x="24" y="128"/>
                  </a:cubicBezTo>
                  <a:cubicBezTo>
                    <a:pt x="24" y="217"/>
                    <a:pt x="78" y="321"/>
                    <a:pt x="145" y="360"/>
                  </a:cubicBezTo>
                  <a:cubicBezTo>
                    <a:pt x="708" y="685"/>
                    <a:pt x="708" y="685"/>
                    <a:pt x="708" y="685"/>
                  </a:cubicBezTo>
                  <a:cubicBezTo>
                    <a:pt x="708" y="375"/>
                    <a:pt x="708" y="375"/>
                    <a:pt x="708" y="375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07" y="28"/>
                    <a:pt x="83" y="25"/>
                    <a:pt x="64" y="3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2352">
              <a:extLst>
                <a:ext uri="{FF2B5EF4-FFF2-40B4-BE49-F238E27FC236}">
                  <a16:creationId xmlns:a16="http://schemas.microsoft.com/office/drawing/2014/main" id="{A36C5D1D-02B5-453C-8C6B-41A1A466F9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" y="3350"/>
              <a:ext cx="104" cy="83"/>
            </a:xfrm>
            <a:custGeom>
              <a:avLst/>
              <a:gdLst>
                <a:gd name="T0" fmla="*/ 339 w 377"/>
                <a:gd name="T1" fmla="*/ 303 h 303"/>
                <a:gd name="T2" fmla="*/ 316 w 377"/>
                <a:gd name="T3" fmla="*/ 296 h 303"/>
                <a:gd name="T4" fmla="*/ 49 w 377"/>
                <a:gd name="T5" fmla="*/ 142 h 303"/>
                <a:gd name="T6" fmla="*/ 0 w 377"/>
                <a:gd name="T7" fmla="*/ 50 h 303"/>
                <a:gd name="T8" fmla="*/ 38 w 377"/>
                <a:gd name="T9" fmla="*/ 0 h 303"/>
                <a:gd name="T10" fmla="*/ 61 w 377"/>
                <a:gd name="T11" fmla="*/ 7 h 303"/>
                <a:gd name="T12" fmla="*/ 328 w 377"/>
                <a:gd name="T13" fmla="*/ 161 h 303"/>
                <a:gd name="T14" fmla="*/ 377 w 377"/>
                <a:gd name="T15" fmla="*/ 253 h 303"/>
                <a:gd name="T16" fmla="*/ 339 w 377"/>
                <a:gd name="T17" fmla="*/ 303 h 303"/>
                <a:gd name="T18" fmla="*/ 38 w 377"/>
                <a:gd name="T19" fmla="*/ 24 h 303"/>
                <a:gd name="T20" fmla="*/ 24 w 377"/>
                <a:gd name="T21" fmla="*/ 50 h 303"/>
                <a:gd name="T22" fmla="*/ 61 w 377"/>
                <a:gd name="T23" fmla="*/ 121 h 303"/>
                <a:gd name="T24" fmla="*/ 328 w 377"/>
                <a:gd name="T25" fmla="*/ 275 h 303"/>
                <a:gd name="T26" fmla="*/ 328 w 377"/>
                <a:gd name="T27" fmla="*/ 275 h 303"/>
                <a:gd name="T28" fmla="*/ 339 w 377"/>
                <a:gd name="T29" fmla="*/ 279 h 303"/>
                <a:gd name="T30" fmla="*/ 353 w 377"/>
                <a:gd name="T31" fmla="*/ 253 h 303"/>
                <a:gd name="T32" fmla="*/ 316 w 377"/>
                <a:gd name="T33" fmla="*/ 182 h 303"/>
                <a:gd name="T34" fmla="*/ 49 w 377"/>
                <a:gd name="T35" fmla="*/ 28 h 303"/>
                <a:gd name="T36" fmla="*/ 38 w 377"/>
                <a:gd name="T37" fmla="*/ 24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7" h="303">
                  <a:moveTo>
                    <a:pt x="339" y="303"/>
                  </a:moveTo>
                  <a:cubicBezTo>
                    <a:pt x="332" y="303"/>
                    <a:pt x="324" y="301"/>
                    <a:pt x="316" y="296"/>
                  </a:cubicBezTo>
                  <a:cubicBezTo>
                    <a:pt x="49" y="142"/>
                    <a:pt x="49" y="142"/>
                    <a:pt x="49" y="142"/>
                  </a:cubicBezTo>
                  <a:cubicBezTo>
                    <a:pt x="22" y="126"/>
                    <a:pt x="0" y="86"/>
                    <a:pt x="0" y="50"/>
                  </a:cubicBezTo>
                  <a:cubicBezTo>
                    <a:pt x="0" y="15"/>
                    <a:pt x="19" y="0"/>
                    <a:pt x="38" y="0"/>
                  </a:cubicBezTo>
                  <a:cubicBezTo>
                    <a:pt x="46" y="0"/>
                    <a:pt x="53" y="2"/>
                    <a:pt x="61" y="7"/>
                  </a:cubicBezTo>
                  <a:cubicBezTo>
                    <a:pt x="328" y="161"/>
                    <a:pt x="328" y="161"/>
                    <a:pt x="328" y="161"/>
                  </a:cubicBezTo>
                  <a:cubicBezTo>
                    <a:pt x="356" y="177"/>
                    <a:pt x="377" y="217"/>
                    <a:pt x="377" y="253"/>
                  </a:cubicBezTo>
                  <a:cubicBezTo>
                    <a:pt x="377" y="288"/>
                    <a:pt x="358" y="303"/>
                    <a:pt x="339" y="303"/>
                  </a:cubicBezTo>
                  <a:close/>
                  <a:moveTo>
                    <a:pt x="38" y="24"/>
                  </a:moveTo>
                  <a:cubicBezTo>
                    <a:pt x="28" y="24"/>
                    <a:pt x="24" y="38"/>
                    <a:pt x="24" y="50"/>
                  </a:cubicBezTo>
                  <a:cubicBezTo>
                    <a:pt x="24" y="77"/>
                    <a:pt x="41" y="110"/>
                    <a:pt x="61" y="121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32" y="278"/>
                    <a:pt x="336" y="279"/>
                    <a:pt x="339" y="279"/>
                  </a:cubicBezTo>
                  <a:cubicBezTo>
                    <a:pt x="350" y="279"/>
                    <a:pt x="353" y="265"/>
                    <a:pt x="353" y="253"/>
                  </a:cubicBezTo>
                  <a:cubicBezTo>
                    <a:pt x="353" y="226"/>
                    <a:pt x="336" y="193"/>
                    <a:pt x="316" y="182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5" y="25"/>
                    <a:pt x="41" y="24"/>
                    <a:pt x="38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Freeform 2353">
              <a:extLst>
                <a:ext uri="{FF2B5EF4-FFF2-40B4-BE49-F238E27FC236}">
                  <a16:creationId xmlns:a16="http://schemas.microsoft.com/office/drawing/2014/main" id="{5E0629F7-3A71-407B-B6B8-1C491F4D1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" y="3282"/>
              <a:ext cx="232" cy="135"/>
            </a:xfrm>
            <a:custGeom>
              <a:avLst/>
              <a:gdLst>
                <a:gd name="T0" fmla="*/ 827 w 839"/>
                <a:gd name="T1" fmla="*/ 491 h 491"/>
                <a:gd name="T2" fmla="*/ 815 w 839"/>
                <a:gd name="T3" fmla="*/ 479 h 491"/>
                <a:gd name="T4" fmla="*/ 815 w 839"/>
                <a:gd name="T5" fmla="*/ 375 h 491"/>
                <a:gd name="T6" fmla="*/ 239 w 839"/>
                <a:gd name="T7" fmla="*/ 43 h 491"/>
                <a:gd name="T8" fmla="*/ 168 w 839"/>
                <a:gd name="T9" fmla="*/ 36 h 491"/>
                <a:gd name="T10" fmla="*/ 20 w 839"/>
                <a:gd name="T11" fmla="*/ 122 h 491"/>
                <a:gd name="T12" fmla="*/ 4 w 839"/>
                <a:gd name="T13" fmla="*/ 118 h 491"/>
                <a:gd name="T14" fmla="*/ 8 w 839"/>
                <a:gd name="T15" fmla="*/ 101 h 491"/>
                <a:gd name="T16" fmla="*/ 156 w 839"/>
                <a:gd name="T17" fmla="*/ 16 h 491"/>
                <a:gd name="T18" fmla="*/ 251 w 839"/>
                <a:gd name="T19" fmla="*/ 22 h 491"/>
                <a:gd name="T20" fmla="*/ 833 w 839"/>
                <a:gd name="T21" fmla="*/ 358 h 491"/>
                <a:gd name="T22" fmla="*/ 839 w 839"/>
                <a:gd name="T23" fmla="*/ 368 h 491"/>
                <a:gd name="T24" fmla="*/ 839 w 839"/>
                <a:gd name="T25" fmla="*/ 479 h 491"/>
                <a:gd name="T26" fmla="*/ 827 w 839"/>
                <a:gd name="T27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9" h="491">
                  <a:moveTo>
                    <a:pt x="827" y="491"/>
                  </a:moveTo>
                  <a:cubicBezTo>
                    <a:pt x="820" y="491"/>
                    <a:pt x="815" y="485"/>
                    <a:pt x="815" y="479"/>
                  </a:cubicBezTo>
                  <a:cubicBezTo>
                    <a:pt x="815" y="375"/>
                    <a:pt x="815" y="375"/>
                    <a:pt x="815" y="375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13" y="28"/>
                    <a:pt x="187" y="25"/>
                    <a:pt x="168" y="36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4" y="125"/>
                    <a:pt x="7" y="123"/>
                    <a:pt x="4" y="118"/>
                  </a:cubicBezTo>
                  <a:cubicBezTo>
                    <a:pt x="0" y="112"/>
                    <a:pt x="2" y="105"/>
                    <a:pt x="8" y="101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83" y="0"/>
                    <a:pt x="217" y="3"/>
                    <a:pt x="251" y="22"/>
                  </a:cubicBezTo>
                  <a:cubicBezTo>
                    <a:pt x="833" y="358"/>
                    <a:pt x="833" y="358"/>
                    <a:pt x="833" y="358"/>
                  </a:cubicBezTo>
                  <a:cubicBezTo>
                    <a:pt x="836" y="360"/>
                    <a:pt x="839" y="364"/>
                    <a:pt x="839" y="368"/>
                  </a:cubicBezTo>
                  <a:cubicBezTo>
                    <a:pt x="839" y="479"/>
                    <a:pt x="839" y="479"/>
                    <a:pt x="839" y="479"/>
                  </a:cubicBezTo>
                  <a:cubicBezTo>
                    <a:pt x="839" y="485"/>
                    <a:pt x="833" y="491"/>
                    <a:pt x="827" y="49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4" name="Freeform 2354">
              <a:extLst>
                <a:ext uri="{FF2B5EF4-FFF2-40B4-BE49-F238E27FC236}">
                  <a16:creationId xmlns:a16="http://schemas.microsoft.com/office/drawing/2014/main" id="{32F32158-7F80-4799-9FC3-1D502F83D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5" y="3380"/>
              <a:ext cx="48" cy="30"/>
            </a:xfrm>
            <a:custGeom>
              <a:avLst/>
              <a:gdLst>
                <a:gd name="T0" fmla="*/ 13 w 175"/>
                <a:gd name="T1" fmla="*/ 111 h 111"/>
                <a:gd name="T2" fmla="*/ 3 w 175"/>
                <a:gd name="T3" fmla="*/ 105 h 111"/>
                <a:gd name="T4" fmla="*/ 7 w 175"/>
                <a:gd name="T5" fmla="*/ 89 h 111"/>
                <a:gd name="T6" fmla="*/ 156 w 175"/>
                <a:gd name="T7" fmla="*/ 3 h 111"/>
                <a:gd name="T8" fmla="*/ 172 w 175"/>
                <a:gd name="T9" fmla="*/ 7 h 111"/>
                <a:gd name="T10" fmla="*/ 168 w 175"/>
                <a:gd name="T11" fmla="*/ 24 h 111"/>
                <a:gd name="T12" fmla="*/ 19 w 175"/>
                <a:gd name="T13" fmla="*/ 110 h 111"/>
                <a:gd name="T14" fmla="*/ 13 w 175"/>
                <a:gd name="T15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5" h="111">
                  <a:moveTo>
                    <a:pt x="13" y="111"/>
                  </a:moveTo>
                  <a:cubicBezTo>
                    <a:pt x="9" y="111"/>
                    <a:pt x="5" y="109"/>
                    <a:pt x="3" y="105"/>
                  </a:cubicBezTo>
                  <a:cubicBezTo>
                    <a:pt x="0" y="99"/>
                    <a:pt x="2" y="92"/>
                    <a:pt x="7" y="89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61" y="0"/>
                    <a:pt x="169" y="2"/>
                    <a:pt x="172" y="7"/>
                  </a:cubicBezTo>
                  <a:cubicBezTo>
                    <a:pt x="175" y="13"/>
                    <a:pt x="173" y="21"/>
                    <a:pt x="168" y="24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7" y="111"/>
                    <a:pt x="15" y="111"/>
                    <a:pt x="13" y="11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5" name="Freeform 2355">
              <a:extLst>
                <a:ext uri="{FF2B5EF4-FFF2-40B4-BE49-F238E27FC236}">
                  <a16:creationId xmlns:a16="http://schemas.microsoft.com/office/drawing/2014/main" id="{41C10992-317A-44DF-A5C9-A0E304BE5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6" y="3417"/>
              <a:ext cx="45" cy="82"/>
            </a:xfrm>
            <a:custGeom>
              <a:avLst/>
              <a:gdLst>
                <a:gd name="T0" fmla="*/ 149 w 163"/>
                <a:gd name="T1" fmla="*/ 297 h 297"/>
                <a:gd name="T2" fmla="*/ 143 w 163"/>
                <a:gd name="T3" fmla="*/ 295 h 297"/>
                <a:gd name="T4" fmla="*/ 6 w 163"/>
                <a:gd name="T5" fmla="*/ 216 h 297"/>
                <a:gd name="T6" fmla="*/ 0 w 163"/>
                <a:gd name="T7" fmla="*/ 206 h 297"/>
                <a:gd name="T8" fmla="*/ 0 w 163"/>
                <a:gd name="T9" fmla="*/ 12 h 297"/>
                <a:gd name="T10" fmla="*/ 6 w 163"/>
                <a:gd name="T11" fmla="*/ 2 h 297"/>
                <a:gd name="T12" fmla="*/ 18 w 163"/>
                <a:gd name="T13" fmla="*/ 2 h 297"/>
                <a:gd name="T14" fmla="*/ 155 w 163"/>
                <a:gd name="T15" fmla="*/ 81 h 297"/>
                <a:gd name="T16" fmla="*/ 160 w 163"/>
                <a:gd name="T17" fmla="*/ 97 h 297"/>
                <a:gd name="T18" fmla="*/ 143 w 163"/>
                <a:gd name="T19" fmla="*/ 102 h 297"/>
                <a:gd name="T20" fmla="*/ 24 w 163"/>
                <a:gd name="T21" fmla="*/ 33 h 297"/>
                <a:gd name="T22" fmla="*/ 24 w 163"/>
                <a:gd name="T23" fmla="*/ 199 h 297"/>
                <a:gd name="T24" fmla="*/ 155 w 163"/>
                <a:gd name="T25" fmla="*/ 274 h 297"/>
                <a:gd name="T26" fmla="*/ 160 w 163"/>
                <a:gd name="T27" fmla="*/ 291 h 297"/>
                <a:gd name="T28" fmla="*/ 149 w 163"/>
                <a:gd name="T29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3" h="297">
                  <a:moveTo>
                    <a:pt x="149" y="297"/>
                  </a:moveTo>
                  <a:cubicBezTo>
                    <a:pt x="147" y="297"/>
                    <a:pt x="145" y="296"/>
                    <a:pt x="143" y="295"/>
                  </a:cubicBezTo>
                  <a:cubicBezTo>
                    <a:pt x="6" y="216"/>
                    <a:pt x="6" y="216"/>
                    <a:pt x="6" y="216"/>
                  </a:cubicBezTo>
                  <a:cubicBezTo>
                    <a:pt x="2" y="214"/>
                    <a:pt x="0" y="210"/>
                    <a:pt x="0" y="20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8"/>
                    <a:pt x="2" y="4"/>
                    <a:pt x="6" y="2"/>
                  </a:cubicBezTo>
                  <a:cubicBezTo>
                    <a:pt x="10" y="0"/>
                    <a:pt x="14" y="0"/>
                    <a:pt x="18" y="2"/>
                  </a:cubicBezTo>
                  <a:cubicBezTo>
                    <a:pt x="155" y="81"/>
                    <a:pt x="155" y="81"/>
                    <a:pt x="155" y="81"/>
                  </a:cubicBezTo>
                  <a:cubicBezTo>
                    <a:pt x="161" y="84"/>
                    <a:pt x="163" y="92"/>
                    <a:pt x="160" y="97"/>
                  </a:cubicBezTo>
                  <a:cubicBezTo>
                    <a:pt x="156" y="103"/>
                    <a:pt x="149" y="105"/>
                    <a:pt x="143" y="10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199"/>
                    <a:pt x="24" y="199"/>
                    <a:pt x="24" y="199"/>
                  </a:cubicBezTo>
                  <a:cubicBezTo>
                    <a:pt x="155" y="274"/>
                    <a:pt x="155" y="274"/>
                    <a:pt x="155" y="274"/>
                  </a:cubicBezTo>
                  <a:cubicBezTo>
                    <a:pt x="161" y="278"/>
                    <a:pt x="163" y="285"/>
                    <a:pt x="160" y="291"/>
                  </a:cubicBezTo>
                  <a:cubicBezTo>
                    <a:pt x="158" y="295"/>
                    <a:pt x="154" y="297"/>
                    <a:pt x="149" y="29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Freeform 2356">
              <a:extLst>
                <a:ext uri="{FF2B5EF4-FFF2-40B4-BE49-F238E27FC236}">
                  <a16:creationId xmlns:a16="http://schemas.microsoft.com/office/drawing/2014/main" id="{0C795A4A-4D06-4F39-A6F4-982A122D8D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4" y="3427"/>
              <a:ext cx="28" cy="72"/>
            </a:xfrm>
            <a:custGeom>
              <a:avLst/>
              <a:gdLst>
                <a:gd name="T0" fmla="*/ 12 w 100"/>
                <a:gd name="T1" fmla="*/ 262 h 262"/>
                <a:gd name="T2" fmla="*/ 6 w 100"/>
                <a:gd name="T3" fmla="*/ 260 h 262"/>
                <a:gd name="T4" fmla="*/ 0 w 100"/>
                <a:gd name="T5" fmla="*/ 250 h 262"/>
                <a:gd name="T6" fmla="*/ 0 w 100"/>
                <a:gd name="T7" fmla="*/ 56 h 262"/>
                <a:gd name="T8" fmla="*/ 6 w 100"/>
                <a:gd name="T9" fmla="*/ 46 h 262"/>
                <a:gd name="T10" fmla="*/ 82 w 100"/>
                <a:gd name="T11" fmla="*/ 3 h 262"/>
                <a:gd name="T12" fmla="*/ 94 w 100"/>
                <a:gd name="T13" fmla="*/ 3 h 262"/>
                <a:gd name="T14" fmla="*/ 100 w 100"/>
                <a:gd name="T15" fmla="*/ 13 h 262"/>
                <a:gd name="T16" fmla="*/ 100 w 100"/>
                <a:gd name="T17" fmla="*/ 206 h 262"/>
                <a:gd name="T18" fmla="*/ 94 w 100"/>
                <a:gd name="T19" fmla="*/ 217 h 262"/>
                <a:gd name="T20" fmla="*/ 18 w 100"/>
                <a:gd name="T21" fmla="*/ 260 h 262"/>
                <a:gd name="T22" fmla="*/ 12 w 100"/>
                <a:gd name="T23" fmla="*/ 262 h 262"/>
                <a:gd name="T24" fmla="*/ 24 w 100"/>
                <a:gd name="T25" fmla="*/ 63 h 262"/>
                <a:gd name="T26" fmla="*/ 24 w 100"/>
                <a:gd name="T27" fmla="*/ 229 h 262"/>
                <a:gd name="T28" fmla="*/ 76 w 100"/>
                <a:gd name="T29" fmla="*/ 199 h 262"/>
                <a:gd name="T30" fmla="*/ 76 w 100"/>
                <a:gd name="T31" fmla="*/ 34 h 262"/>
                <a:gd name="T32" fmla="*/ 24 w 100"/>
                <a:gd name="T33" fmla="*/ 63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262">
                  <a:moveTo>
                    <a:pt x="12" y="262"/>
                  </a:moveTo>
                  <a:cubicBezTo>
                    <a:pt x="10" y="262"/>
                    <a:pt x="8" y="261"/>
                    <a:pt x="6" y="260"/>
                  </a:cubicBezTo>
                  <a:cubicBezTo>
                    <a:pt x="3" y="258"/>
                    <a:pt x="0" y="254"/>
                    <a:pt x="0" y="25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2"/>
                    <a:pt x="3" y="48"/>
                    <a:pt x="6" y="46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5" y="0"/>
                    <a:pt x="90" y="0"/>
                    <a:pt x="94" y="3"/>
                  </a:cubicBezTo>
                  <a:cubicBezTo>
                    <a:pt x="97" y="5"/>
                    <a:pt x="100" y="9"/>
                    <a:pt x="100" y="13"/>
                  </a:cubicBezTo>
                  <a:cubicBezTo>
                    <a:pt x="100" y="206"/>
                    <a:pt x="100" y="206"/>
                    <a:pt x="100" y="206"/>
                  </a:cubicBezTo>
                  <a:cubicBezTo>
                    <a:pt x="100" y="211"/>
                    <a:pt x="97" y="215"/>
                    <a:pt x="94" y="217"/>
                  </a:cubicBezTo>
                  <a:cubicBezTo>
                    <a:pt x="18" y="260"/>
                    <a:pt x="18" y="260"/>
                    <a:pt x="18" y="260"/>
                  </a:cubicBezTo>
                  <a:cubicBezTo>
                    <a:pt x="17" y="261"/>
                    <a:pt x="14" y="262"/>
                    <a:pt x="12" y="262"/>
                  </a:cubicBezTo>
                  <a:close/>
                  <a:moveTo>
                    <a:pt x="24" y="63"/>
                  </a:moveTo>
                  <a:cubicBezTo>
                    <a:pt x="24" y="229"/>
                    <a:pt x="24" y="229"/>
                    <a:pt x="24" y="229"/>
                  </a:cubicBezTo>
                  <a:cubicBezTo>
                    <a:pt x="76" y="199"/>
                    <a:pt x="76" y="199"/>
                    <a:pt x="76" y="199"/>
                  </a:cubicBezTo>
                  <a:cubicBezTo>
                    <a:pt x="76" y="34"/>
                    <a:pt x="76" y="34"/>
                    <a:pt x="76" y="34"/>
                  </a:cubicBezTo>
                  <a:lnTo>
                    <a:pt x="24" y="63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Freeform 2357">
              <a:extLst>
                <a:ext uri="{FF2B5EF4-FFF2-40B4-BE49-F238E27FC236}">
                  <a16:creationId xmlns:a16="http://schemas.microsoft.com/office/drawing/2014/main" id="{7286D82A-8618-4115-AF1C-238A2069C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6" y="3405"/>
              <a:ext cx="66" cy="29"/>
            </a:xfrm>
            <a:custGeom>
              <a:avLst/>
              <a:gdLst>
                <a:gd name="T0" fmla="*/ 227 w 240"/>
                <a:gd name="T1" fmla="*/ 104 h 104"/>
                <a:gd name="T2" fmla="*/ 221 w 240"/>
                <a:gd name="T3" fmla="*/ 102 h 104"/>
                <a:gd name="T4" fmla="*/ 90 w 240"/>
                <a:gd name="T5" fmla="*/ 27 h 104"/>
                <a:gd name="T6" fmla="*/ 20 w 240"/>
                <a:gd name="T7" fmla="*/ 67 h 104"/>
                <a:gd name="T8" fmla="*/ 4 w 240"/>
                <a:gd name="T9" fmla="*/ 62 h 104"/>
                <a:gd name="T10" fmla="*/ 8 w 240"/>
                <a:gd name="T11" fmla="*/ 46 h 104"/>
                <a:gd name="T12" fmla="*/ 83 w 240"/>
                <a:gd name="T13" fmla="*/ 2 h 104"/>
                <a:gd name="T14" fmla="*/ 96 w 240"/>
                <a:gd name="T15" fmla="*/ 2 h 104"/>
                <a:gd name="T16" fmla="*/ 233 w 240"/>
                <a:gd name="T17" fmla="*/ 82 h 104"/>
                <a:gd name="T18" fmla="*/ 237 w 240"/>
                <a:gd name="T19" fmla="*/ 98 h 104"/>
                <a:gd name="T20" fmla="*/ 227 w 240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104">
                  <a:moveTo>
                    <a:pt x="227" y="104"/>
                  </a:moveTo>
                  <a:cubicBezTo>
                    <a:pt x="225" y="104"/>
                    <a:pt x="223" y="103"/>
                    <a:pt x="221" y="102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14" y="70"/>
                    <a:pt x="7" y="68"/>
                    <a:pt x="4" y="62"/>
                  </a:cubicBezTo>
                  <a:cubicBezTo>
                    <a:pt x="0" y="57"/>
                    <a:pt x="2" y="49"/>
                    <a:pt x="8" y="4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7" y="0"/>
                    <a:pt x="92" y="0"/>
                    <a:pt x="96" y="2"/>
                  </a:cubicBezTo>
                  <a:cubicBezTo>
                    <a:pt x="233" y="82"/>
                    <a:pt x="233" y="82"/>
                    <a:pt x="233" y="82"/>
                  </a:cubicBezTo>
                  <a:cubicBezTo>
                    <a:pt x="239" y="85"/>
                    <a:pt x="240" y="92"/>
                    <a:pt x="237" y="98"/>
                  </a:cubicBezTo>
                  <a:cubicBezTo>
                    <a:pt x="235" y="102"/>
                    <a:pt x="231" y="104"/>
                    <a:pt x="227" y="10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Freeform 2358">
              <a:extLst>
                <a:ext uri="{FF2B5EF4-FFF2-40B4-BE49-F238E27FC236}">
                  <a16:creationId xmlns:a16="http://schemas.microsoft.com/office/drawing/2014/main" id="{C0FE35A7-6C4F-4C52-9B03-7D36813B6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5" y="3480"/>
              <a:ext cx="36" cy="24"/>
            </a:xfrm>
            <a:custGeom>
              <a:avLst/>
              <a:gdLst>
                <a:gd name="T0" fmla="*/ 13 w 129"/>
                <a:gd name="T1" fmla="*/ 85 h 85"/>
                <a:gd name="T2" fmla="*/ 3 w 129"/>
                <a:gd name="T3" fmla="*/ 79 h 85"/>
                <a:gd name="T4" fmla="*/ 7 w 129"/>
                <a:gd name="T5" fmla="*/ 62 h 85"/>
                <a:gd name="T6" fmla="*/ 110 w 129"/>
                <a:gd name="T7" fmla="*/ 3 h 85"/>
                <a:gd name="T8" fmla="*/ 126 w 129"/>
                <a:gd name="T9" fmla="*/ 8 h 85"/>
                <a:gd name="T10" fmla="*/ 122 w 129"/>
                <a:gd name="T11" fmla="*/ 24 h 85"/>
                <a:gd name="T12" fmla="*/ 19 w 129"/>
                <a:gd name="T13" fmla="*/ 83 h 85"/>
                <a:gd name="T14" fmla="*/ 13 w 129"/>
                <a:gd name="T1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85">
                  <a:moveTo>
                    <a:pt x="13" y="85"/>
                  </a:moveTo>
                  <a:cubicBezTo>
                    <a:pt x="9" y="85"/>
                    <a:pt x="5" y="83"/>
                    <a:pt x="3" y="79"/>
                  </a:cubicBezTo>
                  <a:cubicBezTo>
                    <a:pt x="0" y="73"/>
                    <a:pt x="2" y="66"/>
                    <a:pt x="7" y="62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5" y="0"/>
                    <a:pt x="123" y="2"/>
                    <a:pt x="126" y="8"/>
                  </a:cubicBezTo>
                  <a:cubicBezTo>
                    <a:pt x="129" y="13"/>
                    <a:pt x="127" y="21"/>
                    <a:pt x="122" y="2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7" y="84"/>
                    <a:pt x="15" y="85"/>
                    <a:pt x="13" y="8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Freeform 2359">
              <a:extLst>
                <a:ext uri="{FF2B5EF4-FFF2-40B4-BE49-F238E27FC236}">
                  <a16:creationId xmlns:a16="http://schemas.microsoft.com/office/drawing/2014/main" id="{D5C0F0F7-E54B-4903-B749-4EB007A2E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3650"/>
              <a:ext cx="302" cy="190"/>
            </a:xfrm>
            <a:custGeom>
              <a:avLst/>
              <a:gdLst>
                <a:gd name="T0" fmla="*/ 1096 w 1096"/>
                <a:gd name="T1" fmla="*/ 93 h 687"/>
                <a:gd name="T2" fmla="*/ 1093 w 1096"/>
                <a:gd name="T3" fmla="*/ 106 h 687"/>
                <a:gd name="T4" fmla="*/ 863 w 1096"/>
                <a:gd name="T5" fmla="*/ 635 h 687"/>
                <a:gd name="T6" fmla="*/ 713 w 1096"/>
                <a:gd name="T7" fmla="*/ 658 h 687"/>
                <a:gd name="T8" fmla="*/ 27 w 1096"/>
                <a:gd name="T9" fmla="*/ 262 h 687"/>
                <a:gd name="T10" fmla="*/ 0 w 1096"/>
                <a:gd name="T11" fmla="*/ 226 h 687"/>
                <a:gd name="T12" fmla="*/ 0 w 1096"/>
                <a:gd name="T13" fmla="*/ 133 h 687"/>
                <a:gd name="T14" fmla="*/ 27 w 1096"/>
                <a:gd name="T15" fmla="*/ 170 h 687"/>
                <a:gd name="T16" fmla="*/ 713 w 1096"/>
                <a:gd name="T17" fmla="*/ 566 h 687"/>
                <a:gd name="T18" fmla="*/ 863 w 1096"/>
                <a:gd name="T19" fmla="*/ 542 h 687"/>
                <a:gd name="T20" fmla="*/ 1093 w 1096"/>
                <a:gd name="T21" fmla="*/ 13 h 687"/>
                <a:gd name="T22" fmla="*/ 1096 w 1096"/>
                <a:gd name="T23" fmla="*/ 0 h 687"/>
                <a:gd name="T24" fmla="*/ 1096 w 1096"/>
                <a:gd name="T25" fmla="*/ 93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96" h="687">
                  <a:moveTo>
                    <a:pt x="1096" y="93"/>
                  </a:moveTo>
                  <a:cubicBezTo>
                    <a:pt x="1096" y="97"/>
                    <a:pt x="1095" y="101"/>
                    <a:pt x="1093" y="106"/>
                  </a:cubicBezTo>
                  <a:cubicBezTo>
                    <a:pt x="863" y="635"/>
                    <a:pt x="863" y="635"/>
                    <a:pt x="863" y="635"/>
                  </a:cubicBezTo>
                  <a:cubicBezTo>
                    <a:pt x="846" y="674"/>
                    <a:pt x="762" y="687"/>
                    <a:pt x="713" y="658"/>
                  </a:cubicBezTo>
                  <a:cubicBezTo>
                    <a:pt x="27" y="262"/>
                    <a:pt x="27" y="262"/>
                    <a:pt x="27" y="262"/>
                  </a:cubicBezTo>
                  <a:cubicBezTo>
                    <a:pt x="9" y="252"/>
                    <a:pt x="0" y="239"/>
                    <a:pt x="0" y="22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6"/>
                    <a:pt x="9" y="159"/>
                    <a:pt x="27" y="170"/>
                  </a:cubicBezTo>
                  <a:cubicBezTo>
                    <a:pt x="713" y="566"/>
                    <a:pt x="713" y="566"/>
                    <a:pt x="713" y="566"/>
                  </a:cubicBezTo>
                  <a:cubicBezTo>
                    <a:pt x="762" y="594"/>
                    <a:pt x="846" y="581"/>
                    <a:pt x="863" y="542"/>
                  </a:cubicBezTo>
                  <a:cubicBezTo>
                    <a:pt x="1093" y="13"/>
                    <a:pt x="1093" y="13"/>
                    <a:pt x="1093" y="13"/>
                  </a:cubicBezTo>
                  <a:cubicBezTo>
                    <a:pt x="1095" y="9"/>
                    <a:pt x="1096" y="4"/>
                    <a:pt x="1096" y="0"/>
                  </a:cubicBezTo>
                  <a:lnTo>
                    <a:pt x="1096" y="93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Freeform 2360">
              <a:extLst>
                <a:ext uri="{FF2B5EF4-FFF2-40B4-BE49-F238E27FC236}">
                  <a16:creationId xmlns:a16="http://schemas.microsoft.com/office/drawing/2014/main" id="{9AD866B9-0639-4E70-9EC8-68F9F163BF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2" y="3634"/>
              <a:ext cx="302" cy="180"/>
            </a:xfrm>
            <a:custGeom>
              <a:avLst/>
              <a:gdLst>
                <a:gd name="T0" fmla="*/ 1096 w 1096"/>
                <a:gd name="T1" fmla="*/ 58 h 652"/>
                <a:gd name="T2" fmla="*/ 1096 w 1096"/>
                <a:gd name="T3" fmla="*/ 58 h 652"/>
                <a:gd name="T4" fmla="*/ 1093 w 1096"/>
                <a:gd name="T5" fmla="*/ 71 h 652"/>
                <a:gd name="T6" fmla="*/ 863 w 1096"/>
                <a:gd name="T7" fmla="*/ 600 h 652"/>
                <a:gd name="T8" fmla="*/ 713 w 1096"/>
                <a:gd name="T9" fmla="*/ 624 h 652"/>
                <a:gd name="T10" fmla="*/ 27 w 1096"/>
                <a:gd name="T11" fmla="*/ 228 h 652"/>
                <a:gd name="T12" fmla="*/ 0 w 1096"/>
                <a:gd name="T13" fmla="*/ 191 h 652"/>
                <a:gd name="T14" fmla="*/ 0 w 1096"/>
                <a:gd name="T15" fmla="*/ 189 h 652"/>
                <a:gd name="T16" fmla="*/ 68 w 1096"/>
                <a:gd name="T17" fmla="*/ 141 h 652"/>
                <a:gd name="T18" fmla="*/ 984 w 1096"/>
                <a:gd name="T19" fmla="*/ 8 h 652"/>
                <a:gd name="T20" fmla="*/ 1096 w 1096"/>
                <a:gd name="T21" fmla="*/ 58 h 652"/>
                <a:gd name="T22" fmla="*/ 853 w 1096"/>
                <a:gd name="T23" fmla="*/ 200 h 652"/>
                <a:gd name="T24" fmla="*/ 853 w 1096"/>
                <a:gd name="T25" fmla="*/ 147 h 652"/>
                <a:gd name="T26" fmla="*/ 760 w 1096"/>
                <a:gd name="T27" fmla="*/ 147 h 652"/>
                <a:gd name="T28" fmla="*/ 742 w 1096"/>
                <a:gd name="T29" fmla="*/ 157 h 652"/>
                <a:gd name="T30" fmla="*/ 569 w 1096"/>
                <a:gd name="T31" fmla="*/ 275 h 652"/>
                <a:gd name="T32" fmla="*/ 630 w 1096"/>
                <a:gd name="T33" fmla="*/ 310 h 652"/>
                <a:gd name="T34" fmla="*/ 834 w 1096"/>
                <a:gd name="T35" fmla="*/ 211 h 652"/>
                <a:gd name="T36" fmla="*/ 853 w 1096"/>
                <a:gd name="T37" fmla="*/ 200 h 652"/>
                <a:gd name="T38" fmla="*/ 594 w 1096"/>
                <a:gd name="T39" fmla="*/ 333 h 652"/>
                <a:gd name="T40" fmla="*/ 575 w 1096"/>
                <a:gd name="T41" fmla="*/ 307 h 652"/>
                <a:gd name="T42" fmla="*/ 529 w 1096"/>
                <a:gd name="T43" fmla="*/ 296 h 652"/>
                <a:gd name="T44" fmla="*/ 483 w 1096"/>
                <a:gd name="T45" fmla="*/ 307 h 652"/>
                <a:gd name="T46" fmla="*/ 464 w 1096"/>
                <a:gd name="T47" fmla="*/ 333 h 652"/>
                <a:gd name="T48" fmla="*/ 483 w 1096"/>
                <a:gd name="T49" fmla="*/ 360 h 652"/>
                <a:gd name="T50" fmla="*/ 529 w 1096"/>
                <a:gd name="T51" fmla="*/ 371 h 652"/>
                <a:gd name="T52" fmla="*/ 575 w 1096"/>
                <a:gd name="T53" fmla="*/ 360 h 652"/>
                <a:gd name="T54" fmla="*/ 594 w 1096"/>
                <a:gd name="T55" fmla="*/ 3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6" h="652">
                  <a:moveTo>
                    <a:pt x="1096" y="58"/>
                  </a:moveTo>
                  <a:cubicBezTo>
                    <a:pt x="1096" y="58"/>
                    <a:pt x="1096" y="58"/>
                    <a:pt x="1096" y="58"/>
                  </a:cubicBezTo>
                  <a:cubicBezTo>
                    <a:pt x="1096" y="62"/>
                    <a:pt x="1095" y="67"/>
                    <a:pt x="1093" y="71"/>
                  </a:cubicBezTo>
                  <a:cubicBezTo>
                    <a:pt x="863" y="600"/>
                    <a:pt x="863" y="600"/>
                    <a:pt x="863" y="600"/>
                  </a:cubicBezTo>
                  <a:cubicBezTo>
                    <a:pt x="846" y="639"/>
                    <a:pt x="762" y="652"/>
                    <a:pt x="713" y="624"/>
                  </a:cubicBezTo>
                  <a:cubicBezTo>
                    <a:pt x="27" y="228"/>
                    <a:pt x="27" y="228"/>
                    <a:pt x="27" y="228"/>
                  </a:cubicBezTo>
                  <a:cubicBezTo>
                    <a:pt x="9" y="217"/>
                    <a:pt x="0" y="204"/>
                    <a:pt x="0" y="191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2" y="168"/>
                    <a:pt x="26" y="147"/>
                    <a:pt x="68" y="141"/>
                  </a:cubicBezTo>
                  <a:cubicBezTo>
                    <a:pt x="984" y="8"/>
                    <a:pt x="984" y="8"/>
                    <a:pt x="984" y="8"/>
                  </a:cubicBezTo>
                  <a:cubicBezTo>
                    <a:pt x="1042" y="0"/>
                    <a:pt x="1096" y="25"/>
                    <a:pt x="1096" y="58"/>
                  </a:cubicBezTo>
                  <a:close/>
                  <a:moveTo>
                    <a:pt x="853" y="200"/>
                  </a:moveTo>
                  <a:cubicBezTo>
                    <a:pt x="878" y="185"/>
                    <a:pt x="878" y="162"/>
                    <a:pt x="853" y="147"/>
                  </a:cubicBezTo>
                  <a:cubicBezTo>
                    <a:pt x="827" y="132"/>
                    <a:pt x="786" y="132"/>
                    <a:pt x="760" y="147"/>
                  </a:cubicBezTo>
                  <a:cubicBezTo>
                    <a:pt x="742" y="157"/>
                    <a:pt x="742" y="157"/>
                    <a:pt x="742" y="157"/>
                  </a:cubicBezTo>
                  <a:cubicBezTo>
                    <a:pt x="569" y="275"/>
                    <a:pt x="569" y="275"/>
                    <a:pt x="569" y="275"/>
                  </a:cubicBezTo>
                  <a:cubicBezTo>
                    <a:pt x="630" y="310"/>
                    <a:pt x="630" y="310"/>
                    <a:pt x="630" y="310"/>
                  </a:cubicBezTo>
                  <a:cubicBezTo>
                    <a:pt x="834" y="211"/>
                    <a:pt x="834" y="211"/>
                    <a:pt x="834" y="211"/>
                  </a:cubicBezTo>
                  <a:lnTo>
                    <a:pt x="853" y="200"/>
                  </a:lnTo>
                  <a:close/>
                  <a:moveTo>
                    <a:pt x="594" y="333"/>
                  </a:moveTo>
                  <a:cubicBezTo>
                    <a:pt x="594" y="323"/>
                    <a:pt x="588" y="314"/>
                    <a:pt x="575" y="307"/>
                  </a:cubicBezTo>
                  <a:cubicBezTo>
                    <a:pt x="562" y="299"/>
                    <a:pt x="547" y="296"/>
                    <a:pt x="529" y="296"/>
                  </a:cubicBezTo>
                  <a:cubicBezTo>
                    <a:pt x="511" y="296"/>
                    <a:pt x="496" y="299"/>
                    <a:pt x="483" y="307"/>
                  </a:cubicBezTo>
                  <a:cubicBezTo>
                    <a:pt x="470" y="314"/>
                    <a:pt x="464" y="323"/>
                    <a:pt x="464" y="333"/>
                  </a:cubicBezTo>
                  <a:cubicBezTo>
                    <a:pt x="464" y="344"/>
                    <a:pt x="470" y="352"/>
                    <a:pt x="483" y="360"/>
                  </a:cubicBezTo>
                  <a:cubicBezTo>
                    <a:pt x="496" y="367"/>
                    <a:pt x="511" y="371"/>
                    <a:pt x="529" y="371"/>
                  </a:cubicBezTo>
                  <a:cubicBezTo>
                    <a:pt x="547" y="371"/>
                    <a:pt x="562" y="367"/>
                    <a:pt x="575" y="360"/>
                  </a:cubicBezTo>
                  <a:cubicBezTo>
                    <a:pt x="588" y="352"/>
                    <a:pt x="594" y="344"/>
                    <a:pt x="594" y="333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2361">
              <a:extLst>
                <a:ext uri="{FF2B5EF4-FFF2-40B4-BE49-F238E27FC236}">
                  <a16:creationId xmlns:a16="http://schemas.microsoft.com/office/drawing/2014/main" id="{531AF92D-6876-439C-8890-E8927E425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" y="3671"/>
              <a:ext cx="85" cy="49"/>
            </a:xfrm>
            <a:custGeom>
              <a:avLst/>
              <a:gdLst>
                <a:gd name="T0" fmla="*/ 284 w 309"/>
                <a:gd name="T1" fmla="*/ 15 h 178"/>
                <a:gd name="T2" fmla="*/ 284 w 309"/>
                <a:gd name="T3" fmla="*/ 68 h 178"/>
                <a:gd name="T4" fmla="*/ 265 w 309"/>
                <a:gd name="T5" fmla="*/ 79 h 178"/>
                <a:gd name="T6" fmla="*/ 61 w 309"/>
                <a:gd name="T7" fmla="*/ 178 h 178"/>
                <a:gd name="T8" fmla="*/ 0 w 309"/>
                <a:gd name="T9" fmla="*/ 143 h 178"/>
                <a:gd name="T10" fmla="*/ 173 w 309"/>
                <a:gd name="T11" fmla="*/ 25 h 178"/>
                <a:gd name="T12" fmla="*/ 191 w 309"/>
                <a:gd name="T13" fmla="*/ 15 h 178"/>
                <a:gd name="T14" fmla="*/ 284 w 309"/>
                <a:gd name="T15" fmla="*/ 1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9" h="178">
                  <a:moveTo>
                    <a:pt x="284" y="15"/>
                  </a:moveTo>
                  <a:cubicBezTo>
                    <a:pt x="309" y="30"/>
                    <a:pt x="309" y="53"/>
                    <a:pt x="284" y="68"/>
                  </a:cubicBezTo>
                  <a:cubicBezTo>
                    <a:pt x="265" y="79"/>
                    <a:pt x="265" y="79"/>
                    <a:pt x="265" y="79"/>
                  </a:cubicBezTo>
                  <a:cubicBezTo>
                    <a:pt x="61" y="178"/>
                    <a:pt x="61" y="178"/>
                    <a:pt x="61" y="178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73" y="25"/>
                    <a:pt x="173" y="25"/>
                    <a:pt x="173" y="2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217" y="0"/>
                    <a:pt x="258" y="0"/>
                    <a:pt x="284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Freeform 2362">
              <a:extLst>
                <a:ext uri="{FF2B5EF4-FFF2-40B4-BE49-F238E27FC236}">
                  <a16:creationId xmlns:a16="http://schemas.microsoft.com/office/drawing/2014/main" id="{8E7401D8-22DE-4FE9-8D5E-8192629FB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" y="3716"/>
              <a:ext cx="36" cy="21"/>
            </a:xfrm>
            <a:custGeom>
              <a:avLst/>
              <a:gdLst>
                <a:gd name="T0" fmla="*/ 111 w 130"/>
                <a:gd name="T1" fmla="*/ 11 h 75"/>
                <a:gd name="T2" fmla="*/ 130 w 130"/>
                <a:gd name="T3" fmla="*/ 37 h 75"/>
                <a:gd name="T4" fmla="*/ 111 w 130"/>
                <a:gd name="T5" fmla="*/ 64 h 75"/>
                <a:gd name="T6" fmla="*/ 65 w 130"/>
                <a:gd name="T7" fmla="*/ 75 h 75"/>
                <a:gd name="T8" fmla="*/ 19 w 130"/>
                <a:gd name="T9" fmla="*/ 64 h 75"/>
                <a:gd name="T10" fmla="*/ 0 w 130"/>
                <a:gd name="T11" fmla="*/ 37 h 75"/>
                <a:gd name="T12" fmla="*/ 19 w 130"/>
                <a:gd name="T13" fmla="*/ 11 h 75"/>
                <a:gd name="T14" fmla="*/ 65 w 130"/>
                <a:gd name="T15" fmla="*/ 0 h 75"/>
                <a:gd name="T16" fmla="*/ 111 w 130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0" h="75">
                  <a:moveTo>
                    <a:pt x="111" y="11"/>
                  </a:moveTo>
                  <a:cubicBezTo>
                    <a:pt x="124" y="18"/>
                    <a:pt x="130" y="27"/>
                    <a:pt x="130" y="37"/>
                  </a:cubicBezTo>
                  <a:cubicBezTo>
                    <a:pt x="130" y="48"/>
                    <a:pt x="124" y="56"/>
                    <a:pt x="111" y="64"/>
                  </a:cubicBezTo>
                  <a:cubicBezTo>
                    <a:pt x="98" y="71"/>
                    <a:pt x="83" y="75"/>
                    <a:pt x="65" y="75"/>
                  </a:cubicBezTo>
                  <a:cubicBezTo>
                    <a:pt x="47" y="75"/>
                    <a:pt x="32" y="71"/>
                    <a:pt x="19" y="64"/>
                  </a:cubicBezTo>
                  <a:cubicBezTo>
                    <a:pt x="6" y="56"/>
                    <a:pt x="0" y="48"/>
                    <a:pt x="0" y="37"/>
                  </a:cubicBezTo>
                  <a:cubicBezTo>
                    <a:pt x="0" y="27"/>
                    <a:pt x="6" y="18"/>
                    <a:pt x="19" y="11"/>
                  </a:cubicBezTo>
                  <a:cubicBezTo>
                    <a:pt x="32" y="3"/>
                    <a:pt x="47" y="0"/>
                    <a:pt x="65" y="0"/>
                  </a:cubicBezTo>
                  <a:cubicBezTo>
                    <a:pt x="83" y="0"/>
                    <a:pt x="98" y="3"/>
                    <a:pt x="111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Freeform 2363">
              <a:extLst>
                <a:ext uri="{FF2B5EF4-FFF2-40B4-BE49-F238E27FC236}">
                  <a16:creationId xmlns:a16="http://schemas.microsoft.com/office/drawing/2014/main" id="{9112E2C8-4726-473E-9099-868F0CCC0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" y="3632"/>
              <a:ext cx="310" cy="58"/>
            </a:xfrm>
            <a:custGeom>
              <a:avLst/>
              <a:gdLst>
                <a:gd name="T0" fmla="*/ 12 w 1120"/>
                <a:gd name="T1" fmla="*/ 211 h 211"/>
                <a:gd name="T2" fmla="*/ 12 w 1120"/>
                <a:gd name="T3" fmla="*/ 211 h 211"/>
                <a:gd name="T4" fmla="*/ 0 w 1120"/>
                <a:gd name="T5" fmla="*/ 199 h 211"/>
                <a:gd name="T6" fmla="*/ 78 w 1120"/>
                <a:gd name="T7" fmla="*/ 139 h 211"/>
                <a:gd name="T8" fmla="*/ 995 w 1120"/>
                <a:gd name="T9" fmla="*/ 6 h 211"/>
                <a:gd name="T10" fmla="*/ 1101 w 1120"/>
                <a:gd name="T11" fmla="*/ 30 h 211"/>
                <a:gd name="T12" fmla="*/ 1120 w 1120"/>
                <a:gd name="T13" fmla="*/ 68 h 211"/>
                <a:gd name="T14" fmla="*/ 1108 w 1120"/>
                <a:gd name="T15" fmla="*/ 80 h 211"/>
                <a:gd name="T16" fmla="*/ 1108 w 1120"/>
                <a:gd name="T17" fmla="*/ 80 h 211"/>
                <a:gd name="T18" fmla="*/ 1096 w 1120"/>
                <a:gd name="T19" fmla="*/ 68 h 211"/>
                <a:gd name="T20" fmla="*/ 1085 w 1120"/>
                <a:gd name="T21" fmla="*/ 49 h 211"/>
                <a:gd name="T22" fmla="*/ 998 w 1120"/>
                <a:gd name="T23" fmla="*/ 30 h 211"/>
                <a:gd name="T24" fmla="*/ 82 w 1120"/>
                <a:gd name="T25" fmla="*/ 163 h 211"/>
                <a:gd name="T26" fmla="*/ 24 w 1120"/>
                <a:gd name="T27" fmla="*/ 200 h 211"/>
                <a:gd name="T28" fmla="*/ 12 w 1120"/>
                <a:gd name="T29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20" h="211">
                  <a:moveTo>
                    <a:pt x="12" y="211"/>
                  </a:moveTo>
                  <a:cubicBezTo>
                    <a:pt x="12" y="211"/>
                    <a:pt x="12" y="211"/>
                    <a:pt x="12" y="211"/>
                  </a:cubicBezTo>
                  <a:cubicBezTo>
                    <a:pt x="5" y="211"/>
                    <a:pt x="0" y="205"/>
                    <a:pt x="0" y="199"/>
                  </a:cubicBezTo>
                  <a:cubicBezTo>
                    <a:pt x="2" y="169"/>
                    <a:pt x="34" y="145"/>
                    <a:pt x="78" y="139"/>
                  </a:cubicBezTo>
                  <a:cubicBezTo>
                    <a:pt x="995" y="6"/>
                    <a:pt x="995" y="6"/>
                    <a:pt x="995" y="6"/>
                  </a:cubicBezTo>
                  <a:cubicBezTo>
                    <a:pt x="1035" y="0"/>
                    <a:pt x="1077" y="10"/>
                    <a:pt x="1101" y="30"/>
                  </a:cubicBezTo>
                  <a:cubicBezTo>
                    <a:pt x="1113" y="41"/>
                    <a:pt x="1120" y="54"/>
                    <a:pt x="1120" y="68"/>
                  </a:cubicBezTo>
                  <a:cubicBezTo>
                    <a:pt x="1120" y="74"/>
                    <a:pt x="1115" y="80"/>
                    <a:pt x="1108" y="80"/>
                  </a:cubicBezTo>
                  <a:cubicBezTo>
                    <a:pt x="1108" y="80"/>
                    <a:pt x="1108" y="80"/>
                    <a:pt x="1108" y="80"/>
                  </a:cubicBezTo>
                  <a:cubicBezTo>
                    <a:pt x="1101" y="80"/>
                    <a:pt x="1096" y="74"/>
                    <a:pt x="1096" y="68"/>
                  </a:cubicBezTo>
                  <a:cubicBezTo>
                    <a:pt x="1096" y="60"/>
                    <a:pt x="1090" y="53"/>
                    <a:pt x="1085" y="49"/>
                  </a:cubicBezTo>
                  <a:cubicBezTo>
                    <a:pt x="1069" y="35"/>
                    <a:pt x="1036" y="24"/>
                    <a:pt x="998" y="30"/>
                  </a:cubicBezTo>
                  <a:cubicBezTo>
                    <a:pt x="82" y="163"/>
                    <a:pt x="82" y="163"/>
                    <a:pt x="82" y="163"/>
                  </a:cubicBezTo>
                  <a:cubicBezTo>
                    <a:pt x="44" y="168"/>
                    <a:pt x="25" y="186"/>
                    <a:pt x="24" y="200"/>
                  </a:cubicBezTo>
                  <a:cubicBezTo>
                    <a:pt x="24" y="207"/>
                    <a:pt x="19" y="211"/>
                    <a:pt x="12" y="21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2364">
              <a:extLst>
                <a:ext uri="{FF2B5EF4-FFF2-40B4-BE49-F238E27FC236}">
                  <a16:creationId xmlns:a16="http://schemas.microsoft.com/office/drawing/2014/main" id="{3102DBE2-57E5-42D9-8B96-7910A2479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" y="3673"/>
              <a:ext cx="310" cy="167"/>
            </a:xfrm>
            <a:custGeom>
              <a:avLst/>
              <a:gdLst>
                <a:gd name="T0" fmla="*/ 788 w 1120"/>
                <a:gd name="T1" fmla="*/ 605 h 605"/>
                <a:gd name="T2" fmla="*/ 719 w 1120"/>
                <a:gd name="T3" fmla="*/ 588 h 605"/>
                <a:gd name="T4" fmla="*/ 33 w 1120"/>
                <a:gd name="T5" fmla="*/ 192 h 605"/>
                <a:gd name="T6" fmla="*/ 0 w 1120"/>
                <a:gd name="T7" fmla="*/ 145 h 605"/>
                <a:gd name="T8" fmla="*/ 12 w 1120"/>
                <a:gd name="T9" fmla="*/ 133 h 605"/>
                <a:gd name="T10" fmla="*/ 24 w 1120"/>
                <a:gd name="T11" fmla="*/ 145 h 605"/>
                <a:gd name="T12" fmla="*/ 45 w 1120"/>
                <a:gd name="T13" fmla="*/ 171 h 605"/>
                <a:gd name="T14" fmla="*/ 731 w 1120"/>
                <a:gd name="T15" fmla="*/ 567 h 605"/>
                <a:gd name="T16" fmla="*/ 829 w 1120"/>
                <a:gd name="T17" fmla="*/ 574 h 605"/>
                <a:gd name="T18" fmla="*/ 864 w 1120"/>
                <a:gd name="T19" fmla="*/ 549 h 605"/>
                <a:gd name="T20" fmla="*/ 1094 w 1120"/>
                <a:gd name="T21" fmla="*/ 20 h 605"/>
                <a:gd name="T22" fmla="*/ 1096 w 1120"/>
                <a:gd name="T23" fmla="*/ 12 h 605"/>
                <a:gd name="T24" fmla="*/ 1108 w 1120"/>
                <a:gd name="T25" fmla="*/ 0 h 605"/>
                <a:gd name="T26" fmla="*/ 1108 w 1120"/>
                <a:gd name="T27" fmla="*/ 0 h 605"/>
                <a:gd name="T28" fmla="*/ 1120 w 1120"/>
                <a:gd name="T29" fmla="*/ 12 h 605"/>
                <a:gd name="T30" fmla="*/ 1116 w 1120"/>
                <a:gd name="T31" fmla="*/ 29 h 605"/>
                <a:gd name="T32" fmla="*/ 886 w 1120"/>
                <a:gd name="T33" fmla="*/ 558 h 605"/>
                <a:gd name="T34" fmla="*/ 837 w 1120"/>
                <a:gd name="T35" fmla="*/ 597 h 605"/>
                <a:gd name="T36" fmla="*/ 788 w 1120"/>
                <a:gd name="T37" fmla="*/ 60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0" h="605">
                  <a:moveTo>
                    <a:pt x="788" y="605"/>
                  </a:moveTo>
                  <a:cubicBezTo>
                    <a:pt x="763" y="605"/>
                    <a:pt x="738" y="599"/>
                    <a:pt x="719" y="588"/>
                  </a:cubicBezTo>
                  <a:cubicBezTo>
                    <a:pt x="33" y="192"/>
                    <a:pt x="33" y="192"/>
                    <a:pt x="33" y="192"/>
                  </a:cubicBezTo>
                  <a:cubicBezTo>
                    <a:pt x="12" y="180"/>
                    <a:pt x="0" y="163"/>
                    <a:pt x="0" y="145"/>
                  </a:cubicBezTo>
                  <a:cubicBezTo>
                    <a:pt x="0" y="138"/>
                    <a:pt x="6" y="133"/>
                    <a:pt x="12" y="133"/>
                  </a:cubicBezTo>
                  <a:cubicBezTo>
                    <a:pt x="19" y="133"/>
                    <a:pt x="24" y="138"/>
                    <a:pt x="24" y="145"/>
                  </a:cubicBezTo>
                  <a:cubicBezTo>
                    <a:pt x="24" y="154"/>
                    <a:pt x="31" y="164"/>
                    <a:pt x="45" y="171"/>
                  </a:cubicBezTo>
                  <a:cubicBezTo>
                    <a:pt x="731" y="567"/>
                    <a:pt x="731" y="567"/>
                    <a:pt x="731" y="567"/>
                  </a:cubicBezTo>
                  <a:cubicBezTo>
                    <a:pt x="756" y="582"/>
                    <a:pt x="797" y="585"/>
                    <a:pt x="829" y="574"/>
                  </a:cubicBezTo>
                  <a:cubicBezTo>
                    <a:pt x="847" y="569"/>
                    <a:pt x="859" y="559"/>
                    <a:pt x="864" y="549"/>
                  </a:cubicBezTo>
                  <a:cubicBezTo>
                    <a:pt x="1094" y="20"/>
                    <a:pt x="1094" y="20"/>
                    <a:pt x="1094" y="20"/>
                  </a:cubicBezTo>
                  <a:cubicBezTo>
                    <a:pt x="1095" y="17"/>
                    <a:pt x="1096" y="14"/>
                    <a:pt x="1096" y="12"/>
                  </a:cubicBezTo>
                  <a:cubicBezTo>
                    <a:pt x="1096" y="5"/>
                    <a:pt x="1101" y="0"/>
                    <a:pt x="1108" y="0"/>
                  </a:cubicBezTo>
                  <a:cubicBezTo>
                    <a:pt x="1108" y="0"/>
                    <a:pt x="1108" y="0"/>
                    <a:pt x="1108" y="0"/>
                  </a:cubicBezTo>
                  <a:cubicBezTo>
                    <a:pt x="1114" y="0"/>
                    <a:pt x="1120" y="5"/>
                    <a:pt x="1120" y="12"/>
                  </a:cubicBezTo>
                  <a:cubicBezTo>
                    <a:pt x="1120" y="18"/>
                    <a:pt x="1119" y="24"/>
                    <a:pt x="1116" y="29"/>
                  </a:cubicBezTo>
                  <a:cubicBezTo>
                    <a:pt x="886" y="558"/>
                    <a:pt x="886" y="558"/>
                    <a:pt x="886" y="558"/>
                  </a:cubicBezTo>
                  <a:cubicBezTo>
                    <a:pt x="879" y="575"/>
                    <a:pt x="861" y="589"/>
                    <a:pt x="837" y="597"/>
                  </a:cubicBezTo>
                  <a:cubicBezTo>
                    <a:pt x="821" y="602"/>
                    <a:pt x="805" y="605"/>
                    <a:pt x="788" y="60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5" name="Freeform 2365">
              <a:extLst>
                <a:ext uri="{FF2B5EF4-FFF2-40B4-BE49-F238E27FC236}">
                  <a16:creationId xmlns:a16="http://schemas.microsoft.com/office/drawing/2014/main" id="{C4197938-90ED-411B-BE5D-046D2FBAA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" y="3647"/>
              <a:ext cx="7" cy="7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12 h 24"/>
                <a:gd name="T10" fmla="*/ 12 w 24"/>
                <a:gd name="T1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19"/>
                    <a:pt x="18" y="24"/>
                    <a:pt x="12" y="2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6" name="Freeform 2366">
              <a:extLst>
                <a:ext uri="{FF2B5EF4-FFF2-40B4-BE49-F238E27FC236}">
                  <a16:creationId xmlns:a16="http://schemas.microsoft.com/office/drawing/2014/main" id="{61051F08-8DF9-4CA5-A73B-203DD428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" y="3647"/>
              <a:ext cx="310" cy="167"/>
            </a:xfrm>
            <a:custGeom>
              <a:avLst/>
              <a:gdLst>
                <a:gd name="T0" fmla="*/ 788 w 1120"/>
                <a:gd name="T1" fmla="*/ 605 h 605"/>
                <a:gd name="T2" fmla="*/ 719 w 1120"/>
                <a:gd name="T3" fmla="*/ 588 h 605"/>
                <a:gd name="T4" fmla="*/ 33 w 1120"/>
                <a:gd name="T5" fmla="*/ 192 h 605"/>
                <a:gd name="T6" fmla="*/ 0 w 1120"/>
                <a:gd name="T7" fmla="*/ 145 h 605"/>
                <a:gd name="T8" fmla="*/ 24 w 1120"/>
                <a:gd name="T9" fmla="*/ 145 h 605"/>
                <a:gd name="T10" fmla="*/ 24 w 1120"/>
                <a:gd name="T11" fmla="*/ 145 h 605"/>
                <a:gd name="T12" fmla="*/ 45 w 1120"/>
                <a:gd name="T13" fmla="*/ 171 h 605"/>
                <a:gd name="T14" fmla="*/ 731 w 1120"/>
                <a:gd name="T15" fmla="*/ 567 h 605"/>
                <a:gd name="T16" fmla="*/ 829 w 1120"/>
                <a:gd name="T17" fmla="*/ 575 h 605"/>
                <a:gd name="T18" fmla="*/ 864 w 1120"/>
                <a:gd name="T19" fmla="*/ 549 h 605"/>
                <a:gd name="T20" fmla="*/ 1094 w 1120"/>
                <a:gd name="T21" fmla="*/ 20 h 605"/>
                <a:gd name="T22" fmla="*/ 1096 w 1120"/>
                <a:gd name="T23" fmla="*/ 12 h 605"/>
                <a:gd name="T24" fmla="*/ 1108 w 1120"/>
                <a:gd name="T25" fmla="*/ 0 h 605"/>
                <a:gd name="T26" fmla="*/ 1120 w 1120"/>
                <a:gd name="T27" fmla="*/ 12 h 605"/>
                <a:gd name="T28" fmla="*/ 1116 w 1120"/>
                <a:gd name="T29" fmla="*/ 30 h 605"/>
                <a:gd name="T30" fmla="*/ 886 w 1120"/>
                <a:gd name="T31" fmla="*/ 559 h 605"/>
                <a:gd name="T32" fmla="*/ 837 w 1120"/>
                <a:gd name="T33" fmla="*/ 597 h 605"/>
                <a:gd name="T34" fmla="*/ 788 w 1120"/>
                <a:gd name="T35" fmla="*/ 60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0" h="605">
                  <a:moveTo>
                    <a:pt x="788" y="605"/>
                  </a:moveTo>
                  <a:cubicBezTo>
                    <a:pt x="763" y="605"/>
                    <a:pt x="738" y="599"/>
                    <a:pt x="719" y="588"/>
                  </a:cubicBezTo>
                  <a:cubicBezTo>
                    <a:pt x="33" y="192"/>
                    <a:pt x="33" y="192"/>
                    <a:pt x="33" y="192"/>
                  </a:cubicBezTo>
                  <a:cubicBezTo>
                    <a:pt x="12" y="180"/>
                    <a:pt x="0" y="163"/>
                    <a:pt x="0" y="145"/>
                  </a:cubicBezTo>
                  <a:cubicBezTo>
                    <a:pt x="24" y="145"/>
                    <a:pt x="24" y="145"/>
                    <a:pt x="24" y="145"/>
                  </a:cubicBezTo>
                  <a:cubicBezTo>
                    <a:pt x="24" y="145"/>
                    <a:pt x="24" y="145"/>
                    <a:pt x="24" y="145"/>
                  </a:cubicBezTo>
                  <a:cubicBezTo>
                    <a:pt x="24" y="155"/>
                    <a:pt x="32" y="164"/>
                    <a:pt x="45" y="171"/>
                  </a:cubicBezTo>
                  <a:cubicBezTo>
                    <a:pt x="731" y="567"/>
                    <a:pt x="731" y="567"/>
                    <a:pt x="731" y="567"/>
                  </a:cubicBezTo>
                  <a:cubicBezTo>
                    <a:pt x="756" y="582"/>
                    <a:pt x="797" y="585"/>
                    <a:pt x="829" y="575"/>
                  </a:cubicBezTo>
                  <a:cubicBezTo>
                    <a:pt x="847" y="569"/>
                    <a:pt x="859" y="559"/>
                    <a:pt x="864" y="549"/>
                  </a:cubicBezTo>
                  <a:cubicBezTo>
                    <a:pt x="1094" y="20"/>
                    <a:pt x="1094" y="20"/>
                    <a:pt x="1094" y="20"/>
                  </a:cubicBezTo>
                  <a:cubicBezTo>
                    <a:pt x="1095" y="17"/>
                    <a:pt x="1096" y="15"/>
                    <a:pt x="1096" y="12"/>
                  </a:cubicBezTo>
                  <a:cubicBezTo>
                    <a:pt x="1096" y="6"/>
                    <a:pt x="1101" y="0"/>
                    <a:pt x="1108" y="0"/>
                  </a:cubicBezTo>
                  <a:cubicBezTo>
                    <a:pt x="1114" y="0"/>
                    <a:pt x="1120" y="6"/>
                    <a:pt x="1120" y="12"/>
                  </a:cubicBezTo>
                  <a:cubicBezTo>
                    <a:pt x="1120" y="18"/>
                    <a:pt x="1119" y="24"/>
                    <a:pt x="1116" y="30"/>
                  </a:cubicBezTo>
                  <a:cubicBezTo>
                    <a:pt x="886" y="559"/>
                    <a:pt x="886" y="559"/>
                    <a:pt x="886" y="559"/>
                  </a:cubicBezTo>
                  <a:cubicBezTo>
                    <a:pt x="879" y="576"/>
                    <a:pt x="861" y="589"/>
                    <a:pt x="837" y="597"/>
                  </a:cubicBezTo>
                  <a:cubicBezTo>
                    <a:pt x="821" y="602"/>
                    <a:pt x="805" y="605"/>
                    <a:pt x="788" y="605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7" name="Freeform 2367">
              <a:extLst>
                <a:ext uri="{FF2B5EF4-FFF2-40B4-BE49-F238E27FC236}">
                  <a16:creationId xmlns:a16="http://schemas.microsoft.com/office/drawing/2014/main" id="{258395FB-D19D-430E-8E4B-887B46EDE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" y="3667"/>
              <a:ext cx="90" cy="56"/>
            </a:xfrm>
            <a:custGeom>
              <a:avLst/>
              <a:gdLst>
                <a:gd name="T0" fmla="*/ 73 w 327"/>
                <a:gd name="T1" fmla="*/ 203 h 203"/>
                <a:gd name="T2" fmla="*/ 67 w 327"/>
                <a:gd name="T3" fmla="*/ 202 h 203"/>
                <a:gd name="T4" fmla="*/ 6 w 327"/>
                <a:gd name="T5" fmla="*/ 166 h 203"/>
                <a:gd name="T6" fmla="*/ 0 w 327"/>
                <a:gd name="T7" fmla="*/ 156 h 203"/>
                <a:gd name="T8" fmla="*/ 5 w 327"/>
                <a:gd name="T9" fmla="*/ 146 h 203"/>
                <a:gd name="T10" fmla="*/ 179 w 327"/>
                <a:gd name="T11" fmla="*/ 28 h 203"/>
                <a:gd name="T12" fmla="*/ 197 w 327"/>
                <a:gd name="T13" fmla="*/ 17 h 203"/>
                <a:gd name="T14" fmla="*/ 302 w 327"/>
                <a:gd name="T15" fmla="*/ 17 h 203"/>
                <a:gd name="T16" fmla="*/ 327 w 327"/>
                <a:gd name="T17" fmla="*/ 54 h 203"/>
                <a:gd name="T18" fmla="*/ 302 w 327"/>
                <a:gd name="T19" fmla="*/ 92 h 203"/>
                <a:gd name="T20" fmla="*/ 282 w 327"/>
                <a:gd name="T21" fmla="*/ 103 h 203"/>
                <a:gd name="T22" fmla="*/ 79 w 327"/>
                <a:gd name="T23" fmla="*/ 202 h 203"/>
                <a:gd name="T24" fmla="*/ 73 w 327"/>
                <a:gd name="T25" fmla="*/ 203 h 203"/>
                <a:gd name="T26" fmla="*/ 34 w 327"/>
                <a:gd name="T27" fmla="*/ 155 h 203"/>
                <a:gd name="T28" fmla="*/ 74 w 327"/>
                <a:gd name="T29" fmla="*/ 178 h 203"/>
                <a:gd name="T30" fmla="*/ 272 w 327"/>
                <a:gd name="T31" fmla="*/ 81 h 203"/>
                <a:gd name="T32" fmla="*/ 290 w 327"/>
                <a:gd name="T33" fmla="*/ 71 h 203"/>
                <a:gd name="T34" fmla="*/ 303 w 327"/>
                <a:gd name="T35" fmla="*/ 54 h 203"/>
                <a:gd name="T36" fmla="*/ 290 w 327"/>
                <a:gd name="T37" fmla="*/ 38 h 203"/>
                <a:gd name="T38" fmla="*/ 290 w 327"/>
                <a:gd name="T39" fmla="*/ 38 h 203"/>
                <a:gd name="T40" fmla="*/ 209 w 327"/>
                <a:gd name="T41" fmla="*/ 38 h 203"/>
                <a:gd name="T42" fmla="*/ 191 w 327"/>
                <a:gd name="T43" fmla="*/ 49 h 203"/>
                <a:gd name="T44" fmla="*/ 34 w 327"/>
                <a:gd name="T45" fmla="*/ 155 h 203"/>
                <a:gd name="T46" fmla="*/ 277 w 327"/>
                <a:gd name="T47" fmla="*/ 92 h 203"/>
                <a:gd name="T48" fmla="*/ 277 w 327"/>
                <a:gd name="T49" fmla="*/ 9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7" h="203">
                  <a:moveTo>
                    <a:pt x="73" y="203"/>
                  </a:moveTo>
                  <a:cubicBezTo>
                    <a:pt x="71" y="203"/>
                    <a:pt x="69" y="203"/>
                    <a:pt x="67" y="202"/>
                  </a:cubicBezTo>
                  <a:cubicBezTo>
                    <a:pt x="6" y="166"/>
                    <a:pt x="6" y="166"/>
                    <a:pt x="6" y="166"/>
                  </a:cubicBezTo>
                  <a:cubicBezTo>
                    <a:pt x="2" y="164"/>
                    <a:pt x="0" y="160"/>
                    <a:pt x="0" y="156"/>
                  </a:cubicBezTo>
                  <a:cubicBezTo>
                    <a:pt x="0" y="152"/>
                    <a:pt x="2" y="148"/>
                    <a:pt x="5" y="146"/>
                  </a:cubicBezTo>
                  <a:cubicBezTo>
                    <a:pt x="5" y="146"/>
                    <a:pt x="178" y="28"/>
                    <a:pt x="179" y="28"/>
                  </a:cubicBezTo>
                  <a:cubicBezTo>
                    <a:pt x="197" y="17"/>
                    <a:pt x="197" y="17"/>
                    <a:pt x="197" y="17"/>
                  </a:cubicBezTo>
                  <a:cubicBezTo>
                    <a:pt x="227" y="0"/>
                    <a:pt x="272" y="1"/>
                    <a:pt x="302" y="17"/>
                  </a:cubicBezTo>
                  <a:cubicBezTo>
                    <a:pt x="318" y="27"/>
                    <a:pt x="327" y="40"/>
                    <a:pt x="327" y="54"/>
                  </a:cubicBezTo>
                  <a:cubicBezTo>
                    <a:pt x="327" y="69"/>
                    <a:pt x="318" y="82"/>
                    <a:pt x="302" y="92"/>
                  </a:cubicBezTo>
                  <a:cubicBezTo>
                    <a:pt x="302" y="92"/>
                    <a:pt x="283" y="103"/>
                    <a:pt x="282" y="103"/>
                  </a:cubicBezTo>
                  <a:cubicBezTo>
                    <a:pt x="79" y="202"/>
                    <a:pt x="79" y="202"/>
                    <a:pt x="79" y="202"/>
                  </a:cubicBezTo>
                  <a:cubicBezTo>
                    <a:pt x="77" y="203"/>
                    <a:pt x="75" y="203"/>
                    <a:pt x="73" y="203"/>
                  </a:cubicBezTo>
                  <a:close/>
                  <a:moveTo>
                    <a:pt x="34" y="155"/>
                  </a:moveTo>
                  <a:cubicBezTo>
                    <a:pt x="74" y="178"/>
                    <a:pt x="74" y="178"/>
                    <a:pt x="74" y="178"/>
                  </a:cubicBezTo>
                  <a:cubicBezTo>
                    <a:pt x="272" y="81"/>
                    <a:pt x="272" y="81"/>
                    <a:pt x="272" y="81"/>
                  </a:cubicBezTo>
                  <a:cubicBezTo>
                    <a:pt x="290" y="71"/>
                    <a:pt x="290" y="71"/>
                    <a:pt x="290" y="71"/>
                  </a:cubicBezTo>
                  <a:cubicBezTo>
                    <a:pt x="298" y="66"/>
                    <a:pt x="303" y="60"/>
                    <a:pt x="303" y="54"/>
                  </a:cubicBezTo>
                  <a:cubicBezTo>
                    <a:pt x="303" y="49"/>
                    <a:pt x="298" y="43"/>
                    <a:pt x="290" y="38"/>
                  </a:cubicBezTo>
                  <a:cubicBezTo>
                    <a:pt x="290" y="38"/>
                    <a:pt x="290" y="38"/>
                    <a:pt x="290" y="38"/>
                  </a:cubicBezTo>
                  <a:cubicBezTo>
                    <a:pt x="268" y="26"/>
                    <a:pt x="231" y="26"/>
                    <a:pt x="209" y="38"/>
                  </a:cubicBezTo>
                  <a:cubicBezTo>
                    <a:pt x="191" y="49"/>
                    <a:pt x="191" y="49"/>
                    <a:pt x="191" y="49"/>
                  </a:cubicBezTo>
                  <a:lnTo>
                    <a:pt x="34" y="155"/>
                  </a:lnTo>
                  <a:close/>
                  <a:moveTo>
                    <a:pt x="277" y="92"/>
                  </a:moveTo>
                  <a:cubicBezTo>
                    <a:pt x="277" y="92"/>
                    <a:pt x="277" y="92"/>
                    <a:pt x="277" y="9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Freeform 2368">
              <a:extLst>
                <a:ext uri="{FF2B5EF4-FFF2-40B4-BE49-F238E27FC236}">
                  <a16:creationId xmlns:a16="http://schemas.microsoft.com/office/drawing/2014/main" id="{B3E41E08-B2FC-44E2-A8AE-9934DB3975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7" y="3713"/>
              <a:ext cx="42" cy="27"/>
            </a:xfrm>
            <a:custGeom>
              <a:avLst/>
              <a:gdLst>
                <a:gd name="T0" fmla="*/ 77 w 154"/>
                <a:gd name="T1" fmla="*/ 100 h 100"/>
                <a:gd name="T2" fmla="*/ 25 w 154"/>
                <a:gd name="T3" fmla="*/ 87 h 100"/>
                <a:gd name="T4" fmla="*/ 0 w 154"/>
                <a:gd name="T5" fmla="*/ 50 h 100"/>
                <a:gd name="T6" fmla="*/ 0 w 154"/>
                <a:gd name="T7" fmla="*/ 50 h 100"/>
                <a:gd name="T8" fmla="*/ 25 w 154"/>
                <a:gd name="T9" fmla="*/ 13 h 100"/>
                <a:gd name="T10" fmla="*/ 77 w 154"/>
                <a:gd name="T11" fmla="*/ 1 h 100"/>
                <a:gd name="T12" fmla="*/ 129 w 154"/>
                <a:gd name="T13" fmla="*/ 13 h 100"/>
                <a:gd name="T14" fmla="*/ 154 w 154"/>
                <a:gd name="T15" fmla="*/ 50 h 100"/>
                <a:gd name="T16" fmla="*/ 129 w 154"/>
                <a:gd name="T17" fmla="*/ 87 h 100"/>
                <a:gd name="T18" fmla="*/ 77 w 154"/>
                <a:gd name="T19" fmla="*/ 100 h 100"/>
                <a:gd name="T20" fmla="*/ 24 w 154"/>
                <a:gd name="T21" fmla="*/ 50 h 100"/>
                <a:gd name="T22" fmla="*/ 37 w 154"/>
                <a:gd name="T23" fmla="*/ 67 h 100"/>
                <a:gd name="T24" fmla="*/ 77 w 154"/>
                <a:gd name="T25" fmla="*/ 76 h 100"/>
                <a:gd name="T26" fmla="*/ 117 w 154"/>
                <a:gd name="T27" fmla="*/ 67 h 100"/>
                <a:gd name="T28" fmla="*/ 130 w 154"/>
                <a:gd name="T29" fmla="*/ 50 h 100"/>
                <a:gd name="T30" fmla="*/ 117 w 154"/>
                <a:gd name="T31" fmla="*/ 34 h 100"/>
                <a:gd name="T32" fmla="*/ 77 w 154"/>
                <a:gd name="T33" fmla="*/ 25 h 100"/>
                <a:gd name="T34" fmla="*/ 37 w 154"/>
                <a:gd name="T35" fmla="*/ 34 h 100"/>
                <a:gd name="T36" fmla="*/ 24 w 154"/>
                <a:gd name="T37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4" h="100">
                  <a:moveTo>
                    <a:pt x="77" y="100"/>
                  </a:moveTo>
                  <a:cubicBezTo>
                    <a:pt x="57" y="100"/>
                    <a:pt x="40" y="96"/>
                    <a:pt x="25" y="87"/>
                  </a:cubicBezTo>
                  <a:cubicBezTo>
                    <a:pt x="4" y="75"/>
                    <a:pt x="0" y="61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36"/>
                    <a:pt x="8" y="23"/>
                    <a:pt x="25" y="13"/>
                  </a:cubicBezTo>
                  <a:cubicBezTo>
                    <a:pt x="40" y="5"/>
                    <a:pt x="57" y="1"/>
                    <a:pt x="77" y="1"/>
                  </a:cubicBezTo>
                  <a:cubicBezTo>
                    <a:pt x="97" y="0"/>
                    <a:pt x="114" y="5"/>
                    <a:pt x="129" y="13"/>
                  </a:cubicBezTo>
                  <a:cubicBezTo>
                    <a:pt x="146" y="23"/>
                    <a:pt x="154" y="36"/>
                    <a:pt x="154" y="50"/>
                  </a:cubicBezTo>
                  <a:cubicBezTo>
                    <a:pt x="154" y="61"/>
                    <a:pt x="150" y="75"/>
                    <a:pt x="129" y="87"/>
                  </a:cubicBezTo>
                  <a:cubicBezTo>
                    <a:pt x="114" y="96"/>
                    <a:pt x="97" y="100"/>
                    <a:pt x="77" y="100"/>
                  </a:cubicBezTo>
                  <a:close/>
                  <a:moveTo>
                    <a:pt x="24" y="50"/>
                  </a:moveTo>
                  <a:cubicBezTo>
                    <a:pt x="24" y="56"/>
                    <a:pt x="28" y="61"/>
                    <a:pt x="37" y="67"/>
                  </a:cubicBezTo>
                  <a:cubicBezTo>
                    <a:pt x="48" y="73"/>
                    <a:pt x="61" y="76"/>
                    <a:pt x="77" y="76"/>
                  </a:cubicBezTo>
                  <a:cubicBezTo>
                    <a:pt x="93" y="76"/>
                    <a:pt x="106" y="73"/>
                    <a:pt x="117" y="67"/>
                  </a:cubicBezTo>
                  <a:cubicBezTo>
                    <a:pt x="130" y="59"/>
                    <a:pt x="130" y="52"/>
                    <a:pt x="130" y="50"/>
                  </a:cubicBezTo>
                  <a:cubicBezTo>
                    <a:pt x="130" y="48"/>
                    <a:pt x="130" y="42"/>
                    <a:pt x="117" y="34"/>
                  </a:cubicBezTo>
                  <a:cubicBezTo>
                    <a:pt x="106" y="28"/>
                    <a:pt x="93" y="25"/>
                    <a:pt x="77" y="25"/>
                  </a:cubicBezTo>
                  <a:cubicBezTo>
                    <a:pt x="62" y="25"/>
                    <a:pt x="48" y="28"/>
                    <a:pt x="37" y="34"/>
                  </a:cubicBezTo>
                  <a:cubicBezTo>
                    <a:pt x="24" y="42"/>
                    <a:pt x="24" y="48"/>
                    <a:pt x="24" y="5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Freeform 2369">
              <a:extLst>
                <a:ext uri="{FF2B5EF4-FFF2-40B4-BE49-F238E27FC236}">
                  <a16:creationId xmlns:a16="http://schemas.microsoft.com/office/drawing/2014/main" id="{B814FBFF-BADE-426B-A168-1955F86E9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" y="3684"/>
              <a:ext cx="7" cy="32"/>
            </a:xfrm>
            <a:custGeom>
              <a:avLst/>
              <a:gdLst>
                <a:gd name="T0" fmla="*/ 12 w 24"/>
                <a:gd name="T1" fmla="*/ 117 h 117"/>
                <a:gd name="T2" fmla="*/ 0 w 24"/>
                <a:gd name="T3" fmla="*/ 105 h 117"/>
                <a:gd name="T4" fmla="*/ 0 w 24"/>
                <a:gd name="T5" fmla="*/ 12 h 117"/>
                <a:gd name="T6" fmla="*/ 12 w 24"/>
                <a:gd name="T7" fmla="*/ 0 h 117"/>
                <a:gd name="T8" fmla="*/ 24 w 24"/>
                <a:gd name="T9" fmla="*/ 12 h 117"/>
                <a:gd name="T10" fmla="*/ 24 w 24"/>
                <a:gd name="T11" fmla="*/ 105 h 117"/>
                <a:gd name="T12" fmla="*/ 12 w 24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17">
                  <a:moveTo>
                    <a:pt x="12" y="117"/>
                  </a:moveTo>
                  <a:cubicBezTo>
                    <a:pt x="6" y="117"/>
                    <a:pt x="0" y="112"/>
                    <a:pt x="0" y="10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4" y="112"/>
                    <a:pt x="19" y="117"/>
                    <a:pt x="12" y="11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Freeform 2370">
              <a:extLst>
                <a:ext uri="{FF2B5EF4-FFF2-40B4-BE49-F238E27FC236}">
                  <a16:creationId xmlns:a16="http://schemas.microsoft.com/office/drawing/2014/main" id="{45247A1E-AB6D-4F7E-87FF-9C6315AC2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" y="3647"/>
              <a:ext cx="7" cy="32"/>
            </a:xfrm>
            <a:custGeom>
              <a:avLst/>
              <a:gdLst>
                <a:gd name="T0" fmla="*/ 12 w 24"/>
                <a:gd name="T1" fmla="*/ 117 h 117"/>
                <a:gd name="T2" fmla="*/ 0 w 24"/>
                <a:gd name="T3" fmla="*/ 105 h 117"/>
                <a:gd name="T4" fmla="*/ 0 w 24"/>
                <a:gd name="T5" fmla="*/ 12 h 117"/>
                <a:gd name="T6" fmla="*/ 12 w 24"/>
                <a:gd name="T7" fmla="*/ 0 h 117"/>
                <a:gd name="T8" fmla="*/ 24 w 24"/>
                <a:gd name="T9" fmla="*/ 12 h 117"/>
                <a:gd name="T10" fmla="*/ 24 w 24"/>
                <a:gd name="T11" fmla="*/ 105 h 117"/>
                <a:gd name="T12" fmla="*/ 12 w 24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17">
                  <a:moveTo>
                    <a:pt x="12" y="117"/>
                  </a:moveTo>
                  <a:cubicBezTo>
                    <a:pt x="5" y="117"/>
                    <a:pt x="0" y="111"/>
                    <a:pt x="0" y="10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24" y="6"/>
                    <a:pt x="24" y="12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4" y="111"/>
                    <a:pt x="18" y="117"/>
                    <a:pt x="12" y="11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Freeform 2371">
              <a:extLst>
                <a:ext uri="{FF2B5EF4-FFF2-40B4-BE49-F238E27FC236}">
                  <a16:creationId xmlns:a16="http://schemas.microsoft.com/office/drawing/2014/main" id="{39C0DE73-0010-4DDE-9396-C4386F199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657"/>
              <a:ext cx="110" cy="106"/>
            </a:xfrm>
            <a:custGeom>
              <a:avLst/>
              <a:gdLst>
                <a:gd name="T0" fmla="*/ 400 w 400"/>
                <a:gd name="T1" fmla="*/ 0 h 383"/>
                <a:gd name="T2" fmla="*/ 400 w 400"/>
                <a:gd name="T3" fmla="*/ 256 h 383"/>
                <a:gd name="T4" fmla="*/ 342 w 400"/>
                <a:gd name="T5" fmla="*/ 338 h 383"/>
                <a:gd name="T6" fmla="*/ 58 w 400"/>
                <a:gd name="T7" fmla="*/ 338 h 383"/>
                <a:gd name="T8" fmla="*/ 0 w 400"/>
                <a:gd name="T9" fmla="*/ 256 h 383"/>
                <a:gd name="T10" fmla="*/ 0 w 400"/>
                <a:gd name="T11" fmla="*/ 0 h 383"/>
                <a:gd name="T12" fmla="*/ 58 w 400"/>
                <a:gd name="T13" fmla="*/ 82 h 383"/>
                <a:gd name="T14" fmla="*/ 342 w 400"/>
                <a:gd name="T15" fmla="*/ 82 h 383"/>
                <a:gd name="T16" fmla="*/ 400 w 400"/>
                <a:gd name="T1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383">
                  <a:moveTo>
                    <a:pt x="400" y="0"/>
                  </a:moveTo>
                  <a:cubicBezTo>
                    <a:pt x="400" y="256"/>
                    <a:pt x="400" y="256"/>
                    <a:pt x="400" y="256"/>
                  </a:cubicBezTo>
                  <a:cubicBezTo>
                    <a:pt x="400" y="285"/>
                    <a:pt x="381" y="315"/>
                    <a:pt x="342" y="338"/>
                  </a:cubicBezTo>
                  <a:cubicBezTo>
                    <a:pt x="263" y="383"/>
                    <a:pt x="136" y="383"/>
                    <a:pt x="58" y="338"/>
                  </a:cubicBezTo>
                  <a:cubicBezTo>
                    <a:pt x="19" y="315"/>
                    <a:pt x="0" y="285"/>
                    <a:pt x="0" y="2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19" y="59"/>
                    <a:pt x="58" y="82"/>
                  </a:cubicBezTo>
                  <a:cubicBezTo>
                    <a:pt x="136" y="127"/>
                    <a:pt x="263" y="127"/>
                    <a:pt x="342" y="82"/>
                  </a:cubicBezTo>
                  <a:cubicBezTo>
                    <a:pt x="381" y="59"/>
                    <a:pt x="400" y="30"/>
                    <a:pt x="400" y="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Freeform 2372">
              <a:extLst>
                <a:ext uri="{FF2B5EF4-FFF2-40B4-BE49-F238E27FC236}">
                  <a16:creationId xmlns:a16="http://schemas.microsoft.com/office/drawing/2014/main" id="{6475E30F-BC6D-486B-BB76-86BBB8F7F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610"/>
              <a:ext cx="110" cy="82"/>
            </a:xfrm>
            <a:custGeom>
              <a:avLst/>
              <a:gdLst>
                <a:gd name="T0" fmla="*/ 400 w 400"/>
                <a:gd name="T1" fmla="*/ 0 h 297"/>
                <a:gd name="T2" fmla="*/ 400 w 400"/>
                <a:gd name="T3" fmla="*/ 170 h 297"/>
                <a:gd name="T4" fmla="*/ 342 w 400"/>
                <a:gd name="T5" fmla="*/ 252 h 297"/>
                <a:gd name="T6" fmla="*/ 58 w 400"/>
                <a:gd name="T7" fmla="*/ 252 h 297"/>
                <a:gd name="T8" fmla="*/ 0 w 400"/>
                <a:gd name="T9" fmla="*/ 170 h 297"/>
                <a:gd name="T10" fmla="*/ 0 w 400"/>
                <a:gd name="T11" fmla="*/ 0 h 297"/>
                <a:gd name="T12" fmla="*/ 58 w 400"/>
                <a:gd name="T13" fmla="*/ 82 h 297"/>
                <a:gd name="T14" fmla="*/ 342 w 400"/>
                <a:gd name="T15" fmla="*/ 82 h 297"/>
                <a:gd name="T16" fmla="*/ 400 w 400"/>
                <a:gd name="T17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297">
                  <a:moveTo>
                    <a:pt x="400" y="0"/>
                  </a:moveTo>
                  <a:cubicBezTo>
                    <a:pt x="400" y="170"/>
                    <a:pt x="400" y="170"/>
                    <a:pt x="400" y="170"/>
                  </a:cubicBezTo>
                  <a:cubicBezTo>
                    <a:pt x="400" y="200"/>
                    <a:pt x="381" y="229"/>
                    <a:pt x="342" y="252"/>
                  </a:cubicBezTo>
                  <a:cubicBezTo>
                    <a:pt x="263" y="297"/>
                    <a:pt x="136" y="297"/>
                    <a:pt x="58" y="252"/>
                  </a:cubicBezTo>
                  <a:cubicBezTo>
                    <a:pt x="19" y="229"/>
                    <a:pt x="0" y="200"/>
                    <a:pt x="0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9"/>
                    <a:pt x="19" y="59"/>
                    <a:pt x="58" y="82"/>
                  </a:cubicBezTo>
                  <a:cubicBezTo>
                    <a:pt x="136" y="127"/>
                    <a:pt x="263" y="127"/>
                    <a:pt x="342" y="82"/>
                  </a:cubicBezTo>
                  <a:cubicBezTo>
                    <a:pt x="381" y="59"/>
                    <a:pt x="400" y="29"/>
                    <a:pt x="400" y="0"/>
                  </a:cubicBezTo>
                  <a:close/>
                </a:path>
              </a:pathLst>
            </a:custGeom>
            <a:solidFill>
              <a:srgbClr val="C2C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Freeform 2373">
              <a:extLst>
                <a:ext uri="{FF2B5EF4-FFF2-40B4-BE49-F238E27FC236}">
                  <a16:creationId xmlns:a16="http://schemas.microsoft.com/office/drawing/2014/main" id="{129E1404-4877-499B-A75D-638C55896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583"/>
              <a:ext cx="110" cy="62"/>
            </a:xfrm>
            <a:custGeom>
              <a:avLst/>
              <a:gdLst>
                <a:gd name="T0" fmla="*/ 400 w 400"/>
                <a:gd name="T1" fmla="*/ 0 h 226"/>
                <a:gd name="T2" fmla="*/ 400 w 400"/>
                <a:gd name="T3" fmla="*/ 99 h 226"/>
                <a:gd name="T4" fmla="*/ 342 w 400"/>
                <a:gd name="T5" fmla="*/ 181 h 226"/>
                <a:gd name="T6" fmla="*/ 58 w 400"/>
                <a:gd name="T7" fmla="*/ 181 h 226"/>
                <a:gd name="T8" fmla="*/ 0 w 400"/>
                <a:gd name="T9" fmla="*/ 99 h 226"/>
                <a:gd name="T10" fmla="*/ 0 w 400"/>
                <a:gd name="T11" fmla="*/ 0 h 226"/>
                <a:gd name="T12" fmla="*/ 58 w 400"/>
                <a:gd name="T13" fmla="*/ 82 h 226"/>
                <a:gd name="T14" fmla="*/ 342 w 400"/>
                <a:gd name="T15" fmla="*/ 82 h 226"/>
                <a:gd name="T16" fmla="*/ 400 w 400"/>
                <a:gd name="T17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226">
                  <a:moveTo>
                    <a:pt x="400" y="0"/>
                  </a:moveTo>
                  <a:cubicBezTo>
                    <a:pt x="400" y="99"/>
                    <a:pt x="400" y="99"/>
                    <a:pt x="400" y="99"/>
                  </a:cubicBezTo>
                  <a:cubicBezTo>
                    <a:pt x="400" y="128"/>
                    <a:pt x="381" y="158"/>
                    <a:pt x="342" y="181"/>
                  </a:cubicBezTo>
                  <a:cubicBezTo>
                    <a:pt x="263" y="226"/>
                    <a:pt x="136" y="226"/>
                    <a:pt x="58" y="181"/>
                  </a:cubicBezTo>
                  <a:cubicBezTo>
                    <a:pt x="19" y="158"/>
                    <a:pt x="0" y="128"/>
                    <a:pt x="0" y="9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19" y="59"/>
                    <a:pt x="58" y="82"/>
                  </a:cubicBezTo>
                  <a:cubicBezTo>
                    <a:pt x="136" y="127"/>
                    <a:pt x="263" y="127"/>
                    <a:pt x="342" y="82"/>
                  </a:cubicBezTo>
                  <a:cubicBezTo>
                    <a:pt x="381" y="59"/>
                    <a:pt x="400" y="30"/>
                    <a:pt x="400" y="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Freeform 2374">
              <a:extLst>
                <a:ext uri="{FF2B5EF4-FFF2-40B4-BE49-F238E27FC236}">
                  <a16:creationId xmlns:a16="http://schemas.microsoft.com/office/drawing/2014/main" id="{A3ADE0A0-98A8-44EE-BA03-6E78DAC84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524"/>
              <a:ext cx="110" cy="94"/>
            </a:xfrm>
            <a:custGeom>
              <a:avLst/>
              <a:gdLst>
                <a:gd name="T0" fmla="*/ 400 w 400"/>
                <a:gd name="T1" fmla="*/ 2 h 339"/>
                <a:gd name="T2" fmla="*/ 400 w 400"/>
                <a:gd name="T3" fmla="*/ 212 h 339"/>
                <a:gd name="T4" fmla="*/ 342 w 400"/>
                <a:gd name="T5" fmla="*/ 294 h 339"/>
                <a:gd name="T6" fmla="*/ 58 w 400"/>
                <a:gd name="T7" fmla="*/ 294 h 339"/>
                <a:gd name="T8" fmla="*/ 0 w 400"/>
                <a:gd name="T9" fmla="*/ 212 h 339"/>
                <a:gd name="T10" fmla="*/ 0 w 400"/>
                <a:gd name="T11" fmla="*/ 0 h 339"/>
                <a:gd name="T12" fmla="*/ 58 w 400"/>
                <a:gd name="T13" fmla="*/ 82 h 339"/>
                <a:gd name="T14" fmla="*/ 342 w 400"/>
                <a:gd name="T15" fmla="*/ 82 h 339"/>
                <a:gd name="T16" fmla="*/ 400 w 400"/>
                <a:gd name="T17" fmla="*/ 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339">
                  <a:moveTo>
                    <a:pt x="400" y="2"/>
                  </a:moveTo>
                  <a:cubicBezTo>
                    <a:pt x="400" y="212"/>
                    <a:pt x="400" y="212"/>
                    <a:pt x="400" y="212"/>
                  </a:cubicBezTo>
                  <a:cubicBezTo>
                    <a:pt x="400" y="242"/>
                    <a:pt x="381" y="271"/>
                    <a:pt x="342" y="294"/>
                  </a:cubicBezTo>
                  <a:cubicBezTo>
                    <a:pt x="263" y="339"/>
                    <a:pt x="136" y="339"/>
                    <a:pt x="58" y="294"/>
                  </a:cubicBezTo>
                  <a:cubicBezTo>
                    <a:pt x="19" y="271"/>
                    <a:pt x="0" y="242"/>
                    <a:pt x="0" y="2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19" y="60"/>
                    <a:pt x="58" y="82"/>
                  </a:cubicBezTo>
                  <a:cubicBezTo>
                    <a:pt x="136" y="127"/>
                    <a:pt x="263" y="127"/>
                    <a:pt x="342" y="82"/>
                  </a:cubicBezTo>
                  <a:cubicBezTo>
                    <a:pt x="380" y="60"/>
                    <a:pt x="400" y="31"/>
                    <a:pt x="40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Freeform 2375">
              <a:extLst>
                <a:ext uri="{FF2B5EF4-FFF2-40B4-BE49-F238E27FC236}">
                  <a16:creationId xmlns:a16="http://schemas.microsoft.com/office/drawing/2014/main" id="{0B90F781-5245-4B90-9C1C-10D9374B2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" y="3489"/>
              <a:ext cx="110" cy="70"/>
            </a:xfrm>
            <a:custGeom>
              <a:avLst/>
              <a:gdLst>
                <a:gd name="T0" fmla="*/ 400 w 400"/>
                <a:gd name="T1" fmla="*/ 127 h 254"/>
                <a:gd name="T2" fmla="*/ 400 w 400"/>
                <a:gd name="T3" fmla="*/ 129 h 254"/>
                <a:gd name="T4" fmla="*/ 342 w 400"/>
                <a:gd name="T5" fmla="*/ 209 h 254"/>
                <a:gd name="T6" fmla="*/ 58 w 400"/>
                <a:gd name="T7" fmla="*/ 209 h 254"/>
                <a:gd name="T8" fmla="*/ 0 w 400"/>
                <a:gd name="T9" fmla="*/ 127 h 254"/>
                <a:gd name="T10" fmla="*/ 58 w 400"/>
                <a:gd name="T11" fmla="*/ 46 h 254"/>
                <a:gd name="T12" fmla="*/ 342 w 400"/>
                <a:gd name="T13" fmla="*/ 46 h 254"/>
                <a:gd name="T14" fmla="*/ 400 w 400"/>
                <a:gd name="T15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0" h="254">
                  <a:moveTo>
                    <a:pt x="400" y="127"/>
                  </a:moveTo>
                  <a:cubicBezTo>
                    <a:pt x="400" y="129"/>
                    <a:pt x="400" y="129"/>
                    <a:pt x="400" y="129"/>
                  </a:cubicBezTo>
                  <a:cubicBezTo>
                    <a:pt x="400" y="158"/>
                    <a:pt x="380" y="187"/>
                    <a:pt x="342" y="209"/>
                  </a:cubicBezTo>
                  <a:cubicBezTo>
                    <a:pt x="263" y="254"/>
                    <a:pt x="136" y="254"/>
                    <a:pt x="58" y="209"/>
                  </a:cubicBezTo>
                  <a:cubicBezTo>
                    <a:pt x="19" y="187"/>
                    <a:pt x="0" y="157"/>
                    <a:pt x="0" y="127"/>
                  </a:cubicBezTo>
                  <a:cubicBezTo>
                    <a:pt x="0" y="98"/>
                    <a:pt x="19" y="68"/>
                    <a:pt x="58" y="46"/>
                  </a:cubicBezTo>
                  <a:cubicBezTo>
                    <a:pt x="136" y="0"/>
                    <a:pt x="263" y="0"/>
                    <a:pt x="342" y="46"/>
                  </a:cubicBezTo>
                  <a:cubicBezTo>
                    <a:pt x="381" y="68"/>
                    <a:pt x="400" y="98"/>
                    <a:pt x="400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2376">
              <a:extLst>
                <a:ext uri="{FF2B5EF4-FFF2-40B4-BE49-F238E27FC236}">
                  <a16:creationId xmlns:a16="http://schemas.microsoft.com/office/drawing/2014/main" id="{DEABFE77-B9F0-4B79-892D-12663C9DF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" y="3509"/>
              <a:ext cx="50" cy="31"/>
            </a:xfrm>
            <a:custGeom>
              <a:avLst/>
              <a:gdLst>
                <a:gd name="T0" fmla="*/ 179 w 179"/>
                <a:gd name="T1" fmla="*/ 56 h 113"/>
                <a:gd name="T2" fmla="*/ 179 w 179"/>
                <a:gd name="T3" fmla="*/ 57 h 113"/>
                <a:gd name="T4" fmla="*/ 153 w 179"/>
                <a:gd name="T5" fmla="*/ 93 h 113"/>
                <a:gd name="T6" fmla="*/ 27 w 179"/>
                <a:gd name="T7" fmla="*/ 93 h 113"/>
                <a:gd name="T8" fmla="*/ 0 w 179"/>
                <a:gd name="T9" fmla="*/ 56 h 113"/>
                <a:gd name="T10" fmla="*/ 27 w 179"/>
                <a:gd name="T11" fmla="*/ 20 h 113"/>
                <a:gd name="T12" fmla="*/ 153 w 179"/>
                <a:gd name="T13" fmla="*/ 20 h 113"/>
                <a:gd name="T14" fmla="*/ 179 w 179"/>
                <a:gd name="T15" fmla="*/ 5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" h="113">
                  <a:moveTo>
                    <a:pt x="179" y="56"/>
                  </a:moveTo>
                  <a:cubicBezTo>
                    <a:pt x="179" y="57"/>
                    <a:pt x="179" y="57"/>
                    <a:pt x="179" y="57"/>
                  </a:cubicBezTo>
                  <a:cubicBezTo>
                    <a:pt x="179" y="70"/>
                    <a:pt x="170" y="83"/>
                    <a:pt x="153" y="93"/>
                  </a:cubicBezTo>
                  <a:cubicBezTo>
                    <a:pt x="118" y="113"/>
                    <a:pt x="62" y="113"/>
                    <a:pt x="27" y="93"/>
                  </a:cubicBezTo>
                  <a:cubicBezTo>
                    <a:pt x="9" y="83"/>
                    <a:pt x="0" y="70"/>
                    <a:pt x="0" y="56"/>
                  </a:cubicBezTo>
                  <a:cubicBezTo>
                    <a:pt x="0" y="43"/>
                    <a:pt x="9" y="30"/>
                    <a:pt x="27" y="20"/>
                  </a:cubicBezTo>
                  <a:cubicBezTo>
                    <a:pt x="62" y="0"/>
                    <a:pt x="118" y="0"/>
                    <a:pt x="153" y="20"/>
                  </a:cubicBezTo>
                  <a:cubicBezTo>
                    <a:pt x="171" y="30"/>
                    <a:pt x="179" y="43"/>
                    <a:pt x="179" y="5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2377">
              <a:extLst>
                <a:ext uri="{FF2B5EF4-FFF2-40B4-BE49-F238E27FC236}">
                  <a16:creationId xmlns:a16="http://schemas.microsoft.com/office/drawing/2014/main" id="{35258A0D-9AC7-48A0-92A3-C2F293115F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" y="3486"/>
              <a:ext cx="117" cy="73"/>
            </a:xfrm>
            <a:custGeom>
              <a:avLst/>
              <a:gdLst>
                <a:gd name="T0" fmla="*/ 212 w 424"/>
                <a:gd name="T1" fmla="*/ 267 h 267"/>
                <a:gd name="T2" fmla="*/ 64 w 424"/>
                <a:gd name="T3" fmla="*/ 232 h 267"/>
                <a:gd name="T4" fmla="*/ 0 w 424"/>
                <a:gd name="T5" fmla="*/ 139 h 267"/>
                <a:gd name="T6" fmla="*/ 64 w 424"/>
                <a:gd name="T7" fmla="*/ 47 h 267"/>
                <a:gd name="T8" fmla="*/ 360 w 424"/>
                <a:gd name="T9" fmla="*/ 47 h 267"/>
                <a:gd name="T10" fmla="*/ 424 w 424"/>
                <a:gd name="T11" fmla="*/ 139 h 267"/>
                <a:gd name="T12" fmla="*/ 424 w 424"/>
                <a:gd name="T13" fmla="*/ 140 h 267"/>
                <a:gd name="T14" fmla="*/ 424 w 424"/>
                <a:gd name="T15" fmla="*/ 141 h 267"/>
                <a:gd name="T16" fmla="*/ 360 w 424"/>
                <a:gd name="T17" fmla="*/ 232 h 267"/>
                <a:gd name="T18" fmla="*/ 212 w 424"/>
                <a:gd name="T19" fmla="*/ 267 h 267"/>
                <a:gd name="T20" fmla="*/ 212 w 424"/>
                <a:gd name="T21" fmla="*/ 36 h 267"/>
                <a:gd name="T22" fmla="*/ 76 w 424"/>
                <a:gd name="T23" fmla="*/ 68 h 267"/>
                <a:gd name="T24" fmla="*/ 24 w 424"/>
                <a:gd name="T25" fmla="*/ 139 h 267"/>
                <a:gd name="T26" fmla="*/ 76 w 424"/>
                <a:gd name="T27" fmla="*/ 211 h 267"/>
                <a:gd name="T28" fmla="*/ 348 w 424"/>
                <a:gd name="T29" fmla="*/ 211 h 267"/>
                <a:gd name="T30" fmla="*/ 400 w 424"/>
                <a:gd name="T31" fmla="*/ 141 h 267"/>
                <a:gd name="T32" fmla="*/ 400 w 424"/>
                <a:gd name="T33" fmla="*/ 140 h 267"/>
                <a:gd name="T34" fmla="*/ 400 w 424"/>
                <a:gd name="T35" fmla="*/ 139 h 267"/>
                <a:gd name="T36" fmla="*/ 348 w 424"/>
                <a:gd name="T37" fmla="*/ 68 h 267"/>
                <a:gd name="T38" fmla="*/ 212 w 424"/>
                <a:gd name="T39" fmla="*/ 3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4" h="267">
                  <a:moveTo>
                    <a:pt x="212" y="267"/>
                  </a:moveTo>
                  <a:cubicBezTo>
                    <a:pt x="158" y="267"/>
                    <a:pt x="105" y="255"/>
                    <a:pt x="64" y="232"/>
                  </a:cubicBezTo>
                  <a:cubicBezTo>
                    <a:pt x="22" y="208"/>
                    <a:pt x="0" y="175"/>
                    <a:pt x="0" y="139"/>
                  </a:cubicBezTo>
                  <a:cubicBezTo>
                    <a:pt x="0" y="104"/>
                    <a:pt x="22" y="71"/>
                    <a:pt x="64" y="47"/>
                  </a:cubicBezTo>
                  <a:cubicBezTo>
                    <a:pt x="146" y="0"/>
                    <a:pt x="278" y="0"/>
                    <a:pt x="360" y="47"/>
                  </a:cubicBezTo>
                  <a:cubicBezTo>
                    <a:pt x="401" y="71"/>
                    <a:pt x="424" y="104"/>
                    <a:pt x="424" y="139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4" y="140"/>
                    <a:pt x="424" y="141"/>
                    <a:pt x="424" y="141"/>
                  </a:cubicBezTo>
                  <a:cubicBezTo>
                    <a:pt x="424" y="176"/>
                    <a:pt x="401" y="208"/>
                    <a:pt x="360" y="232"/>
                  </a:cubicBezTo>
                  <a:cubicBezTo>
                    <a:pt x="319" y="255"/>
                    <a:pt x="265" y="267"/>
                    <a:pt x="212" y="267"/>
                  </a:cubicBezTo>
                  <a:close/>
                  <a:moveTo>
                    <a:pt x="212" y="36"/>
                  </a:moveTo>
                  <a:cubicBezTo>
                    <a:pt x="163" y="36"/>
                    <a:pt x="114" y="46"/>
                    <a:pt x="76" y="68"/>
                  </a:cubicBezTo>
                  <a:cubicBezTo>
                    <a:pt x="42" y="88"/>
                    <a:pt x="24" y="113"/>
                    <a:pt x="24" y="139"/>
                  </a:cubicBezTo>
                  <a:cubicBezTo>
                    <a:pt x="24" y="166"/>
                    <a:pt x="42" y="191"/>
                    <a:pt x="76" y="211"/>
                  </a:cubicBezTo>
                  <a:cubicBezTo>
                    <a:pt x="151" y="254"/>
                    <a:pt x="273" y="254"/>
                    <a:pt x="348" y="211"/>
                  </a:cubicBezTo>
                  <a:cubicBezTo>
                    <a:pt x="381" y="192"/>
                    <a:pt x="400" y="167"/>
                    <a:pt x="400" y="141"/>
                  </a:cubicBezTo>
                  <a:cubicBezTo>
                    <a:pt x="400" y="140"/>
                    <a:pt x="400" y="140"/>
                    <a:pt x="400" y="140"/>
                  </a:cubicBezTo>
                  <a:cubicBezTo>
                    <a:pt x="400" y="140"/>
                    <a:pt x="400" y="140"/>
                    <a:pt x="400" y="139"/>
                  </a:cubicBezTo>
                  <a:cubicBezTo>
                    <a:pt x="400" y="113"/>
                    <a:pt x="382" y="88"/>
                    <a:pt x="348" y="68"/>
                  </a:cubicBezTo>
                  <a:cubicBezTo>
                    <a:pt x="310" y="46"/>
                    <a:pt x="261" y="36"/>
                    <a:pt x="212" y="3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Freeform 2378">
              <a:extLst>
                <a:ext uri="{FF2B5EF4-FFF2-40B4-BE49-F238E27FC236}">
                  <a16:creationId xmlns:a16="http://schemas.microsoft.com/office/drawing/2014/main" id="{C1B97533-F6D9-4F80-AE00-6E81A1DE6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" y="3521"/>
              <a:ext cx="117" cy="242"/>
            </a:xfrm>
            <a:custGeom>
              <a:avLst/>
              <a:gdLst>
                <a:gd name="T0" fmla="*/ 212 w 424"/>
                <a:gd name="T1" fmla="*/ 876 h 876"/>
                <a:gd name="T2" fmla="*/ 64 w 424"/>
                <a:gd name="T3" fmla="*/ 841 h 876"/>
                <a:gd name="T4" fmla="*/ 0 w 424"/>
                <a:gd name="T5" fmla="*/ 749 h 876"/>
                <a:gd name="T6" fmla="*/ 0 w 424"/>
                <a:gd name="T7" fmla="*/ 12 h 876"/>
                <a:gd name="T8" fmla="*/ 12 w 424"/>
                <a:gd name="T9" fmla="*/ 0 h 876"/>
                <a:gd name="T10" fmla="*/ 24 w 424"/>
                <a:gd name="T11" fmla="*/ 12 h 876"/>
                <a:gd name="T12" fmla="*/ 24 w 424"/>
                <a:gd name="T13" fmla="*/ 749 h 876"/>
                <a:gd name="T14" fmla="*/ 76 w 424"/>
                <a:gd name="T15" fmla="*/ 820 h 876"/>
                <a:gd name="T16" fmla="*/ 348 w 424"/>
                <a:gd name="T17" fmla="*/ 820 h 876"/>
                <a:gd name="T18" fmla="*/ 400 w 424"/>
                <a:gd name="T19" fmla="*/ 749 h 876"/>
                <a:gd name="T20" fmla="*/ 400 w 424"/>
                <a:gd name="T21" fmla="*/ 12 h 876"/>
                <a:gd name="T22" fmla="*/ 412 w 424"/>
                <a:gd name="T23" fmla="*/ 0 h 876"/>
                <a:gd name="T24" fmla="*/ 424 w 424"/>
                <a:gd name="T25" fmla="*/ 12 h 876"/>
                <a:gd name="T26" fmla="*/ 424 w 424"/>
                <a:gd name="T27" fmla="*/ 749 h 876"/>
                <a:gd name="T28" fmla="*/ 360 w 424"/>
                <a:gd name="T29" fmla="*/ 841 h 876"/>
                <a:gd name="T30" fmla="*/ 212 w 424"/>
                <a:gd name="T31" fmla="*/ 876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4" h="876">
                  <a:moveTo>
                    <a:pt x="212" y="876"/>
                  </a:moveTo>
                  <a:cubicBezTo>
                    <a:pt x="158" y="876"/>
                    <a:pt x="105" y="865"/>
                    <a:pt x="64" y="841"/>
                  </a:cubicBezTo>
                  <a:cubicBezTo>
                    <a:pt x="22" y="817"/>
                    <a:pt x="0" y="784"/>
                    <a:pt x="0" y="74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24" y="6"/>
                    <a:pt x="24" y="12"/>
                  </a:cubicBezTo>
                  <a:cubicBezTo>
                    <a:pt x="24" y="749"/>
                    <a:pt x="24" y="749"/>
                    <a:pt x="24" y="749"/>
                  </a:cubicBezTo>
                  <a:cubicBezTo>
                    <a:pt x="24" y="775"/>
                    <a:pt x="42" y="801"/>
                    <a:pt x="76" y="820"/>
                  </a:cubicBezTo>
                  <a:cubicBezTo>
                    <a:pt x="151" y="863"/>
                    <a:pt x="273" y="863"/>
                    <a:pt x="348" y="820"/>
                  </a:cubicBezTo>
                  <a:cubicBezTo>
                    <a:pt x="382" y="801"/>
                    <a:pt x="400" y="775"/>
                    <a:pt x="400" y="749"/>
                  </a:cubicBezTo>
                  <a:cubicBezTo>
                    <a:pt x="400" y="12"/>
                    <a:pt x="400" y="12"/>
                    <a:pt x="400" y="12"/>
                  </a:cubicBezTo>
                  <a:cubicBezTo>
                    <a:pt x="400" y="6"/>
                    <a:pt x="406" y="0"/>
                    <a:pt x="412" y="0"/>
                  </a:cubicBezTo>
                  <a:cubicBezTo>
                    <a:pt x="419" y="0"/>
                    <a:pt x="424" y="6"/>
                    <a:pt x="424" y="12"/>
                  </a:cubicBezTo>
                  <a:cubicBezTo>
                    <a:pt x="424" y="749"/>
                    <a:pt x="424" y="749"/>
                    <a:pt x="424" y="749"/>
                  </a:cubicBezTo>
                  <a:cubicBezTo>
                    <a:pt x="424" y="784"/>
                    <a:pt x="401" y="817"/>
                    <a:pt x="360" y="841"/>
                  </a:cubicBezTo>
                  <a:cubicBezTo>
                    <a:pt x="319" y="865"/>
                    <a:pt x="265" y="876"/>
                    <a:pt x="212" y="87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Freeform 2379">
              <a:extLst>
                <a:ext uri="{FF2B5EF4-FFF2-40B4-BE49-F238E27FC236}">
                  <a16:creationId xmlns:a16="http://schemas.microsoft.com/office/drawing/2014/main" id="{15C70EEE-2ECF-47F2-8209-E9ADCD667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" y="3654"/>
              <a:ext cx="117" cy="38"/>
            </a:xfrm>
            <a:custGeom>
              <a:avLst/>
              <a:gdLst>
                <a:gd name="T0" fmla="*/ 212 w 424"/>
                <a:gd name="T1" fmla="*/ 140 h 140"/>
                <a:gd name="T2" fmla="*/ 64 w 424"/>
                <a:gd name="T3" fmla="*/ 104 h 140"/>
                <a:gd name="T4" fmla="*/ 0 w 424"/>
                <a:gd name="T5" fmla="*/ 12 h 140"/>
                <a:gd name="T6" fmla="*/ 12 w 424"/>
                <a:gd name="T7" fmla="*/ 0 h 140"/>
                <a:gd name="T8" fmla="*/ 24 w 424"/>
                <a:gd name="T9" fmla="*/ 12 h 140"/>
                <a:gd name="T10" fmla="*/ 76 w 424"/>
                <a:gd name="T11" fmla="*/ 84 h 140"/>
                <a:gd name="T12" fmla="*/ 348 w 424"/>
                <a:gd name="T13" fmla="*/ 84 h 140"/>
                <a:gd name="T14" fmla="*/ 400 w 424"/>
                <a:gd name="T15" fmla="*/ 12 h 140"/>
                <a:gd name="T16" fmla="*/ 412 w 424"/>
                <a:gd name="T17" fmla="*/ 0 h 140"/>
                <a:gd name="T18" fmla="*/ 424 w 424"/>
                <a:gd name="T19" fmla="*/ 12 h 140"/>
                <a:gd name="T20" fmla="*/ 360 w 424"/>
                <a:gd name="T21" fmla="*/ 104 h 140"/>
                <a:gd name="T22" fmla="*/ 212 w 424"/>
                <a:gd name="T2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4" h="140">
                  <a:moveTo>
                    <a:pt x="212" y="140"/>
                  </a:moveTo>
                  <a:cubicBezTo>
                    <a:pt x="158" y="140"/>
                    <a:pt x="105" y="128"/>
                    <a:pt x="64" y="104"/>
                  </a:cubicBezTo>
                  <a:cubicBezTo>
                    <a:pt x="22" y="80"/>
                    <a:pt x="0" y="48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24" y="6"/>
                    <a:pt x="24" y="12"/>
                  </a:cubicBezTo>
                  <a:cubicBezTo>
                    <a:pt x="24" y="39"/>
                    <a:pt x="42" y="64"/>
                    <a:pt x="76" y="84"/>
                  </a:cubicBezTo>
                  <a:cubicBezTo>
                    <a:pt x="151" y="127"/>
                    <a:pt x="273" y="127"/>
                    <a:pt x="348" y="84"/>
                  </a:cubicBezTo>
                  <a:cubicBezTo>
                    <a:pt x="382" y="64"/>
                    <a:pt x="400" y="39"/>
                    <a:pt x="400" y="12"/>
                  </a:cubicBezTo>
                  <a:cubicBezTo>
                    <a:pt x="400" y="6"/>
                    <a:pt x="406" y="0"/>
                    <a:pt x="412" y="0"/>
                  </a:cubicBezTo>
                  <a:cubicBezTo>
                    <a:pt x="419" y="0"/>
                    <a:pt x="424" y="6"/>
                    <a:pt x="424" y="12"/>
                  </a:cubicBezTo>
                  <a:cubicBezTo>
                    <a:pt x="424" y="48"/>
                    <a:pt x="401" y="80"/>
                    <a:pt x="360" y="104"/>
                  </a:cubicBezTo>
                  <a:cubicBezTo>
                    <a:pt x="319" y="128"/>
                    <a:pt x="265" y="140"/>
                    <a:pt x="212" y="140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2380">
              <a:extLst>
                <a:ext uri="{FF2B5EF4-FFF2-40B4-BE49-F238E27FC236}">
                  <a16:creationId xmlns:a16="http://schemas.microsoft.com/office/drawing/2014/main" id="{89AC4FB1-2C72-4E9A-8167-0895C92B2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" y="3607"/>
              <a:ext cx="117" cy="38"/>
            </a:xfrm>
            <a:custGeom>
              <a:avLst/>
              <a:gdLst>
                <a:gd name="T0" fmla="*/ 212 w 424"/>
                <a:gd name="T1" fmla="*/ 139 h 139"/>
                <a:gd name="T2" fmla="*/ 64 w 424"/>
                <a:gd name="T3" fmla="*/ 104 h 139"/>
                <a:gd name="T4" fmla="*/ 0 w 424"/>
                <a:gd name="T5" fmla="*/ 12 h 139"/>
                <a:gd name="T6" fmla="*/ 12 w 424"/>
                <a:gd name="T7" fmla="*/ 0 h 139"/>
                <a:gd name="T8" fmla="*/ 24 w 424"/>
                <a:gd name="T9" fmla="*/ 12 h 139"/>
                <a:gd name="T10" fmla="*/ 76 w 424"/>
                <a:gd name="T11" fmla="*/ 83 h 139"/>
                <a:gd name="T12" fmla="*/ 348 w 424"/>
                <a:gd name="T13" fmla="*/ 83 h 139"/>
                <a:gd name="T14" fmla="*/ 400 w 424"/>
                <a:gd name="T15" fmla="*/ 12 h 139"/>
                <a:gd name="T16" fmla="*/ 412 w 424"/>
                <a:gd name="T17" fmla="*/ 0 h 139"/>
                <a:gd name="T18" fmla="*/ 424 w 424"/>
                <a:gd name="T19" fmla="*/ 12 h 139"/>
                <a:gd name="T20" fmla="*/ 360 w 424"/>
                <a:gd name="T21" fmla="*/ 104 h 139"/>
                <a:gd name="T22" fmla="*/ 212 w 424"/>
                <a:gd name="T2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4" h="139">
                  <a:moveTo>
                    <a:pt x="212" y="139"/>
                  </a:moveTo>
                  <a:cubicBezTo>
                    <a:pt x="158" y="139"/>
                    <a:pt x="105" y="127"/>
                    <a:pt x="64" y="104"/>
                  </a:cubicBezTo>
                  <a:cubicBezTo>
                    <a:pt x="22" y="80"/>
                    <a:pt x="0" y="47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38"/>
                    <a:pt x="42" y="64"/>
                    <a:pt x="76" y="83"/>
                  </a:cubicBezTo>
                  <a:cubicBezTo>
                    <a:pt x="151" y="126"/>
                    <a:pt x="273" y="126"/>
                    <a:pt x="348" y="83"/>
                  </a:cubicBezTo>
                  <a:cubicBezTo>
                    <a:pt x="382" y="64"/>
                    <a:pt x="400" y="38"/>
                    <a:pt x="400" y="12"/>
                  </a:cubicBezTo>
                  <a:cubicBezTo>
                    <a:pt x="400" y="5"/>
                    <a:pt x="406" y="0"/>
                    <a:pt x="412" y="0"/>
                  </a:cubicBezTo>
                  <a:cubicBezTo>
                    <a:pt x="419" y="0"/>
                    <a:pt x="424" y="5"/>
                    <a:pt x="424" y="12"/>
                  </a:cubicBezTo>
                  <a:cubicBezTo>
                    <a:pt x="424" y="47"/>
                    <a:pt x="401" y="80"/>
                    <a:pt x="360" y="104"/>
                  </a:cubicBezTo>
                  <a:cubicBezTo>
                    <a:pt x="319" y="127"/>
                    <a:pt x="265" y="139"/>
                    <a:pt x="212" y="13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Freeform 2381">
              <a:extLst>
                <a:ext uri="{FF2B5EF4-FFF2-40B4-BE49-F238E27FC236}">
                  <a16:creationId xmlns:a16="http://schemas.microsoft.com/office/drawing/2014/main" id="{70721154-6726-4AD3-BE56-5EF678A1A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" y="3579"/>
              <a:ext cx="117" cy="39"/>
            </a:xfrm>
            <a:custGeom>
              <a:avLst/>
              <a:gdLst>
                <a:gd name="T0" fmla="*/ 212 w 424"/>
                <a:gd name="T1" fmla="*/ 139 h 139"/>
                <a:gd name="T2" fmla="*/ 64 w 424"/>
                <a:gd name="T3" fmla="*/ 104 h 139"/>
                <a:gd name="T4" fmla="*/ 0 w 424"/>
                <a:gd name="T5" fmla="*/ 12 h 139"/>
                <a:gd name="T6" fmla="*/ 12 w 424"/>
                <a:gd name="T7" fmla="*/ 0 h 139"/>
                <a:gd name="T8" fmla="*/ 24 w 424"/>
                <a:gd name="T9" fmla="*/ 12 h 139"/>
                <a:gd name="T10" fmla="*/ 76 w 424"/>
                <a:gd name="T11" fmla="*/ 83 h 139"/>
                <a:gd name="T12" fmla="*/ 348 w 424"/>
                <a:gd name="T13" fmla="*/ 83 h 139"/>
                <a:gd name="T14" fmla="*/ 400 w 424"/>
                <a:gd name="T15" fmla="*/ 12 h 139"/>
                <a:gd name="T16" fmla="*/ 412 w 424"/>
                <a:gd name="T17" fmla="*/ 0 h 139"/>
                <a:gd name="T18" fmla="*/ 424 w 424"/>
                <a:gd name="T19" fmla="*/ 12 h 139"/>
                <a:gd name="T20" fmla="*/ 360 w 424"/>
                <a:gd name="T21" fmla="*/ 104 h 139"/>
                <a:gd name="T22" fmla="*/ 212 w 424"/>
                <a:gd name="T2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4" h="139">
                  <a:moveTo>
                    <a:pt x="212" y="139"/>
                  </a:moveTo>
                  <a:cubicBezTo>
                    <a:pt x="158" y="139"/>
                    <a:pt x="105" y="128"/>
                    <a:pt x="64" y="104"/>
                  </a:cubicBezTo>
                  <a:cubicBezTo>
                    <a:pt x="22" y="80"/>
                    <a:pt x="0" y="47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38"/>
                    <a:pt x="42" y="64"/>
                    <a:pt x="76" y="83"/>
                  </a:cubicBezTo>
                  <a:cubicBezTo>
                    <a:pt x="151" y="127"/>
                    <a:pt x="273" y="127"/>
                    <a:pt x="348" y="83"/>
                  </a:cubicBezTo>
                  <a:cubicBezTo>
                    <a:pt x="382" y="64"/>
                    <a:pt x="400" y="38"/>
                    <a:pt x="400" y="12"/>
                  </a:cubicBezTo>
                  <a:cubicBezTo>
                    <a:pt x="400" y="5"/>
                    <a:pt x="406" y="0"/>
                    <a:pt x="412" y="0"/>
                  </a:cubicBezTo>
                  <a:cubicBezTo>
                    <a:pt x="419" y="0"/>
                    <a:pt x="424" y="5"/>
                    <a:pt x="424" y="12"/>
                  </a:cubicBezTo>
                  <a:cubicBezTo>
                    <a:pt x="424" y="47"/>
                    <a:pt x="401" y="80"/>
                    <a:pt x="360" y="104"/>
                  </a:cubicBezTo>
                  <a:cubicBezTo>
                    <a:pt x="319" y="128"/>
                    <a:pt x="265" y="139"/>
                    <a:pt x="212" y="13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2382">
              <a:extLst>
                <a:ext uri="{FF2B5EF4-FFF2-40B4-BE49-F238E27FC236}">
                  <a16:creationId xmlns:a16="http://schemas.microsoft.com/office/drawing/2014/main" id="{BB15C6FF-883C-4A57-BF3F-B064083030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0" y="3295"/>
              <a:ext cx="84" cy="127"/>
            </a:xfrm>
            <a:custGeom>
              <a:avLst/>
              <a:gdLst>
                <a:gd name="T0" fmla="*/ 285 w 305"/>
                <a:gd name="T1" fmla="*/ 43 h 463"/>
                <a:gd name="T2" fmla="*/ 305 w 305"/>
                <a:gd name="T3" fmla="*/ 143 h 463"/>
                <a:gd name="T4" fmla="*/ 285 w 305"/>
                <a:gd name="T5" fmla="*/ 266 h 463"/>
                <a:gd name="T6" fmla="*/ 231 w 305"/>
                <a:gd name="T7" fmla="*/ 369 h 463"/>
                <a:gd name="T8" fmla="*/ 153 w 305"/>
                <a:gd name="T9" fmla="*/ 439 h 463"/>
                <a:gd name="T10" fmla="*/ 74 w 305"/>
                <a:gd name="T11" fmla="*/ 460 h 463"/>
                <a:gd name="T12" fmla="*/ 49 w 305"/>
                <a:gd name="T13" fmla="*/ 452 h 463"/>
                <a:gd name="T14" fmla="*/ 20 w 305"/>
                <a:gd name="T15" fmla="*/ 420 h 463"/>
                <a:gd name="T16" fmla="*/ 0 w 305"/>
                <a:gd name="T17" fmla="*/ 319 h 463"/>
                <a:gd name="T18" fmla="*/ 20 w 305"/>
                <a:gd name="T19" fmla="*/ 197 h 463"/>
                <a:gd name="T20" fmla="*/ 74 w 305"/>
                <a:gd name="T21" fmla="*/ 94 h 463"/>
                <a:gd name="T22" fmla="*/ 153 w 305"/>
                <a:gd name="T23" fmla="*/ 24 h 463"/>
                <a:gd name="T24" fmla="*/ 231 w 305"/>
                <a:gd name="T25" fmla="*/ 3 h 463"/>
                <a:gd name="T26" fmla="*/ 255 w 305"/>
                <a:gd name="T27" fmla="*/ 11 h 463"/>
                <a:gd name="T28" fmla="*/ 256 w 305"/>
                <a:gd name="T29" fmla="*/ 11 h 463"/>
                <a:gd name="T30" fmla="*/ 285 w 305"/>
                <a:gd name="T31" fmla="*/ 43 h 463"/>
                <a:gd name="T32" fmla="*/ 192 w 305"/>
                <a:gd name="T33" fmla="*/ 296 h 463"/>
                <a:gd name="T34" fmla="*/ 207 w 305"/>
                <a:gd name="T35" fmla="*/ 200 h 463"/>
                <a:gd name="T36" fmla="*/ 192 w 305"/>
                <a:gd name="T37" fmla="*/ 121 h 463"/>
                <a:gd name="T38" fmla="*/ 153 w 305"/>
                <a:gd name="T39" fmla="*/ 116 h 463"/>
                <a:gd name="T40" fmla="*/ 113 w 305"/>
                <a:gd name="T41" fmla="*/ 167 h 463"/>
                <a:gd name="T42" fmla="*/ 98 w 305"/>
                <a:gd name="T43" fmla="*/ 263 h 463"/>
                <a:gd name="T44" fmla="*/ 113 w 305"/>
                <a:gd name="T45" fmla="*/ 342 h 463"/>
                <a:gd name="T46" fmla="*/ 153 w 305"/>
                <a:gd name="T47" fmla="*/ 347 h 463"/>
                <a:gd name="T48" fmla="*/ 192 w 305"/>
                <a:gd name="T49" fmla="*/ 296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05" h="463">
                  <a:moveTo>
                    <a:pt x="285" y="43"/>
                  </a:moveTo>
                  <a:cubicBezTo>
                    <a:pt x="298" y="67"/>
                    <a:pt x="305" y="100"/>
                    <a:pt x="305" y="143"/>
                  </a:cubicBezTo>
                  <a:cubicBezTo>
                    <a:pt x="305" y="186"/>
                    <a:pt x="298" y="227"/>
                    <a:pt x="285" y="266"/>
                  </a:cubicBezTo>
                  <a:cubicBezTo>
                    <a:pt x="272" y="305"/>
                    <a:pt x="254" y="339"/>
                    <a:pt x="231" y="369"/>
                  </a:cubicBezTo>
                  <a:cubicBezTo>
                    <a:pt x="208" y="399"/>
                    <a:pt x="182" y="422"/>
                    <a:pt x="153" y="439"/>
                  </a:cubicBezTo>
                  <a:cubicBezTo>
                    <a:pt x="123" y="456"/>
                    <a:pt x="97" y="463"/>
                    <a:pt x="74" y="460"/>
                  </a:cubicBezTo>
                  <a:cubicBezTo>
                    <a:pt x="65" y="459"/>
                    <a:pt x="57" y="456"/>
                    <a:pt x="49" y="452"/>
                  </a:cubicBezTo>
                  <a:cubicBezTo>
                    <a:pt x="38" y="445"/>
                    <a:pt x="28" y="434"/>
                    <a:pt x="20" y="420"/>
                  </a:cubicBezTo>
                  <a:cubicBezTo>
                    <a:pt x="7" y="396"/>
                    <a:pt x="0" y="362"/>
                    <a:pt x="0" y="319"/>
                  </a:cubicBezTo>
                  <a:cubicBezTo>
                    <a:pt x="0" y="276"/>
                    <a:pt x="7" y="236"/>
                    <a:pt x="20" y="197"/>
                  </a:cubicBezTo>
                  <a:cubicBezTo>
                    <a:pt x="33" y="158"/>
                    <a:pt x="51" y="123"/>
                    <a:pt x="74" y="94"/>
                  </a:cubicBezTo>
                  <a:cubicBezTo>
                    <a:pt x="97" y="64"/>
                    <a:pt x="123" y="41"/>
                    <a:pt x="153" y="24"/>
                  </a:cubicBezTo>
                  <a:cubicBezTo>
                    <a:pt x="182" y="7"/>
                    <a:pt x="208" y="0"/>
                    <a:pt x="231" y="3"/>
                  </a:cubicBezTo>
                  <a:cubicBezTo>
                    <a:pt x="240" y="4"/>
                    <a:pt x="248" y="7"/>
                    <a:pt x="255" y="11"/>
                  </a:cubicBezTo>
                  <a:cubicBezTo>
                    <a:pt x="256" y="11"/>
                    <a:pt x="256" y="11"/>
                    <a:pt x="256" y="11"/>
                  </a:cubicBezTo>
                  <a:cubicBezTo>
                    <a:pt x="268" y="18"/>
                    <a:pt x="277" y="29"/>
                    <a:pt x="285" y="43"/>
                  </a:cubicBezTo>
                  <a:close/>
                  <a:moveTo>
                    <a:pt x="192" y="296"/>
                  </a:moveTo>
                  <a:cubicBezTo>
                    <a:pt x="202" y="272"/>
                    <a:pt x="207" y="240"/>
                    <a:pt x="207" y="200"/>
                  </a:cubicBezTo>
                  <a:cubicBezTo>
                    <a:pt x="207" y="160"/>
                    <a:pt x="202" y="134"/>
                    <a:pt x="192" y="121"/>
                  </a:cubicBezTo>
                  <a:cubicBezTo>
                    <a:pt x="182" y="108"/>
                    <a:pt x="169" y="107"/>
                    <a:pt x="153" y="116"/>
                  </a:cubicBezTo>
                  <a:cubicBezTo>
                    <a:pt x="136" y="126"/>
                    <a:pt x="123" y="143"/>
                    <a:pt x="113" y="167"/>
                  </a:cubicBezTo>
                  <a:cubicBezTo>
                    <a:pt x="103" y="191"/>
                    <a:pt x="98" y="223"/>
                    <a:pt x="98" y="263"/>
                  </a:cubicBezTo>
                  <a:cubicBezTo>
                    <a:pt x="98" y="303"/>
                    <a:pt x="103" y="329"/>
                    <a:pt x="113" y="342"/>
                  </a:cubicBezTo>
                  <a:cubicBezTo>
                    <a:pt x="123" y="355"/>
                    <a:pt x="136" y="356"/>
                    <a:pt x="153" y="347"/>
                  </a:cubicBezTo>
                  <a:cubicBezTo>
                    <a:pt x="169" y="337"/>
                    <a:pt x="182" y="320"/>
                    <a:pt x="192" y="2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2383">
              <a:extLst>
                <a:ext uri="{FF2B5EF4-FFF2-40B4-BE49-F238E27FC236}">
                  <a16:creationId xmlns:a16="http://schemas.microsoft.com/office/drawing/2014/main" id="{21FC4460-2233-4DA5-AA42-76C6ACDFC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" y="3277"/>
              <a:ext cx="100" cy="142"/>
            </a:xfrm>
            <a:custGeom>
              <a:avLst/>
              <a:gdLst>
                <a:gd name="T0" fmla="*/ 255 w 361"/>
                <a:gd name="T1" fmla="*/ 12 h 514"/>
                <a:gd name="T2" fmla="*/ 361 w 361"/>
                <a:gd name="T3" fmla="*/ 73 h 514"/>
                <a:gd name="T4" fmla="*/ 337 w 361"/>
                <a:gd name="T5" fmla="*/ 65 h 514"/>
                <a:gd name="T6" fmla="*/ 259 w 361"/>
                <a:gd name="T7" fmla="*/ 86 h 514"/>
                <a:gd name="T8" fmla="*/ 180 w 361"/>
                <a:gd name="T9" fmla="*/ 156 h 514"/>
                <a:gd name="T10" fmla="*/ 126 w 361"/>
                <a:gd name="T11" fmla="*/ 259 h 514"/>
                <a:gd name="T12" fmla="*/ 106 w 361"/>
                <a:gd name="T13" fmla="*/ 381 h 514"/>
                <a:gd name="T14" fmla="*/ 126 w 361"/>
                <a:gd name="T15" fmla="*/ 482 h 514"/>
                <a:gd name="T16" fmla="*/ 155 w 361"/>
                <a:gd name="T17" fmla="*/ 514 h 514"/>
                <a:gd name="T18" fmla="*/ 49 w 361"/>
                <a:gd name="T19" fmla="*/ 452 h 514"/>
                <a:gd name="T20" fmla="*/ 19 w 361"/>
                <a:gd name="T21" fmla="*/ 420 h 514"/>
                <a:gd name="T22" fmla="*/ 0 w 361"/>
                <a:gd name="T23" fmla="*/ 320 h 514"/>
                <a:gd name="T24" fmla="*/ 19 w 361"/>
                <a:gd name="T25" fmla="*/ 197 h 514"/>
                <a:gd name="T26" fmla="*/ 73 w 361"/>
                <a:gd name="T27" fmla="*/ 94 h 514"/>
                <a:gd name="T28" fmla="*/ 152 w 361"/>
                <a:gd name="T29" fmla="*/ 24 h 514"/>
                <a:gd name="T30" fmla="*/ 231 w 361"/>
                <a:gd name="T31" fmla="*/ 3 h 514"/>
                <a:gd name="T32" fmla="*/ 255 w 361"/>
                <a:gd name="T33" fmla="*/ 12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1" h="514">
                  <a:moveTo>
                    <a:pt x="255" y="12"/>
                  </a:moveTo>
                  <a:cubicBezTo>
                    <a:pt x="361" y="73"/>
                    <a:pt x="361" y="73"/>
                    <a:pt x="361" y="73"/>
                  </a:cubicBezTo>
                  <a:cubicBezTo>
                    <a:pt x="354" y="69"/>
                    <a:pt x="346" y="66"/>
                    <a:pt x="337" y="65"/>
                  </a:cubicBezTo>
                  <a:cubicBezTo>
                    <a:pt x="314" y="62"/>
                    <a:pt x="288" y="69"/>
                    <a:pt x="259" y="86"/>
                  </a:cubicBezTo>
                  <a:cubicBezTo>
                    <a:pt x="229" y="103"/>
                    <a:pt x="203" y="126"/>
                    <a:pt x="180" y="156"/>
                  </a:cubicBezTo>
                  <a:cubicBezTo>
                    <a:pt x="157" y="185"/>
                    <a:pt x="139" y="220"/>
                    <a:pt x="126" y="259"/>
                  </a:cubicBezTo>
                  <a:cubicBezTo>
                    <a:pt x="113" y="298"/>
                    <a:pt x="106" y="338"/>
                    <a:pt x="106" y="381"/>
                  </a:cubicBezTo>
                  <a:cubicBezTo>
                    <a:pt x="106" y="424"/>
                    <a:pt x="113" y="458"/>
                    <a:pt x="126" y="482"/>
                  </a:cubicBezTo>
                  <a:cubicBezTo>
                    <a:pt x="134" y="496"/>
                    <a:pt x="144" y="507"/>
                    <a:pt x="155" y="514"/>
                  </a:cubicBezTo>
                  <a:cubicBezTo>
                    <a:pt x="49" y="452"/>
                    <a:pt x="49" y="452"/>
                    <a:pt x="49" y="452"/>
                  </a:cubicBezTo>
                  <a:cubicBezTo>
                    <a:pt x="37" y="446"/>
                    <a:pt x="27" y="435"/>
                    <a:pt x="19" y="420"/>
                  </a:cubicBezTo>
                  <a:cubicBezTo>
                    <a:pt x="6" y="396"/>
                    <a:pt x="0" y="363"/>
                    <a:pt x="0" y="320"/>
                  </a:cubicBezTo>
                  <a:cubicBezTo>
                    <a:pt x="0" y="277"/>
                    <a:pt x="6" y="236"/>
                    <a:pt x="19" y="197"/>
                  </a:cubicBezTo>
                  <a:cubicBezTo>
                    <a:pt x="32" y="158"/>
                    <a:pt x="50" y="124"/>
                    <a:pt x="73" y="94"/>
                  </a:cubicBezTo>
                  <a:cubicBezTo>
                    <a:pt x="96" y="65"/>
                    <a:pt x="123" y="41"/>
                    <a:pt x="152" y="24"/>
                  </a:cubicBezTo>
                  <a:cubicBezTo>
                    <a:pt x="182" y="7"/>
                    <a:pt x="208" y="0"/>
                    <a:pt x="231" y="3"/>
                  </a:cubicBezTo>
                  <a:cubicBezTo>
                    <a:pt x="240" y="5"/>
                    <a:pt x="248" y="7"/>
                    <a:pt x="255" y="12"/>
                  </a:cubicBez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4" name="Freeform 2384">
              <a:extLst>
                <a:ext uri="{FF2B5EF4-FFF2-40B4-BE49-F238E27FC236}">
                  <a16:creationId xmlns:a16="http://schemas.microsoft.com/office/drawing/2014/main" id="{58167D8D-E53D-4EF7-B672-C28BD076F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" y="3324"/>
              <a:ext cx="30" cy="69"/>
            </a:xfrm>
            <a:custGeom>
              <a:avLst/>
              <a:gdLst>
                <a:gd name="T0" fmla="*/ 109 w 109"/>
                <a:gd name="T1" fmla="*/ 93 h 249"/>
                <a:gd name="T2" fmla="*/ 94 w 109"/>
                <a:gd name="T3" fmla="*/ 189 h 249"/>
                <a:gd name="T4" fmla="*/ 55 w 109"/>
                <a:gd name="T5" fmla="*/ 240 h 249"/>
                <a:gd name="T6" fmla="*/ 15 w 109"/>
                <a:gd name="T7" fmla="*/ 235 h 249"/>
                <a:gd name="T8" fmla="*/ 0 w 109"/>
                <a:gd name="T9" fmla="*/ 156 h 249"/>
                <a:gd name="T10" fmla="*/ 15 w 109"/>
                <a:gd name="T11" fmla="*/ 60 h 249"/>
                <a:gd name="T12" fmla="*/ 55 w 109"/>
                <a:gd name="T13" fmla="*/ 9 h 249"/>
                <a:gd name="T14" fmla="*/ 94 w 109"/>
                <a:gd name="T15" fmla="*/ 14 h 249"/>
                <a:gd name="T16" fmla="*/ 109 w 109"/>
                <a:gd name="T17" fmla="*/ 93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" h="249">
                  <a:moveTo>
                    <a:pt x="109" y="93"/>
                  </a:moveTo>
                  <a:cubicBezTo>
                    <a:pt x="109" y="133"/>
                    <a:pt x="104" y="165"/>
                    <a:pt x="94" y="189"/>
                  </a:cubicBezTo>
                  <a:cubicBezTo>
                    <a:pt x="84" y="213"/>
                    <a:pt x="71" y="230"/>
                    <a:pt x="55" y="240"/>
                  </a:cubicBezTo>
                  <a:cubicBezTo>
                    <a:pt x="38" y="249"/>
                    <a:pt x="25" y="248"/>
                    <a:pt x="15" y="235"/>
                  </a:cubicBezTo>
                  <a:cubicBezTo>
                    <a:pt x="5" y="222"/>
                    <a:pt x="0" y="196"/>
                    <a:pt x="0" y="156"/>
                  </a:cubicBezTo>
                  <a:cubicBezTo>
                    <a:pt x="0" y="116"/>
                    <a:pt x="5" y="84"/>
                    <a:pt x="15" y="60"/>
                  </a:cubicBezTo>
                  <a:cubicBezTo>
                    <a:pt x="25" y="36"/>
                    <a:pt x="38" y="19"/>
                    <a:pt x="55" y="9"/>
                  </a:cubicBezTo>
                  <a:cubicBezTo>
                    <a:pt x="71" y="0"/>
                    <a:pt x="84" y="1"/>
                    <a:pt x="94" y="14"/>
                  </a:cubicBezTo>
                  <a:cubicBezTo>
                    <a:pt x="104" y="27"/>
                    <a:pt x="109" y="53"/>
                    <a:pt x="109" y="9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Freeform 2385">
              <a:extLst>
                <a:ext uri="{FF2B5EF4-FFF2-40B4-BE49-F238E27FC236}">
                  <a16:creationId xmlns:a16="http://schemas.microsoft.com/office/drawing/2014/main" id="{4D80F032-CEF0-4503-9644-283AA58519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6" y="3291"/>
              <a:ext cx="91" cy="134"/>
            </a:xfrm>
            <a:custGeom>
              <a:avLst/>
              <a:gdLst>
                <a:gd name="T0" fmla="*/ 96 w 329"/>
                <a:gd name="T1" fmla="*/ 485 h 485"/>
                <a:gd name="T2" fmla="*/ 84 w 329"/>
                <a:gd name="T3" fmla="*/ 484 h 485"/>
                <a:gd name="T4" fmla="*/ 55 w 329"/>
                <a:gd name="T5" fmla="*/ 474 h 485"/>
                <a:gd name="T6" fmla="*/ 21 w 329"/>
                <a:gd name="T7" fmla="*/ 437 h 485"/>
                <a:gd name="T8" fmla="*/ 0 w 329"/>
                <a:gd name="T9" fmla="*/ 331 h 485"/>
                <a:gd name="T10" fmla="*/ 20 w 329"/>
                <a:gd name="T11" fmla="*/ 205 h 485"/>
                <a:gd name="T12" fmla="*/ 76 w 329"/>
                <a:gd name="T13" fmla="*/ 98 h 485"/>
                <a:gd name="T14" fmla="*/ 159 w 329"/>
                <a:gd name="T15" fmla="*/ 25 h 485"/>
                <a:gd name="T16" fmla="*/ 245 w 329"/>
                <a:gd name="T17" fmla="*/ 3 h 485"/>
                <a:gd name="T18" fmla="*/ 273 w 329"/>
                <a:gd name="T19" fmla="*/ 12 h 485"/>
                <a:gd name="T20" fmla="*/ 274 w 329"/>
                <a:gd name="T21" fmla="*/ 13 h 485"/>
                <a:gd name="T22" fmla="*/ 308 w 329"/>
                <a:gd name="T23" fmla="*/ 49 h 485"/>
                <a:gd name="T24" fmla="*/ 329 w 329"/>
                <a:gd name="T25" fmla="*/ 155 h 485"/>
                <a:gd name="T26" fmla="*/ 309 w 329"/>
                <a:gd name="T27" fmla="*/ 282 h 485"/>
                <a:gd name="T28" fmla="*/ 253 w 329"/>
                <a:gd name="T29" fmla="*/ 388 h 485"/>
                <a:gd name="T30" fmla="*/ 171 w 329"/>
                <a:gd name="T31" fmla="*/ 461 h 485"/>
                <a:gd name="T32" fmla="*/ 96 w 329"/>
                <a:gd name="T33" fmla="*/ 485 h 485"/>
                <a:gd name="T34" fmla="*/ 233 w 329"/>
                <a:gd name="T35" fmla="*/ 26 h 485"/>
                <a:gd name="T36" fmla="*/ 171 w 329"/>
                <a:gd name="T37" fmla="*/ 46 h 485"/>
                <a:gd name="T38" fmla="*/ 95 w 329"/>
                <a:gd name="T39" fmla="*/ 113 h 485"/>
                <a:gd name="T40" fmla="*/ 43 w 329"/>
                <a:gd name="T41" fmla="*/ 212 h 485"/>
                <a:gd name="T42" fmla="*/ 24 w 329"/>
                <a:gd name="T43" fmla="*/ 331 h 485"/>
                <a:gd name="T44" fmla="*/ 42 w 329"/>
                <a:gd name="T45" fmla="*/ 426 h 485"/>
                <a:gd name="T46" fmla="*/ 67 w 329"/>
                <a:gd name="T47" fmla="*/ 453 h 485"/>
                <a:gd name="T48" fmla="*/ 87 w 329"/>
                <a:gd name="T49" fmla="*/ 460 h 485"/>
                <a:gd name="T50" fmla="*/ 159 w 329"/>
                <a:gd name="T51" fmla="*/ 441 h 485"/>
                <a:gd name="T52" fmla="*/ 234 w 329"/>
                <a:gd name="T53" fmla="*/ 374 h 485"/>
                <a:gd name="T54" fmla="*/ 286 w 329"/>
                <a:gd name="T55" fmla="*/ 274 h 485"/>
                <a:gd name="T56" fmla="*/ 305 w 329"/>
                <a:gd name="T57" fmla="*/ 155 h 485"/>
                <a:gd name="T58" fmla="*/ 287 w 329"/>
                <a:gd name="T59" fmla="*/ 61 h 485"/>
                <a:gd name="T60" fmla="*/ 262 w 329"/>
                <a:gd name="T61" fmla="*/ 33 h 485"/>
                <a:gd name="T62" fmla="*/ 261 w 329"/>
                <a:gd name="T63" fmla="*/ 33 h 485"/>
                <a:gd name="T64" fmla="*/ 242 w 329"/>
                <a:gd name="T65" fmla="*/ 27 h 485"/>
                <a:gd name="T66" fmla="*/ 233 w 329"/>
                <a:gd name="T67" fmla="*/ 2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9" h="485">
                  <a:moveTo>
                    <a:pt x="96" y="485"/>
                  </a:moveTo>
                  <a:cubicBezTo>
                    <a:pt x="92" y="485"/>
                    <a:pt x="88" y="484"/>
                    <a:pt x="84" y="484"/>
                  </a:cubicBezTo>
                  <a:cubicBezTo>
                    <a:pt x="74" y="483"/>
                    <a:pt x="64" y="479"/>
                    <a:pt x="55" y="474"/>
                  </a:cubicBezTo>
                  <a:cubicBezTo>
                    <a:pt x="42" y="466"/>
                    <a:pt x="30" y="454"/>
                    <a:pt x="21" y="437"/>
                  </a:cubicBezTo>
                  <a:cubicBezTo>
                    <a:pt x="7" y="412"/>
                    <a:pt x="0" y="377"/>
                    <a:pt x="0" y="331"/>
                  </a:cubicBezTo>
                  <a:cubicBezTo>
                    <a:pt x="0" y="287"/>
                    <a:pt x="7" y="245"/>
                    <a:pt x="20" y="205"/>
                  </a:cubicBezTo>
                  <a:cubicBezTo>
                    <a:pt x="34" y="165"/>
                    <a:pt x="52" y="129"/>
                    <a:pt x="76" y="98"/>
                  </a:cubicBezTo>
                  <a:cubicBezTo>
                    <a:pt x="100" y="68"/>
                    <a:pt x="128" y="43"/>
                    <a:pt x="159" y="25"/>
                  </a:cubicBezTo>
                  <a:cubicBezTo>
                    <a:pt x="190" y="7"/>
                    <a:pt x="219" y="0"/>
                    <a:pt x="245" y="3"/>
                  </a:cubicBezTo>
                  <a:cubicBezTo>
                    <a:pt x="255" y="4"/>
                    <a:pt x="265" y="7"/>
                    <a:pt x="273" y="12"/>
                  </a:cubicBezTo>
                  <a:cubicBezTo>
                    <a:pt x="274" y="13"/>
                    <a:pt x="274" y="13"/>
                    <a:pt x="274" y="13"/>
                  </a:cubicBezTo>
                  <a:cubicBezTo>
                    <a:pt x="287" y="21"/>
                    <a:pt x="299" y="33"/>
                    <a:pt x="308" y="49"/>
                  </a:cubicBezTo>
                  <a:cubicBezTo>
                    <a:pt x="322" y="75"/>
                    <a:pt x="329" y="110"/>
                    <a:pt x="329" y="155"/>
                  </a:cubicBezTo>
                  <a:cubicBezTo>
                    <a:pt x="329" y="200"/>
                    <a:pt x="322" y="242"/>
                    <a:pt x="309" y="282"/>
                  </a:cubicBezTo>
                  <a:cubicBezTo>
                    <a:pt x="295" y="322"/>
                    <a:pt x="277" y="358"/>
                    <a:pt x="253" y="388"/>
                  </a:cubicBezTo>
                  <a:cubicBezTo>
                    <a:pt x="229" y="419"/>
                    <a:pt x="201" y="444"/>
                    <a:pt x="171" y="461"/>
                  </a:cubicBezTo>
                  <a:cubicBezTo>
                    <a:pt x="144" y="477"/>
                    <a:pt x="119" y="485"/>
                    <a:pt x="96" y="485"/>
                  </a:cubicBezTo>
                  <a:close/>
                  <a:moveTo>
                    <a:pt x="233" y="26"/>
                  </a:moveTo>
                  <a:cubicBezTo>
                    <a:pt x="214" y="26"/>
                    <a:pt x="194" y="33"/>
                    <a:pt x="171" y="46"/>
                  </a:cubicBezTo>
                  <a:cubicBezTo>
                    <a:pt x="143" y="62"/>
                    <a:pt x="117" y="85"/>
                    <a:pt x="95" y="113"/>
                  </a:cubicBezTo>
                  <a:cubicBezTo>
                    <a:pt x="73" y="142"/>
                    <a:pt x="56" y="175"/>
                    <a:pt x="43" y="212"/>
                  </a:cubicBezTo>
                  <a:cubicBezTo>
                    <a:pt x="31" y="250"/>
                    <a:pt x="24" y="290"/>
                    <a:pt x="24" y="331"/>
                  </a:cubicBezTo>
                  <a:cubicBezTo>
                    <a:pt x="24" y="372"/>
                    <a:pt x="30" y="404"/>
                    <a:pt x="42" y="426"/>
                  </a:cubicBezTo>
                  <a:cubicBezTo>
                    <a:pt x="49" y="439"/>
                    <a:pt x="58" y="448"/>
                    <a:pt x="67" y="453"/>
                  </a:cubicBezTo>
                  <a:cubicBezTo>
                    <a:pt x="73" y="457"/>
                    <a:pt x="80" y="459"/>
                    <a:pt x="87" y="460"/>
                  </a:cubicBezTo>
                  <a:cubicBezTo>
                    <a:pt x="108" y="463"/>
                    <a:pt x="132" y="456"/>
                    <a:pt x="159" y="441"/>
                  </a:cubicBezTo>
                  <a:cubicBezTo>
                    <a:pt x="187" y="424"/>
                    <a:pt x="212" y="402"/>
                    <a:pt x="234" y="374"/>
                  </a:cubicBezTo>
                  <a:cubicBezTo>
                    <a:pt x="256" y="345"/>
                    <a:pt x="274" y="312"/>
                    <a:pt x="286" y="274"/>
                  </a:cubicBezTo>
                  <a:cubicBezTo>
                    <a:pt x="299" y="237"/>
                    <a:pt x="305" y="197"/>
                    <a:pt x="305" y="155"/>
                  </a:cubicBezTo>
                  <a:cubicBezTo>
                    <a:pt x="305" y="115"/>
                    <a:pt x="299" y="83"/>
                    <a:pt x="287" y="61"/>
                  </a:cubicBezTo>
                  <a:cubicBezTo>
                    <a:pt x="280" y="48"/>
                    <a:pt x="272" y="39"/>
                    <a:pt x="262" y="33"/>
                  </a:cubicBezTo>
                  <a:cubicBezTo>
                    <a:pt x="261" y="33"/>
                    <a:pt x="261" y="33"/>
                    <a:pt x="261" y="33"/>
                  </a:cubicBezTo>
                  <a:cubicBezTo>
                    <a:pt x="255" y="30"/>
                    <a:pt x="249" y="28"/>
                    <a:pt x="242" y="27"/>
                  </a:cubicBezTo>
                  <a:cubicBezTo>
                    <a:pt x="239" y="26"/>
                    <a:pt x="236" y="26"/>
                    <a:pt x="233" y="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Freeform 2386">
              <a:extLst>
                <a:ext uri="{FF2B5EF4-FFF2-40B4-BE49-F238E27FC236}">
                  <a16:creationId xmlns:a16="http://schemas.microsoft.com/office/drawing/2014/main" id="{9C792F2E-B377-4112-8DF7-7BFE5D052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3" y="3319"/>
              <a:ext cx="37" cy="76"/>
            </a:xfrm>
            <a:custGeom>
              <a:avLst/>
              <a:gdLst>
                <a:gd name="T0" fmla="*/ 47 w 133"/>
                <a:gd name="T1" fmla="*/ 276 h 276"/>
                <a:gd name="T2" fmla="*/ 17 w 133"/>
                <a:gd name="T3" fmla="*/ 260 h 276"/>
                <a:gd name="T4" fmla="*/ 0 w 133"/>
                <a:gd name="T5" fmla="*/ 174 h 276"/>
                <a:gd name="T6" fmla="*/ 16 w 133"/>
                <a:gd name="T7" fmla="*/ 73 h 276"/>
                <a:gd name="T8" fmla="*/ 61 w 133"/>
                <a:gd name="T9" fmla="*/ 17 h 276"/>
                <a:gd name="T10" fmla="*/ 116 w 133"/>
                <a:gd name="T11" fmla="*/ 25 h 276"/>
                <a:gd name="T12" fmla="*/ 133 w 133"/>
                <a:gd name="T13" fmla="*/ 111 h 276"/>
                <a:gd name="T14" fmla="*/ 117 w 133"/>
                <a:gd name="T15" fmla="*/ 212 h 276"/>
                <a:gd name="T16" fmla="*/ 73 w 133"/>
                <a:gd name="T17" fmla="*/ 268 h 276"/>
                <a:gd name="T18" fmla="*/ 47 w 133"/>
                <a:gd name="T19" fmla="*/ 276 h 276"/>
                <a:gd name="T20" fmla="*/ 86 w 133"/>
                <a:gd name="T21" fmla="*/ 33 h 276"/>
                <a:gd name="T22" fmla="*/ 73 w 133"/>
                <a:gd name="T23" fmla="*/ 37 h 276"/>
                <a:gd name="T24" fmla="*/ 38 w 133"/>
                <a:gd name="T25" fmla="*/ 82 h 276"/>
                <a:gd name="T26" fmla="*/ 24 w 133"/>
                <a:gd name="T27" fmla="*/ 174 h 276"/>
                <a:gd name="T28" fmla="*/ 37 w 133"/>
                <a:gd name="T29" fmla="*/ 246 h 276"/>
                <a:gd name="T30" fmla="*/ 61 w 133"/>
                <a:gd name="T31" fmla="*/ 247 h 276"/>
                <a:gd name="T32" fmla="*/ 95 w 133"/>
                <a:gd name="T33" fmla="*/ 203 h 276"/>
                <a:gd name="T34" fmla="*/ 109 w 133"/>
                <a:gd name="T35" fmla="*/ 111 h 276"/>
                <a:gd name="T36" fmla="*/ 96 w 133"/>
                <a:gd name="T37" fmla="*/ 39 h 276"/>
                <a:gd name="T38" fmla="*/ 86 w 133"/>
                <a:gd name="T39" fmla="*/ 33 h 276"/>
                <a:gd name="T40" fmla="*/ 106 w 133"/>
                <a:gd name="T41" fmla="*/ 207 h 276"/>
                <a:gd name="T42" fmla="*/ 106 w 133"/>
                <a:gd name="T43" fmla="*/ 207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3" h="276">
                  <a:moveTo>
                    <a:pt x="47" y="276"/>
                  </a:moveTo>
                  <a:cubicBezTo>
                    <a:pt x="32" y="276"/>
                    <a:pt x="23" y="267"/>
                    <a:pt x="17" y="260"/>
                  </a:cubicBezTo>
                  <a:cubicBezTo>
                    <a:pt x="6" y="245"/>
                    <a:pt x="0" y="217"/>
                    <a:pt x="0" y="174"/>
                  </a:cubicBezTo>
                  <a:cubicBezTo>
                    <a:pt x="0" y="132"/>
                    <a:pt x="6" y="99"/>
                    <a:pt x="16" y="73"/>
                  </a:cubicBezTo>
                  <a:cubicBezTo>
                    <a:pt x="27" y="47"/>
                    <a:pt x="42" y="28"/>
                    <a:pt x="61" y="17"/>
                  </a:cubicBezTo>
                  <a:cubicBezTo>
                    <a:pt x="90" y="0"/>
                    <a:pt x="108" y="14"/>
                    <a:pt x="116" y="25"/>
                  </a:cubicBezTo>
                  <a:cubicBezTo>
                    <a:pt x="127" y="40"/>
                    <a:pt x="133" y="68"/>
                    <a:pt x="133" y="111"/>
                  </a:cubicBezTo>
                  <a:cubicBezTo>
                    <a:pt x="133" y="152"/>
                    <a:pt x="127" y="186"/>
                    <a:pt x="117" y="212"/>
                  </a:cubicBezTo>
                  <a:cubicBezTo>
                    <a:pt x="106" y="238"/>
                    <a:pt x="92" y="257"/>
                    <a:pt x="73" y="268"/>
                  </a:cubicBezTo>
                  <a:cubicBezTo>
                    <a:pt x="63" y="274"/>
                    <a:pt x="54" y="276"/>
                    <a:pt x="47" y="276"/>
                  </a:cubicBezTo>
                  <a:close/>
                  <a:moveTo>
                    <a:pt x="86" y="33"/>
                  </a:moveTo>
                  <a:cubicBezTo>
                    <a:pt x="83" y="33"/>
                    <a:pt x="78" y="34"/>
                    <a:pt x="73" y="37"/>
                  </a:cubicBezTo>
                  <a:cubicBezTo>
                    <a:pt x="58" y="46"/>
                    <a:pt x="47" y="61"/>
                    <a:pt x="38" y="82"/>
                  </a:cubicBezTo>
                  <a:cubicBezTo>
                    <a:pt x="29" y="105"/>
                    <a:pt x="24" y="135"/>
                    <a:pt x="24" y="174"/>
                  </a:cubicBezTo>
                  <a:cubicBezTo>
                    <a:pt x="24" y="220"/>
                    <a:pt x="31" y="238"/>
                    <a:pt x="37" y="246"/>
                  </a:cubicBezTo>
                  <a:cubicBezTo>
                    <a:pt x="41" y="251"/>
                    <a:pt x="46" y="256"/>
                    <a:pt x="61" y="247"/>
                  </a:cubicBezTo>
                  <a:cubicBezTo>
                    <a:pt x="75" y="239"/>
                    <a:pt x="86" y="224"/>
                    <a:pt x="95" y="203"/>
                  </a:cubicBezTo>
                  <a:cubicBezTo>
                    <a:pt x="104" y="180"/>
                    <a:pt x="109" y="149"/>
                    <a:pt x="109" y="111"/>
                  </a:cubicBezTo>
                  <a:cubicBezTo>
                    <a:pt x="109" y="65"/>
                    <a:pt x="102" y="47"/>
                    <a:pt x="96" y="39"/>
                  </a:cubicBezTo>
                  <a:cubicBezTo>
                    <a:pt x="94" y="36"/>
                    <a:pt x="91" y="33"/>
                    <a:pt x="86" y="33"/>
                  </a:cubicBezTo>
                  <a:close/>
                  <a:moveTo>
                    <a:pt x="106" y="207"/>
                  </a:moveTo>
                  <a:cubicBezTo>
                    <a:pt x="106" y="207"/>
                    <a:pt x="106" y="207"/>
                    <a:pt x="106" y="20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Freeform 2387">
              <a:extLst>
                <a:ext uri="{FF2B5EF4-FFF2-40B4-BE49-F238E27FC236}">
                  <a16:creationId xmlns:a16="http://schemas.microsoft.com/office/drawing/2014/main" id="{A3B5E042-0AFF-41B4-9961-A5D802BAE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3274"/>
              <a:ext cx="107" cy="149"/>
            </a:xfrm>
            <a:custGeom>
              <a:avLst/>
              <a:gdLst>
                <a:gd name="T0" fmla="*/ 167 w 387"/>
                <a:gd name="T1" fmla="*/ 538 h 538"/>
                <a:gd name="T2" fmla="*/ 161 w 387"/>
                <a:gd name="T3" fmla="*/ 536 h 538"/>
                <a:gd name="T4" fmla="*/ 55 w 387"/>
                <a:gd name="T5" fmla="*/ 475 h 538"/>
                <a:gd name="T6" fmla="*/ 21 w 387"/>
                <a:gd name="T7" fmla="*/ 438 h 538"/>
                <a:gd name="T8" fmla="*/ 0 w 387"/>
                <a:gd name="T9" fmla="*/ 332 h 538"/>
                <a:gd name="T10" fmla="*/ 20 w 387"/>
                <a:gd name="T11" fmla="*/ 205 h 538"/>
                <a:gd name="T12" fmla="*/ 76 w 387"/>
                <a:gd name="T13" fmla="*/ 99 h 538"/>
                <a:gd name="T14" fmla="*/ 158 w 387"/>
                <a:gd name="T15" fmla="*/ 26 h 538"/>
                <a:gd name="T16" fmla="*/ 244 w 387"/>
                <a:gd name="T17" fmla="*/ 3 h 538"/>
                <a:gd name="T18" fmla="*/ 273 w 387"/>
                <a:gd name="T19" fmla="*/ 13 h 538"/>
                <a:gd name="T20" fmla="*/ 380 w 387"/>
                <a:gd name="T21" fmla="*/ 75 h 538"/>
                <a:gd name="T22" fmla="*/ 384 w 387"/>
                <a:gd name="T23" fmla="*/ 91 h 538"/>
                <a:gd name="T24" fmla="*/ 368 w 387"/>
                <a:gd name="T25" fmla="*/ 95 h 538"/>
                <a:gd name="T26" fmla="*/ 261 w 387"/>
                <a:gd name="T27" fmla="*/ 34 h 538"/>
                <a:gd name="T28" fmla="*/ 241 w 387"/>
                <a:gd name="T29" fmla="*/ 27 h 538"/>
                <a:gd name="T30" fmla="*/ 170 w 387"/>
                <a:gd name="T31" fmla="*/ 47 h 538"/>
                <a:gd name="T32" fmla="*/ 95 w 387"/>
                <a:gd name="T33" fmla="*/ 114 h 538"/>
                <a:gd name="T34" fmla="*/ 43 w 387"/>
                <a:gd name="T35" fmla="*/ 213 h 538"/>
                <a:gd name="T36" fmla="*/ 24 w 387"/>
                <a:gd name="T37" fmla="*/ 332 h 538"/>
                <a:gd name="T38" fmla="*/ 42 w 387"/>
                <a:gd name="T39" fmla="*/ 426 h 538"/>
                <a:gd name="T40" fmla="*/ 67 w 387"/>
                <a:gd name="T41" fmla="*/ 454 h 538"/>
                <a:gd name="T42" fmla="*/ 173 w 387"/>
                <a:gd name="T43" fmla="*/ 515 h 538"/>
                <a:gd name="T44" fmla="*/ 178 w 387"/>
                <a:gd name="T45" fmla="*/ 532 h 538"/>
                <a:gd name="T46" fmla="*/ 167 w 387"/>
                <a:gd name="T47" fmla="*/ 53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7" h="538">
                  <a:moveTo>
                    <a:pt x="167" y="538"/>
                  </a:moveTo>
                  <a:cubicBezTo>
                    <a:pt x="165" y="538"/>
                    <a:pt x="163" y="537"/>
                    <a:pt x="161" y="536"/>
                  </a:cubicBezTo>
                  <a:cubicBezTo>
                    <a:pt x="55" y="475"/>
                    <a:pt x="55" y="475"/>
                    <a:pt x="55" y="475"/>
                  </a:cubicBezTo>
                  <a:cubicBezTo>
                    <a:pt x="41" y="467"/>
                    <a:pt x="30" y="454"/>
                    <a:pt x="21" y="438"/>
                  </a:cubicBezTo>
                  <a:cubicBezTo>
                    <a:pt x="7" y="412"/>
                    <a:pt x="0" y="377"/>
                    <a:pt x="0" y="332"/>
                  </a:cubicBezTo>
                  <a:cubicBezTo>
                    <a:pt x="0" y="288"/>
                    <a:pt x="6" y="245"/>
                    <a:pt x="20" y="205"/>
                  </a:cubicBezTo>
                  <a:cubicBezTo>
                    <a:pt x="33" y="165"/>
                    <a:pt x="52" y="130"/>
                    <a:pt x="76" y="99"/>
                  </a:cubicBezTo>
                  <a:cubicBezTo>
                    <a:pt x="100" y="68"/>
                    <a:pt x="128" y="44"/>
                    <a:pt x="158" y="26"/>
                  </a:cubicBezTo>
                  <a:cubicBezTo>
                    <a:pt x="190" y="8"/>
                    <a:pt x="219" y="0"/>
                    <a:pt x="244" y="3"/>
                  </a:cubicBezTo>
                  <a:cubicBezTo>
                    <a:pt x="255" y="5"/>
                    <a:pt x="265" y="8"/>
                    <a:pt x="273" y="13"/>
                  </a:cubicBezTo>
                  <a:cubicBezTo>
                    <a:pt x="380" y="75"/>
                    <a:pt x="380" y="75"/>
                    <a:pt x="380" y="75"/>
                  </a:cubicBezTo>
                  <a:cubicBezTo>
                    <a:pt x="385" y="78"/>
                    <a:pt x="387" y="85"/>
                    <a:pt x="384" y="91"/>
                  </a:cubicBezTo>
                  <a:cubicBezTo>
                    <a:pt x="381" y="97"/>
                    <a:pt x="373" y="99"/>
                    <a:pt x="368" y="95"/>
                  </a:cubicBezTo>
                  <a:cubicBezTo>
                    <a:pt x="261" y="34"/>
                    <a:pt x="261" y="34"/>
                    <a:pt x="261" y="34"/>
                  </a:cubicBezTo>
                  <a:cubicBezTo>
                    <a:pt x="255" y="30"/>
                    <a:pt x="249" y="28"/>
                    <a:pt x="241" y="27"/>
                  </a:cubicBezTo>
                  <a:cubicBezTo>
                    <a:pt x="221" y="25"/>
                    <a:pt x="197" y="31"/>
                    <a:pt x="170" y="47"/>
                  </a:cubicBezTo>
                  <a:cubicBezTo>
                    <a:pt x="142" y="63"/>
                    <a:pt x="117" y="85"/>
                    <a:pt x="95" y="114"/>
                  </a:cubicBezTo>
                  <a:cubicBezTo>
                    <a:pt x="73" y="142"/>
                    <a:pt x="55" y="176"/>
                    <a:pt x="43" y="213"/>
                  </a:cubicBezTo>
                  <a:cubicBezTo>
                    <a:pt x="30" y="250"/>
                    <a:pt x="24" y="290"/>
                    <a:pt x="24" y="332"/>
                  </a:cubicBezTo>
                  <a:cubicBezTo>
                    <a:pt x="24" y="373"/>
                    <a:pt x="30" y="405"/>
                    <a:pt x="42" y="426"/>
                  </a:cubicBezTo>
                  <a:cubicBezTo>
                    <a:pt x="49" y="439"/>
                    <a:pt x="57" y="448"/>
                    <a:pt x="67" y="454"/>
                  </a:cubicBezTo>
                  <a:cubicBezTo>
                    <a:pt x="173" y="515"/>
                    <a:pt x="173" y="515"/>
                    <a:pt x="173" y="515"/>
                  </a:cubicBezTo>
                  <a:cubicBezTo>
                    <a:pt x="179" y="519"/>
                    <a:pt x="181" y="526"/>
                    <a:pt x="178" y="532"/>
                  </a:cubicBezTo>
                  <a:cubicBezTo>
                    <a:pt x="175" y="536"/>
                    <a:pt x="171" y="538"/>
                    <a:pt x="167" y="53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Freeform 2388">
              <a:extLst>
                <a:ext uri="{FF2B5EF4-FFF2-40B4-BE49-F238E27FC236}">
                  <a16:creationId xmlns:a16="http://schemas.microsoft.com/office/drawing/2014/main" id="{35D9DE2D-2235-427F-8624-34CA1C928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" y="3203"/>
              <a:ext cx="42" cy="127"/>
            </a:xfrm>
            <a:custGeom>
              <a:avLst/>
              <a:gdLst>
                <a:gd name="T0" fmla="*/ 42 w 42"/>
                <a:gd name="T1" fmla="*/ 24 h 127"/>
                <a:gd name="T2" fmla="*/ 42 w 42"/>
                <a:gd name="T3" fmla="*/ 127 h 127"/>
                <a:gd name="T4" fmla="*/ 16 w 42"/>
                <a:gd name="T5" fmla="*/ 113 h 127"/>
                <a:gd name="T6" fmla="*/ 16 w 42"/>
                <a:gd name="T7" fmla="*/ 32 h 127"/>
                <a:gd name="T8" fmla="*/ 0 w 42"/>
                <a:gd name="T9" fmla="*/ 23 h 127"/>
                <a:gd name="T10" fmla="*/ 0 w 42"/>
                <a:gd name="T11" fmla="*/ 0 h 127"/>
                <a:gd name="T12" fmla="*/ 42 w 42"/>
                <a:gd name="T13" fmla="*/ 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27">
                  <a:moveTo>
                    <a:pt x="42" y="24"/>
                  </a:moveTo>
                  <a:lnTo>
                    <a:pt x="42" y="127"/>
                  </a:lnTo>
                  <a:lnTo>
                    <a:pt x="16" y="113"/>
                  </a:lnTo>
                  <a:lnTo>
                    <a:pt x="16" y="32"/>
                  </a:lnTo>
                  <a:lnTo>
                    <a:pt x="0" y="23"/>
                  </a:lnTo>
                  <a:lnTo>
                    <a:pt x="0" y="0"/>
                  </a:lnTo>
                  <a:lnTo>
                    <a:pt x="42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9" name="Freeform 2389">
              <a:extLst>
                <a:ext uri="{FF2B5EF4-FFF2-40B4-BE49-F238E27FC236}">
                  <a16:creationId xmlns:a16="http://schemas.microsoft.com/office/drawing/2014/main" id="{2CCAFD12-9A89-4866-89EE-F94695D9F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" y="3211"/>
              <a:ext cx="27" cy="119"/>
            </a:xfrm>
            <a:custGeom>
              <a:avLst/>
              <a:gdLst>
                <a:gd name="T0" fmla="*/ 27 w 27"/>
                <a:gd name="T1" fmla="*/ 0 h 119"/>
                <a:gd name="T2" fmla="*/ 27 w 27"/>
                <a:gd name="T3" fmla="*/ 103 h 119"/>
                <a:gd name="T4" fmla="*/ 0 w 27"/>
                <a:gd name="T5" fmla="*/ 119 h 119"/>
                <a:gd name="T6" fmla="*/ 0 w 27"/>
                <a:gd name="T7" fmla="*/ 16 h 119"/>
                <a:gd name="T8" fmla="*/ 27 w 27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9">
                  <a:moveTo>
                    <a:pt x="27" y="0"/>
                  </a:moveTo>
                  <a:lnTo>
                    <a:pt x="27" y="103"/>
                  </a:lnTo>
                  <a:lnTo>
                    <a:pt x="0" y="119"/>
                  </a:lnTo>
                  <a:lnTo>
                    <a:pt x="0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0" name="Freeform 2390">
              <a:extLst>
                <a:ext uri="{FF2B5EF4-FFF2-40B4-BE49-F238E27FC236}">
                  <a16:creationId xmlns:a16="http://schemas.microsoft.com/office/drawing/2014/main" id="{6C757AD3-0403-4160-A0D8-7B7C15AA9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" y="3187"/>
              <a:ext cx="69" cy="40"/>
            </a:xfrm>
            <a:custGeom>
              <a:avLst/>
              <a:gdLst>
                <a:gd name="T0" fmla="*/ 69 w 69"/>
                <a:gd name="T1" fmla="*/ 24 h 40"/>
                <a:gd name="T2" fmla="*/ 42 w 69"/>
                <a:gd name="T3" fmla="*/ 40 h 40"/>
                <a:gd name="T4" fmla="*/ 0 w 69"/>
                <a:gd name="T5" fmla="*/ 16 h 40"/>
                <a:gd name="T6" fmla="*/ 27 w 69"/>
                <a:gd name="T7" fmla="*/ 0 h 40"/>
                <a:gd name="T8" fmla="*/ 69 w 69"/>
                <a:gd name="T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40">
                  <a:moveTo>
                    <a:pt x="69" y="24"/>
                  </a:moveTo>
                  <a:lnTo>
                    <a:pt x="42" y="40"/>
                  </a:lnTo>
                  <a:lnTo>
                    <a:pt x="0" y="16"/>
                  </a:lnTo>
                  <a:lnTo>
                    <a:pt x="27" y="0"/>
                  </a:lnTo>
                  <a:lnTo>
                    <a:pt x="69" y="24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1" name="Freeform 2391">
              <a:extLst>
                <a:ext uri="{FF2B5EF4-FFF2-40B4-BE49-F238E27FC236}">
                  <a16:creationId xmlns:a16="http://schemas.microsoft.com/office/drawing/2014/main" id="{710B169E-DE01-4F5B-9C7D-049F246F45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" y="3199"/>
              <a:ext cx="48" cy="135"/>
            </a:xfrm>
            <a:custGeom>
              <a:avLst/>
              <a:gdLst>
                <a:gd name="T0" fmla="*/ 164 w 176"/>
                <a:gd name="T1" fmla="*/ 487 h 487"/>
                <a:gd name="T2" fmla="*/ 158 w 176"/>
                <a:gd name="T3" fmla="*/ 485 h 487"/>
                <a:gd name="T4" fmla="*/ 66 w 176"/>
                <a:gd name="T5" fmla="*/ 433 h 487"/>
                <a:gd name="T6" fmla="*/ 60 w 176"/>
                <a:gd name="T7" fmla="*/ 422 h 487"/>
                <a:gd name="T8" fmla="*/ 60 w 176"/>
                <a:gd name="T9" fmla="*/ 136 h 487"/>
                <a:gd name="T10" fmla="*/ 6 w 176"/>
                <a:gd name="T11" fmla="*/ 105 h 487"/>
                <a:gd name="T12" fmla="*/ 0 w 176"/>
                <a:gd name="T13" fmla="*/ 95 h 487"/>
                <a:gd name="T14" fmla="*/ 0 w 176"/>
                <a:gd name="T15" fmla="*/ 13 h 487"/>
                <a:gd name="T16" fmla="*/ 6 w 176"/>
                <a:gd name="T17" fmla="*/ 2 h 487"/>
                <a:gd name="T18" fmla="*/ 18 w 176"/>
                <a:gd name="T19" fmla="*/ 2 h 487"/>
                <a:gd name="T20" fmla="*/ 170 w 176"/>
                <a:gd name="T21" fmla="*/ 90 h 487"/>
                <a:gd name="T22" fmla="*/ 176 w 176"/>
                <a:gd name="T23" fmla="*/ 101 h 487"/>
                <a:gd name="T24" fmla="*/ 176 w 176"/>
                <a:gd name="T25" fmla="*/ 475 h 487"/>
                <a:gd name="T26" fmla="*/ 170 w 176"/>
                <a:gd name="T27" fmla="*/ 485 h 487"/>
                <a:gd name="T28" fmla="*/ 164 w 176"/>
                <a:gd name="T29" fmla="*/ 487 h 487"/>
                <a:gd name="T30" fmla="*/ 84 w 176"/>
                <a:gd name="T31" fmla="*/ 415 h 487"/>
                <a:gd name="T32" fmla="*/ 152 w 176"/>
                <a:gd name="T33" fmla="*/ 454 h 487"/>
                <a:gd name="T34" fmla="*/ 152 w 176"/>
                <a:gd name="T35" fmla="*/ 107 h 487"/>
                <a:gd name="T36" fmla="*/ 24 w 176"/>
                <a:gd name="T37" fmla="*/ 34 h 487"/>
                <a:gd name="T38" fmla="*/ 24 w 176"/>
                <a:gd name="T39" fmla="*/ 88 h 487"/>
                <a:gd name="T40" fmla="*/ 78 w 176"/>
                <a:gd name="T41" fmla="*/ 119 h 487"/>
                <a:gd name="T42" fmla="*/ 84 w 176"/>
                <a:gd name="T43" fmla="*/ 129 h 487"/>
                <a:gd name="T44" fmla="*/ 84 w 176"/>
                <a:gd name="T45" fmla="*/ 415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6" h="487">
                  <a:moveTo>
                    <a:pt x="164" y="487"/>
                  </a:moveTo>
                  <a:cubicBezTo>
                    <a:pt x="161" y="487"/>
                    <a:pt x="159" y="487"/>
                    <a:pt x="158" y="485"/>
                  </a:cubicBezTo>
                  <a:cubicBezTo>
                    <a:pt x="66" y="433"/>
                    <a:pt x="66" y="433"/>
                    <a:pt x="66" y="433"/>
                  </a:cubicBezTo>
                  <a:cubicBezTo>
                    <a:pt x="62" y="430"/>
                    <a:pt x="60" y="426"/>
                    <a:pt x="60" y="422"/>
                  </a:cubicBezTo>
                  <a:cubicBezTo>
                    <a:pt x="60" y="136"/>
                    <a:pt x="60" y="136"/>
                    <a:pt x="60" y="136"/>
                  </a:cubicBezTo>
                  <a:cubicBezTo>
                    <a:pt x="6" y="105"/>
                    <a:pt x="6" y="105"/>
                    <a:pt x="6" y="105"/>
                  </a:cubicBezTo>
                  <a:cubicBezTo>
                    <a:pt x="2" y="103"/>
                    <a:pt x="0" y="99"/>
                    <a:pt x="0" y="9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2" y="5"/>
                    <a:pt x="6" y="2"/>
                  </a:cubicBezTo>
                  <a:cubicBezTo>
                    <a:pt x="9" y="0"/>
                    <a:pt x="14" y="0"/>
                    <a:pt x="18" y="2"/>
                  </a:cubicBezTo>
                  <a:cubicBezTo>
                    <a:pt x="170" y="90"/>
                    <a:pt x="170" y="90"/>
                    <a:pt x="170" y="90"/>
                  </a:cubicBezTo>
                  <a:cubicBezTo>
                    <a:pt x="173" y="92"/>
                    <a:pt x="176" y="96"/>
                    <a:pt x="176" y="101"/>
                  </a:cubicBezTo>
                  <a:cubicBezTo>
                    <a:pt x="176" y="475"/>
                    <a:pt x="176" y="475"/>
                    <a:pt x="176" y="475"/>
                  </a:cubicBezTo>
                  <a:cubicBezTo>
                    <a:pt x="176" y="479"/>
                    <a:pt x="173" y="483"/>
                    <a:pt x="170" y="485"/>
                  </a:cubicBezTo>
                  <a:cubicBezTo>
                    <a:pt x="168" y="487"/>
                    <a:pt x="166" y="487"/>
                    <a:pt x="164" y="487"/>
                  </a:cubicBezTo>
                  <a:close/>
                  <a:moveTo>
                    <a:pt x="84" y="415"/>
                  </a:moveTo>
                  <a:cubicBezTo>
                    <a:pt x="152" y="454"/>
                    <a:pt x="152" y="454"/>
                    <a:pt x="152" y="454"/>
                  </a:cubicBezTo>
                  <a:cubicBezTo>
                    <a:pt x="152" y="107"/>
                    <a:pt x="152" y="107"/>
                    <a:pt x="152" y="107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78" y="119"/>
                    <a:pt x="78" y="119"/>
                    <a:pt x="78" y="119"/>
                  </a:cubicBezTo>
                  <a:cubicBezTo>
                    <a:pt x="81" y="121"/>
                    <a:pt x="84" y="125"/>
                    <a:pt x="84" y="129"/>
                  </a:cubicBezTo>
                  <a:lnTo>
                    <a:pt x="84" y="415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2" name="Freeform 2392">
              <a:extLst>
                <a:ext uri="{FF2B5EF4-FFF2-40B4-BE49-F238E27FC236}">
                  <a16:creationId xmlns:a16="http://schemas.microsoft.com/office/drawing/2014/main" id="{E6D20AB9-0881-40B4-9ACC-449D8BD8A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3184"/>
              <a:ext cx="77" cy="150"/>
            </a:xfrm>
            <a:custGeom>
              <a:avLst/>
              <a:gdLst>
                <a:gd name="T0" fmla="*/ 166 w 277"/>
                <a:gd name="T1" fmla="*/ 544 h 544"/>
                <a:gd name="T2" fmla="*/ 155 w 277"/>
                <a:gd name="T3" fmla="*/ 538 h 544"/>
                <a:gd name="T4" fmla="*/ 160 w 277"/>
                <a:gd name="T5" fmla="*/ 522 h 544"/>
                <a:gd name="T6" fmla="*/ 253 w 277"/>
                <a:gd name="T7" fmla="*/ 468 h 544"/>
                <a:gd name="T8" fmla="*/ 253 w 277"/>
                <a:gd name="T9" fmla="*/ 107 h 544"/>
                <a:gd name="T10" fmla="*/ 113 w 277"/>
                <a:gd name="T11" fmla="*/ 26 h 544"/>
                <a:gd name="T12" fmla="*/ 20 w 277"/>
                <a:gd name="T13" fmla="*/ 80 h 544"/>
                <a:gd name="T14" fmla="*/ 3 w 277"/>
                <a:gd name="T15" fmla="*/ 76 h 544"/>
                <a:gd name="T16" fmla="*/ 8 w 277"/>
                <a:gd name="T17" fmla="*/ 59 h 544"/>
                <a:gd name="T18" fmla="*/ 107 w 277"/>
                <a:gd name="T19" fmla="*/ 2 h 544"/>
                <a:gd name="T20" fmla="*/ 119 w 277"/>
                <a:gd name="T21" fmla="*/ 2 h 544"/>
                <a:gd name="T22" fmla="*/ 271 w 277"/>
                <a:gd name="T23" fmla="*/ 89 h 544"/>
                <a:gd name="T24" fmla="*/ 277 w 277"/>
                <a:gd name="T25" fmla="*/ 100 h 544"/>
                <a:gd name="T26" fmla="*/ 277 w 277"/>
                <a:gd name="T27" fmla="*/ 474 h 544"/>
                <a:gd name="T28" fmla="*/ 271 w 277"/>
                <a:gd name="T29" fmla="*/ 485 h 544"/>
                <a:gd name="T30" fmla="*/ 172 w 277"/>
                <a:gd name="T31" fmla="*/ 542 h 544"/>
                <a:gd name="T32" fmla="*/ 166 w 277"/>
                <a:gd name="T33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7" h="544">
                  <a:moveTo>
                    <a:pt x="166" y="544"/>
                  </a:moveTo>
                  <a:cubicBezTo>
                    <a:pt x="161" y="544"/>
                    <a:pt x="157" y="542"/>
                    <a:pt x="155" y="538"/>
                  </a:cubicBezTo>
                  <a:cubicBezTo>
                    <a:pt x="152" y="532"/>
                    <a:pt x="154" y="525"/>
                    <a:pt x="160" y="522"/>
                  </a:cubicBezTo>
                  <a:cubicBezTo>
                    <a:pt x="253" y="468"/>
                    <a:pt x="253" y="468"/>
                    <a:pt x="253" y="468"/>
                  </a:cubicBezTo>
                  <a:cubicBezTo>
                    <a:pt x="253" y="107"/>
                    <a:pt x="253" y="107"/>
                    <a:pt x="253" y="107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83"/>
                    <a:pt x="6" y="81"/>
                    <a:pt x="3" y="76"/>
                  </a:cubicBezTo>
                  <a:cubicBezTo>
                    <a:pt x="0" y="70"/>
                    <a:pt x="2" y="63"/>
                    <a:pt x="8" y="59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11" y="0"/>
                    <a:pt x="116" y="0"/>
                    <a:pt x="119" y="2"/>
                  </a:cubicBezTo>
                  <a:cubicBezTo>
                    <a:pt x="271" y="89"/>
                    <a:pt x="271" y="89"/>
                    <a:pt x="271" y="89"/>
                  </a:cubicBezTo>
                  <a:cubicBezTo>
                    <a:pt x="275" y="92"/>
                    <a:pt x="277" y="96"/>
                    <a:pt x="277" y="100"/>
                  </a:cubicBezTo>
                  <a:cubicBezTo>
                    <a:pt x="277" y="474"/>
                    <a:pt x="277" y="474"/>
                    <a:pt x="277" y="474"/>
                  </a:cubicBezTo>
                  <a:cubicBezTo>
                    <a:pt x="277" y="479"/>
                    <a:pt x="275" y="483"/>
                    <a:pt x="271" y="485"/>
                  </a:cubicBezTo>
                  <a:cubicBezTo>
                    <a:pt x="172" y="542"/>
                    <a:pt x="172" y="542"/>
                    <a:pt x="172" y="542"/>
                  </a:cubicBezTo>
                  <a:cubicBezTo>
                    <a:pt x="170" y="544"/>
                    <a:pt x="168" y="544"/>
                    <a:pt x="166" y="54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3" name="Freeform 2393">
              <a:extLst>
                <a:ext uri="{FF2B5EF4-FFF2-40B4-BE49-F238E27FC236}">
                  <a16:creationId xmlns:a16="http://schemas.microsoft.com/office/drawing/2014/main" id="{703B411D-6DA2-4FC2-BAFD-8AC181624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" y="3207"/>
              <a:ext cx="35" cy="23"/>
            </a:xfrm>
            <a:custGeom>
              <a:avLst/>
              <a:gdLst>
                <a:gd name="T0" fmla="*/ 14 w 127"/>
                <a:gd name="T1" fmla="*/ 84 h 84"/>
                <a:gd name="T2" fmla="*/ 3 w 127"/>
                <a:gd name="T3" fmla="*/ 78 h 84"/>
                <a:gd name="T4" fmla="*/ 8 w 127"/>
                <a:gd name="T5" fmla="*/ 61 h 84"/>
                <a:gd name="T6" fmla="*/ 107 w 127"/>
                <a:gd name="T7" fmla="*/ 3 h 84"/>
                <a:gd name="T8" fmla="*/ 124 w 127"/>
                <a:gd name="T9" fmla="*/ 8 h 84"/>
                <a:gd name="T10" fmla="*/ 119 w 127"/>
                <a:gd name="T11" fmla="*/ 24 h 84"/>
                <a:gd name="T12" fmla="*/ 20 w 127"/>
                <a:gd name="T13" fmla="*/ 82 h 84"/>
                <a:gd name="T14" fmla="*/ 14 w 127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84">
                  <a:moveTo>
                    <a:pt x="14" y="84"/>
                  </a:moveTo>
                  <a:cubicBezTo>
                    <a:pt x="9" y="84"/>
                    <a:pt x="5" y="81"/>
                    <a:pt x="3" y="78"/>
                  </a:cubicBezTo>
                  <a:cubicBezTo>
                    <a:pt x="0" y="72"/>
                    <a:pt x="2" y="64"/>
                    <a:pt x="8" y="61"/>
                  </a:cubicBezTo>
                  <a:cubicBezTo>
                    <a:pt x="107" y="3"/>
                    <a:pt x="107" y="3"/>
                    <a:pt x="107" y="3"/>
                  </a:cubicBezTo>
                  <a:cubicBezTo>
                    <a:pt x="113" y="0"/>
                    <a:pt x="120" y="2"/>
                    <a:pt x="124" y="8"/>
                  </a:cubicBezTo>
                  <a:cubicBezTo>
                    <a:pt x="127" y="14"/>
                    <a:pt x="125" y="21"/>
                    <a:pt x="119" y="24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18" y="83"/>
                    <a:pt x="16" y="84"/>
                    <a:pt x="14" y="84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4" name="Freeform 2394">
              <a:extLst>
                <a:ext uri="{FF2B5EF4-FFF2-40B4-BE49-F238E27FC236}">
                  <a16:creationId xmlns:a16="http://schemas.microsoft.com/office/drawing/2014/main" id="{F47C72A8-99DE-4BC1-AC08-AE09155535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" y="3487"/>
              <a:ext cx="123" cy="81"/>
            </a:xfrm>
            <a:custGeom>
              <a:avLst/>
              <a:gdLst>
                <a:gd name="T0" fmla="*/ 123 w 123"/>
                <a:gd name="T1" fmla="*/ 26 h 81"/>
                <a:gd name="T2" fmla="*/ 27 w 123"/>
                <a:gd name="T3" fmla="*/ 81 h 81"/>
                <a:gd name="T4" fmla="*/ 0 w 123"/>
                <a:gd name="T5" fmla="*/ 65 h 81"/>
                <a:gd name="T6" fmla="*/ 75 w 123"/>
                <a:gd name="T7" fmla="*/ 22 h 81"/>
                <a:gd name="T8" fmla="*/ 57 w 123"/>
                <a:gd name="T9" fmla="*/ 12 h 81"/>
                <a:gd name="T10" fmla="*/ 78 w 123"/>
                <a:gd name="T11" fmla="*/ 0 h 81"/>
                <a:gd name="T12" fmla="*/ 123 w 123"/>
                <a:gd name="T13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81">
                  <a:moveTo>
                    <a:pt x="123" y="26"/>
                  </a:moveTo>
                  <a:lnTo>
                    <a:pt x="27" y="81"/>
                  </a:lnTo>
                  <a:lnTo>
                    <a:pt x="0" y="65"/>
                  </a:lnTo>
                  <a:lnTo>
                    <a:pt x="75" y="22"/>
                  </a:lnTo>
                  <a:lnTo>
                    <a:pt x="57" y="12"/>
                  </a:lnTo>
                  <a:lnTo>
                    <a:pt x="78" y="0"/>
                  </a:lnTo>
                  <a:lnTo>
                    <a:pt x="123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5" name="Freeform 2395">
              <a:extLst>
                <a:ext uri="{FF2B5EF4-FFF2-40B4-BE49-F238E27FC236}">
                  <a16:creationId xmlns:a16="http://schemas.microsoft.com/office/drawing/2014/main" id="{4D9C0884-8C9E-4491-A974-FA7B5B837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" y="3513"/>
              <a:ext cx="96" cy="96"/>
            </a:xfrm>
            <a:custGeom>
              <a:avLst/>
              <a:gdLst>
                <a:gd name="T0" fmla="*/ 96 w 96"/>
                <a:gd name="T1" fmla="*/ 0 h 96"/>
                <a:gd name="T2" fmla="*/ 96 w 96"/>
                <a:gd name="T3" fmla="*/ 41 h 96"/>
                <a:gd name="T4" fmla="*/ 0 w 96"/>
                <a:gd name="T5" fmla="*/ 96 h 96"/>
                <a:gd name="T6" fmla="*/ 0 w 96"/>
                <a:gd name="T7" fmla="*/ 55 h 96"/>
                <a:gd name="T8" fmla="*/ 96 w 96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6">
                  <a:moveTo>
                    <a:pt x="96" y="0"/>
                  </a:moveTo>
                  <a:lnTo>
                    <a:pt x="96" y="41"/>
                  </a:lnTo>
                  <a:lnTo>
                    <a:pt x="0" y="96"/>
                  </a:lnTo>
                  <a:lnTo>
                    <a:pt x="0" y="55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6" name="Freeform 2396">
              <a:extLst>
                <a:ext uri="{FF2B5EF4-FFF2-40B4-BE49-F238E27FC236}">
                  <a16:creationId xmlns:a16="http://schemas.microsoft.com/office/drawing/2014/main" id="{599DBF66-C19D-4D64-AFA7-EE0AF674F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" y="3552"/>
              <a:ext cx="27" cy="57"/>
            </a:xfrm>
            <a:custGeom>
              <a:avLst/>
              <a:gdLst>
                <a:gd name="T0" fmla="*/ 27 w 27"/>
                <a:gd name="T1" fmla="*/ 16 h 57"/>
                <a:gd name="T2" fmla="*/ 27 w 27"/>
                <a:gd name="T3" fmla="*/ 57 h 57"/>
                <a:gd name="T4" fmla="*/ 0 w 27"/>
                <a:gd name="T5" fmla="*/ 41 h 57"/>
                <a:gd name="T6" fmla="*/ 0 w 27"/>
                <a:gd name="T7" fmla="*/ 0 h 57"/>
                <a:gd name="T8" fmla="*/ 27 w 27"/>
                <a:gd name="T9" fmla="*/ 1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7">
                  <a:moveTo>
                    <a:pt x="27" y="16"/>
                  </a:moveTo>
                  <a:lnTo>
                    <a:pt x="27" y="57"/>
                  </a:lnTo>
                  <a:lnTo>
                    <a:pt x="0" y="41"/>
                  </a:lnTo>
                  <a:lnTo>
                    <a:pt x="0" y="0"/>
                  </a:lnTo>
                  <a:lnTo>
                    <a:pt x="27" y="16"/>
                  </a:ln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7" name="Freeform 2397">
              <a:extLst>
                <a:ext uri="{FF2B5EF4-FFF2-40B4-BE49-F238E27FC236}">
                  <a16:creationId xmlns:a16="http://schemas.microsoft.com/office/drawing/2014/main" id="{27639F6C-028A-4AE6-B123-23B01D63E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" y="3483"/>
              <a:ext cx="130" cy="88"/>
            </a:xfrm>
            <a:custGeom>
              <a:avLst/>
              <a:gdLst>
                <a:gd name="T0" fmla="*/ 110 w 470"/>
                <a:gd name="T1" fmla="*/ 319 h 319"/>
                <a:gd name="T2" fmla="*/ 104 w 470"/>
                <a:gd name="T3" fmla="*/ 318 h 319"/>
                <a:gd name="T4" fmla="*/ 6 w 470"/>
                <a:gd name="T5" fmla="*/ 261 h 319"/>
                <a:gd name="T6" fmla="*/ 0 w 470"/>
                <a:gd name="T7" fmla="*/ 250 h 319"/>
                <a:gd name="T8" fmla="*/ 6 w 470"/>
                <a:gd name="T9" fmla="*/ 240 h 319"/>
                <a:gd name="T10" fmla="*/ 259 w 470"/>
                <a:gd name="T11" fmla="*/ 94 h 319"/>
                <a:gd name="T12" fmla="*/ 213 w 470"/>
                <a:gd name="T13" fmla="*/ 67 h 319"/>
                <a:gd name="T14" fmla="*/ 207 w 470"/>
                <a:gd name="T15" fmla="*/ 56 h 319"/>
                <a:gd name="T16" fmla="*/ 213 w 470"/>
                <a:gd name="T17" fmla="*/ 46 h 319"/>
                <a:gd name="T18" fmla="*/ 289 w 470"/>
                <a:gd name="T19" fmla="*/ 2 h 319"/>
                <a:gd name="T20" fmla="*/ 301 w 470"/>
                <a:gd name="T21" fmla="*/ 2 h 319"/>
                <a:gd name="T22" fmla="*/ 464 w 470"/>
                <a:gd name="T23" fmla="*/ 96 h 319"/>
                <a:gd name="T24" fmla="*/ 470 w 470"/>
                <a:gd name="T25" fmla="*/ 107 h 319"/>
                <a:gd name="T26" fmla="*/ 464 w 470"/>
                <a:gd name="T27" fmla="*/ 117 h 319"/>
                <a:gd name="T28" fmla="*/ 116 w 470"/>
                <a:gd name="T29" fmla="*/ 318 h 319"/>
                <a:gd name="T30" fmla="*/ 110 w 470"/>
                <a:gd name="T31" fmla="*/ 319 h 319"/>
                <a:gd name="T32" fmla="*/ 36 w 470"/>
                <a:gd name="T33" fmla="*/ 250 h 319"/>
                <a:gd name="T34" fmla="*/ 110 w 470"/>
                <a:gd name="T35" fmla="*/ 293 h 319"/>
                <a:gd name="T36" fmla="*/ 434 w 470"/>
                <a:gd name="T37" fmla="*/ 107 h 319"/>
                <a:gd name="T38" fmla="*/ 295 w 470"/>
                <a:gd name="T39" fmla="*/ 26 h 319"/>
                <a:gd name="T40" fmla="*/ 243 w 470"/>
                <a:gd name="T41" fmla="*/ 56 h 319"/>
                <a:gd name="T42" fmla="*/ 289 w 470"/>
                <a:gd name="T43" fmla="*/ 83 h 319"/>
                <a:gd name="T44" fmla="*/ 295 w 470"/>
                <a:gd name="T45" fmla="*/ 94 h 319"/>
                <a:gd name="T46" fmla="*/ 289 w 470"/>
                <a:gd name="T47" fmla="*/ 104 h 319"/>
                <a:gd name="T48" fmla="*/ 36 w 470"/>
                <a:gd name="T49" fmla="*/ 25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0" h="319">
                  <a:moveTo>
                    <a:pt x="110" y="319"/>
                  </a:moveTo>
                  <a:cubicBezTo>
                    <a:pt x="108" y="319"/>
                    <a:pt x="106" y="319"/>
                    <a:pt x="104" y="318"/>
                  </a:cubicBezTo>
                  <a:cubicBezTo>
                    <a:pt x="6" y="261"/>
                    <a:pt x="6" y="261"/>
                    <a:pt x="6" y="261"/>
                  </a:cubicBezTo>
                  <a:cubicBezTo>
                    <a:pt x="2" y="259"/>
                    <a:pt x="0" y="255"/>
                    <a:pt x="0" y="250"/>
                  </a:cubicBezTo>
                  <a:cubicBezTo>
                    <a:pt x="0" y="246"/>
                    <a:pt x="2" y="242"/>
                    <a:pt x="6" y="240"/>
                  </a:cubicBezTo>
                  <a:cubicBezTo>
                    <a:pt x="259" y="94"/>
                    <a:pt x="259" y="94"/>
                    <a:pt x="259" y="94"/>
                  </a:cubicBezTo>
                  <a:cubicBezTo>
                    <a:pt x="213" y="67"/>
                    <a:pt x="213" y="67"/>
                    <a:pt x="213" y="67"/>
                  </a:cubicBezTo>
                  <a:cubicBezTo>
                    <a:pt x="209" y="65"/>
                    <a:pt x="207" y="61"/>
                    <a:pt x="207" y="56"/>
                  </a:cubicBezTo>
                  <a:cubicBezTo>
                    <a:pt x="207" y="52"/>
                    <a:pt x="209" y="48"/>
                    <a:pt x="213" y="46"/>
                  </a:cubicBezTo>
                  <a:cubicBezTo>
                    <a:pt x="289" y="2"/>
                    <a:pt x="289" y="2"/>
                    <a:pt x="289" y="2"/>
                  </a:cubicBezTo>
                  <a:cubicBezTo>
                    <a:pt x="292" y="0"/>
                    <a:pt x="297" y="0"/>
                    <a:pt x="301" y="2"/>
                  </a:cubicBezTo>
                  <a:cubicBezTo>
                    <a:pt x="464" y="96"/>
                    <a:pt x="464" y="96"/>
                    <a:pt x="464" y="96"/>
                  </a:cubicBezTo>
                  <a:cubicBezTo>
                    <a:pt x="467" y="98"/>
                    <a:pt x="470" y="102"/>
                    <a:pt x="470" y="107"/>
                  </a:cubicBezTo>
                  <a:cubicBezTo>
                    <a:pt x="470" y="111"/>
                    <a:pt x="467" y="115"/>
                    <a:pt x="464" y="117"/>
                  </a:cubicBezTo>
                  <a:cubicBezTo>
                    <a:pt x="116" y="318"/>
                    <a:pt x="116" y="318"/>
                    <a:pt x="116" y="318"/>
                  </a:cubicBezTo>
                  <a:cubicBezTo>
                    <a:pt x="114" y="319"/>
                    <a:pt x="112" y="319"/>
                    <a:pt x="110" y="319"/>
                  </a:cubicBezTo>
                  <a:close/>
                  <a:moveTo>
                    <a:pt x="36" y="250"/>
                  </a:moveTo>
                  <a:cubicBezTo>
                    <a:pt x="110" y="293"/>
                    <a:pt x="110" y="293"/>
                    <a:pt x="110" y="293"/>
                  </a:cubicBezTo>
                  <a:cubicBezTo>
                    <a:pt x="434" y="107"/>
                    <a:pt x="434" y="107"/>
                    <a:pt x="434" y="107"/>
                  </a:cubicBezTo>
                  <a:cubicBezTo>
                    <a:pt x="295" y="26"/>
                    <a:pt x="295" y="26"/>
                    <a:pt x="295" y="26"/>
                  </a:cubicBezTo>
                  <a:cubicBezTo>
                    <a:pt x="243" y="56"/>
                    <a:pt x="243" y="56"/>
                    <a:pt x="243" y="56"/>
                  </a:cubicBezTo>
                  <a:cubicBezTo>
                    <a:pt x="289" y="83"/>
                    <a:pt x="289" y="83"/>
                    <a:pt x="289" y="83"/>
                  </a:cubicBezTo>
                  <a:cubicBezTo>
                    <a:pt x="293" y="85"/>
                    <a:pt x="295" y="89"/>
                    <a:pt x="295" y="94"/>
                  </a:cubicBezTo>
                  <a:cubicBezTo>
                    <a:pt x="295" y="98"/>
                    <a:pt x="293" y="102"/>
                    <a:pt x="289" y="104"/>
                  </a:cubicBezTo>
                  <a:lnTo>
                    <a:pt x="36" y="250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8" name="Freeform 2398">
              <a:extLst>
                <a:ext uri="{FF2B5EF4-FFF2-40B4-BE49-F238E27FC236}">
                  <a16:creationId xmlns:a16="http://schemas.microsoft.com/office/drawing/2014/main" id="{D05AF41D-64A6-42B3-8F36-1DAB84BD5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" y="3509"/>
              <a:ext cx="130" cy="104"/>
            </a:xfrm>
            <a:custGeom>
              <a:avLst/>
              <a:gdLst>
                <a:gd name="T0" fmla="*/ 110 w 470"/>
                <a:gd name="T1" fmla="*/ 373 h 373"/>
                <a:gd name="T2" fmla="*/ 104 w 470"/>
                <a:gd name="T3" fmla="*/ 371 h 373"/>
                <a:gd name="T4" fmla="*/ 6 w 470"/>
                <a:gd name="T5" fmla="*/ 314 h 373"/>
                <a:gd name="T6" fmla="*/ 0 w 470"/>
                <a:gd name="T7" fmla="*/ 304 h 373"/>
                <a:gd name="T8" fmla="*/ 0 w 470"/>
                <a:gd name="T9" fmla="*/ 155 h 373"/>
                <a:gd name="T10" fmla="*/ 12 w 470"/>
                <a:gd name="T11" fmla="*/ 143 h 373"/>
                <a:gd name="T12" fmla="*/ 24 w 470"/>
                <a:gd name="T13" fmla="*/ 155 h 373"/>
                <a:gd name="T14" fmla="*/ 24 w 470"/>
                <a:gd name="T15" fmla="*/ 297 h 373"/>
                <a:gd name="T16" fmla="*/ 110 w 470"/>
                <a:gd name="T17" fmla="*/ 347 h 373"/>
                <a:gd name="T18" fmla="*/ 446 w 470"/>
                <a:gd name="T19" fmla="*/ 153 h 373"/>
                <a:gd name="T20" fmla="*/ 446 w 470"/>
                <a:gd name="T21" fmla="*/ 12 h 373"/>
                <a:gd name="T22" fmla="*/ 458 w 470"/>
                <a:gd name="T23" fmla="*/ 0 h 373"/>
                <a:gd name="T24" fmla="*/ 470 w 470"/>
                <a:gd name="T25" fmla="*/ 12 h 373"/>
                <a:gd name="T26" fmla="*/ 470 w 470"/>
                <a:gd name="T27" fmla="*/ 160 h 373"/>
                <a:gd name="T28" fmla="*/ 464 w 470"/>
                <a:gd name="T29" fmla="*/ 170 h 373"/>
                <a:gd name="T30" fmla="*/ 116 w 470"/>
                <a:gd name="T31" fmla="*/ 371 h 373"/>
                <a:gd name="T32" fmla="*/ 110 w 470"/>
                <a:gd name="T33" fmla="*/ 37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0" h="373">
                  <a:moveTo>
                    <a:pt x="110" y="373"/>
                  </a:moveTo>
                  <a:cubicBezTo>
                    <a:pt x="108" y="373"/>
                    <a:pt x="106" y="372"/>
                    <a:pt x="104" y="371"/>
                  </a:cubicBezTo>
                  <a:cubicBezTo>
                    <a:pt x="6" y="314"/>
                    <a:pt x="6" y="314"/>
                    <a:pt x="6" y="314"/>
                  </a:cubicBezTo>
                  <a:cubicBezTo>
                    <a:pt x="2" y="312"/>
                    <a:pt x="0" y="308"/>
                    <a:pt x="0" y="30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49"/>
                    <a:pt x="5" y="143"/>
                    <a:pt x="12" y="143"/>
                  </a:cubicBezTo>
                  <a:cubicBezTo>
                    <a:pt x="18" y="143"/>
                    <a:pt x="24" y="149"/>
                    <a:pt x="24" y="155"/>
                  </a:cubicBezTo>
                  <a:cubicBezTo>
                    <a:pt x="24" y="297"/>
                    <a:pt x="24" y="297"/>
                    <a:pt x="24" y="297"/>
                  </a:cubicBezTo>
                  <a:cubicBezTo>
                    <a:pt x="110" y="347"/>
                    <a:pt x="110" y="347"/>
                    <a:pt x="110" y="347"/>
                  </a:cubicBezTo>
                  <a:cubicBezTo>
                    <a:pt x="446" y="153"/>
                    <a:pt x="446" y="153"/>
                    <a:pt x="446" y="153"/>
                  </a:cubicBezTo>
                  <a:cubicBezTo>
                    <a:pt x="446" y="12"/>
                    <a:pt x="446" y="12"/>
                    <a:pt x="446" y="12"/>
                  </a:cubicBezTo>
                  <a:cubicBezTo>
                    <a:pt x="446" y="5"/>
                    <a:pt x="451" y="0"/>
                    <a:pt x="458" y="0"/>
                  </a:cubicBezTo>
                  <a:cubicBezTo>
                    <a:pt x="464" y="0"/>
                    <a:pt x="470" y="5"/>
                    <a:pt x="470" y="12"/>
                  </a:cubicBezTo>
                  <a:cubicBezTo>
                    <a:pt x="470" y="160"/>
                    <a:pt x="470" y="160"/>
                    <a:pt x="470" y="160"/>
                  </a:cubicBezTo>
                  <a:cubicBezTo>
                    <a:pt x="470" y="164"/>
                    <a:pt x="467" y="168"/>
                    <a:pt x="464" y="170"/>
                  </a:cubicBezTo>
                  <a:cubicBezTo>
                    <a:pt x="116" y="371"/>
                    <a:pt x="116" y="371"/>
                    <a:pt x="116" y="371"/>
                  </a:cubicBezTo>
                  <a:cubicBezTo>
                    <a:pt x="114" y="372"/>
                    <a:pt x="112" y="373"/>
                    <a:pt x="110" y="37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Freeform 2399">
              <a:extLst>
                <a:ext uri="{FF2B5EF4-FFF2-40B4-BE49-F238E27FC236}">
                  <a16:creationId xmlns:a16="http://schemas.microsoft.com/office/drawing/2014/main" id="{DC26F93F-6C27-44EE-BB1E-B6C796340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" y="3565"/>
              <a:ext cx="7" cy="48"/>
            </a:xfrm>
            <a:custGeom>
              <a:avLst/>
              <a:gdLst>
                <a:gd name="T0" fmla="*/ 12 w 24"/>
                <a:gd name="T1" fmla="*/ 173 h 173"/>
                <a:gd name="T2" fmla="*/ 0 w 24"/>
                <a:gd name="T3" fmla="*/ 161 h 173"/>
                <a:gd name="T4" fmla="*/ 0 w 24"/>
                <a:gd name="T5" fmla="*/ 12 h 173"/>
                <a:gd name="T6" fmla="*/ 12 w 24"/>
                <a:gd name="T7" fmla="*/ 0 h 173"/>
                <a:gd name="T8" fmla="*/ 24 w 24"/>
                <a:gd name="T9" fmla="*/ 12 h 173"/>
                <a:gd name="T10" fmla="*/ 24 w 24"/>
                <a:gd name="T11" fmla="*/ 161 h 173"/>
                <a:gd name="T12" fmla="*/ 12 w 24"/>
                <a:gd name="T13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73">
                  <a:moveTo>
                    <a:pt x="12" y="173"/>
                  </a:moveTo>
                  <a:cubicBezTo>
                    <a:pt x="5" y="173"/>
                    <a:pt x="0" y="167"/>
                    <a:pt x="0" y="16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61"/>
                    <a:pt x="24" y="161"/>
                    <a:pt x="24" y="161"/>
                  </a:cubicBezTo>
                  <a:cubicBezTo>
                    <a:pt x="24" y="167"/>
                    <a:pt x="19" y="173"/>
                    <a:pt x="12" y="17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0" name="Freeform 2400">
              <a:extLst>
                <a:ext uri="{FF2B5EF4-FFF2-40B4-BE49-F238E27FC236}">
                  <a16:creationId xmlns:a16="http://schemas.microsoft.com/office/drawing/2014/main" id="{B3A48F2A-453E-4EF5-A22E-F3DB1EB51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" y="3495"/>
              <a:ext cx="7" cy="28"/>
            </a:xfrm>
            <a:custGeom>
              <a:avLst/>
              <a:gdLst>
                <a:gd name="T0" fmla="*/ 12 w 24"/>
                <a:gd name="T1" fmla="*/ 99 h 99"/>
                <a:gd name="T2" fmla="*/ 0 w 24"/>
                <a:gd name="T3" fmla="*/ 87 h 99"/>
                <a:gd name="T4" fmla="*/ 0 w 24"/>
                <a:gd name="T5" fmla="*/ 12 h 99"/>
                <a:gd name="T6" fmla="*/ 12 w 24"/>
                <a:gd name="T7" fmla="*/ 0 h 99"/>
                <a:gd name="T8" fmla="*/ 24 w 24"/>
                <a:gd name="T9" fmla="*/ 12 h 99"/>
                <a:gd name="T10" fmla="*/ 24 w 24"/>
                <a:gd name="T11" fmla="*/ 87 h 99"/>
                <a:gd name="T12" fmla="*/ 12 w 24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99">
                  <a:moveTo>
                    <a:pt x="12" y="99"/>
                  </a:moveTo>
                  <a:cubicBezTo>
                    <a:pt x="5" y="99"/>
                    <a:pt x="0" y="94"/>
                    <a:pt x="0" y="8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8" y="0"/>
                    <a:pt x="24" y="6"/>
                    <a:pt x="24" y="12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4" y="94"/>
                    <a:pt x="18" y="99"/>
                    <a:pt x="12" y="99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1" name="Freeform 2401">
              <a:extLst>
                <a:ext uri="{FF2B5EF4-FFF2-40B4-BE49-F238E27FC236}">
                  <a16:creationId xmlns:a16="http://schemas.microsoft.com/office/drawing/2014/main" id="{FF41497A-7A80-44E7-BD82-6E46C0D34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" y="2813"/>
              <a:ext cx="92" cy="71"/>
            </a:xfrm>
            <a:custGeom>
              <a:avLst/>
              <a:gdLst>
                <a:gd name="T0" fmla="*/ 0 w 92"/>
                <a:gd name="T1" fmla="*/ 0 h 71"/>
                <a:gd name="T2" fmla="*/ 0 w 92"/>
                <a:gd name="T3" fmla="*/ 18 h 71"/>
                <a:gd name="T4" fmla="*/ 92 w 92"/>
                <a:gd name="T5" fmla="*/ 71 h 71"/>
                <a:gd name="T6" fmla="*/ 92 w 92"/>
                <a:gd name="T7" fmla="*/ 53 h 71"/>
                <a:gd name="T8" fmla="*/ 0 w 9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71">
                  <a:moveTo>
                    <a:pt x="0" y="0"/>
                  </a:moveTo>
                  <a:lnTo>
                    <a:pt x="0" y="18"/>
                  </a:lnTo>
                  <a:lnTo>
                    <a:pt x="92" y="71"/>
                  </a:lnTo>
                  <a:lnTo>
                    <a:pt x="92" y="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2" name="Freeform 2402">
              <a:extLst>
                <a:ext uri="{FF2B5EF4-FFF2-40B4-BE49-F238E27FC236}">
                  <a16:creationId xmlns:a16="http://schemas.microsoft.com/office/drawing/2014/main" id="{7B048D64-6E5B-4776-81A3-E6420F990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" y="2795"/>
              <a:ext cx="92" cy="71"/>
            </a:xfrm>
            <a:custGeom>
              <a:avLst/>
              <a:gdLst>
                <a:gd name="T0" fmla="*/ 0 w 92"/>
                <a:gd name="T1" fmla="*/ 0 h 71"/>
                <a:gd name="T2" fmla="*/ 0 w 92"/>
                <a:gd name="T3" fmla="*/ 18 h 71"/>
                <a:gd name="T4" fmla="*/ 92 w 92"/>
                <a:gd name="T5" fmla="*/ 71 h 71"/>
                <a:gd name="T6" fmla="*/ 92 w 92"/>
                <a:gd name="T7" fmla="*/ 54 h 71"/>
                <a:gd name="T8" fmla="*/ 0 w 9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71">
                  <a:moveTo>
                    <a:pt x="0" y="0"/>
                  </a:moveTo>
                  <a:lnTo>
                    <a:pt x="0" y="18"/>
                  </a:lnTo>
                  <a:lnTo>
                    <a:pt x="92" y="71"/>
                  </a:lnTo>
                  <a:lnTo>
                    <a:pt x="92" y="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3" name="Freeform 2403">
              <a:extLst>
                <a:ext uri="{FF2B5EF4-FFF2-40B4-BE49-F238E27FC236}">
                  <a16:creationId xmlns:a16="http://schemas.microsoft.com/office/drawing/2014/main" id="{6612EB10-4893-4306-AFFD-FAA002EAD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" y="2778"/>
              <a:ext cx="92" cy="71"/>
            </a:xfrm>
            <a:custGeom>
              <a:avLst/>
              <a:gdLst>
                <a:gd name="T0" fmla="*/ 0 w 92"/>
                <a:gd name="T1" fmla="*/ 0 h 71"/>
                <a:gd name="T2" fmla="*/ 0 w 92"/>
                <a:gd name="T3" fmla="*/ 17 h 71"/>
                <a:gd name="T4" fmla="*/ 92 w 92"/>
                <a:gd name="T5" fmla="*/ 71 h 71"/>
                <a:gd name="T6" fmla="*/ 92 w 92"/>
                <a:gd name="T7" fmla="*/ 53 h 71"/>
                <a:gd name="T8" fmla="*/ 0 w 9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71">
                  <a:moveTo>
                    <a:pt x="0" y="0"/>
                  </a:moveTo>
                  <a:lnTo>
                    <a:pt x="0" y="17"/>
                  </a:lnTo>
                  <a:lnTo>
                    <a:pt x="92" y="71"/>
                  </a:lnTo>
                  <a:lnTo>
                    <a:pt x="92" y="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4" name="Freeform 2404">
              <a:extLst>
                <a:ext uri="{FF2B5EF4-FFF2-40B4-BE49-F238E27FC236}">
                  <a16:creationId xmlns:a16="http://schemas.microsoft.com/office/drawing/2014/main" id="{732E3E34-9CF2-4464-BF6D-17F46630EB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" y="2664"/>
              <a:ext cx="289" cy="167"/>
            </a:xfrm>
            <a:custGeom>
              <a:avLst/>
              <a:gdLst>
                <a:gd name="T0" fmla="*/ 0 w 1044"/>
                <a:gd name="T1" fmla="*/ 411 h 603"/>
                <a:gd name="T2" fmla="*/ 333 w 1044"/>
                <a:gd name="T3" fmla="*/ 603 h 603"/>
                <a:gd name="T4" fmla="*/ 1044 w 1044"/>
                <a:gd name="T5" fmla="*/ 193 h 603"/>
                <a:gd name="T6" fmla="*/ 710 w 1044"/>
                <a:gd name="T7" fmla="*/ 0 h 603"/>
                <a:gd name="T8" fmla="*/ 0 w 1044"/>
                <a:gd name="T9" fmla="*/ 411 h 603"/>
                <a:gd name="T10" fmla="*/ 442 w 1044"/>
                <a:gd name="T11" fmla="*/ 348 h 603"/>
                <a:gd name="T12" fmla="*/ 442 w 1044"/>
                <a:gd name="T13" fmla="*/ 256 h 603"/>
                <a:gd name="T14" fmla="*/ 601 w 1044"/>
                <a:gd name="T15" fmla="*/ 256 h 603"/>
                <a:gd name="T16" fmla="*/ 601 w 1044"/>
                <a:gd name="T17" fmla="*/ 348 h 603"/>
                <a:gd name="T18" fmla="*/ 442 w 1044"/>
                <a:gd name="T19" fmla="*/ 348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4" h="603">
                  <a:moveTo>
                    <a:pt x="0" y="411"/>
                  </a:moveTo>
                  <a:cubicBezTo>
                    <a:pt x="333" y="603"/>
                    <a:pt x="333" y="603"/>
                    <a:pt x="333" y="603"/>
                  </a:cubicBezTo>
                  <a:cubicBezTo>
                    <a:pt x="1044" y="193"/>
                    <a:pt x="1044" y="193"/>
                    <a:pt x="1044" y="193"/>
                  </a:cubicBezTo>
                  <a:cubicBezTo>
                    <a:pt x="710" y="0"/>
                    <a:pt x="710" y="0"/>
                    <a:pt x="710" y="0"/>
                  </a:cubicBezTo>
                  <a:lnTo>
                    <a:pt x="0" y="411"/>
                  </a:lnTo>
                  <a:close/>
                  <a:moveTo>
                    <a:pt x="442" y="348"/>
                  </a:moveTo>
                  <a:cubicBezTo>
                    <a:pt x="398" y="322"/>
                    <a:pt x="398" y="281"/>
                    <a:pt x="442" y="256"/>
                  </a:cubicBezTo>
                  <a:cubicBezTo>
                    <a:pt x="486" y="230"/>
                    <a:pt x="557" y="230"/>
                    <a:pt x="601" y="256"/>
                  </a:cubicBezTo>
                  <a:cubicBezTo>
                    <a:pt x="645" y="281"/>
                    <a:pt x="645" y="322"/>
                    <a:pt x="601" y="348"/>
                  </a:cubicBezTo>
                  <a:cubicBezTo>
                    <a:pt x="557" y="373"/>
                    <a:pt x="486" y="373"/>
                    <a:pt x="442" y="3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2405">
              <a:extLst>
                <a:ext uri="{FF2B5EF4-FFF2-40B4-BE49-F238E27FC236}">
                  <a16:creationId xmlns:a16="http://schemas.microsoft.com/office/drawing/2014/main" id="{01E336EA-260D-441F-A4CF-A6C97BC07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" y="2753"/>
              <a:ext cx="197" cy="131"/>
            </a:xfrm>
            <a:custGeom>
              <a:avLst/>
              <a:gdLst>
                <a:gd name="T0" fmla="*/ 0 w 197"/>
                <a:gd name="T1" fmla="*/ 113 h 131"/>
                <a:gd name="T2" fmla="*/ 0 w 197"/>
                <a:gd name="T3" fmla="*/ 131 h 131"/>
                <a:gd name="T4" fmla="*/ 197 w 197"/>
                <a:gd name="T5" fmla="*/ 18 h 131"/>
                <a:gd name="T6" fmla="*/ 197 w 197"/>
                <a:gd name="T7" fmla="*/ 0 h 131"/>
                <a:gd name="T8" fmla="*/ 0 w 197"/>
                <a:gd name="T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31">
                  <a:moveTo>
                    <a:pt x="0" y="113"/>
                  </a:moveTo>
                  <a:lnTo>
                    <a:pt x="0" y="131"/>
                  </a:lnTo>
                  <a:lnTo>
                    <a:pt x="197" y="18"/>
                  </a:lnTo>
                  <a:lnTo>
                    <a:pt x="197" y="0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6" name="Freeform 2406">
              <a:extLst>
                <a:ext uri="{FF2B5EF4-FFF2-40B4-BE49-F238E27FC236}">
                  <a16:creationId xmlns:a16="http://schemas.microsoft.com/office/drawing/2014/main" id="{32F8CAD1-8D90-4CAF-96C7-AC8F802FF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" y="2735"/>
              <a:ext cx="197" cy="131"/>
            </a:xfrm>
            <a:custGeom>
              <a:avLst/>
              <a:gdLst>
                <a:gd name="T0" fmla="*/ 0 w 197"/>
                <a:gd name="T1" fmla="*/ 114 h 131"/>
                <a:gd name="T2" fmla="*/ 0 w 197"/>
                <a:gd name="T3" fmla="*/ 131 h 131"/>
                <a:gd name="T4" fmla="*/ 197 w 197"/>
                <a:gd name="T5" fmla="*/ 18 h 131"/>
                <a:gd name="T6" fmla="*/ 197 w 197"/>
                <a:gd name="T7" fmla="*/ 0 h 131"/>
                <a:gd name="T8" fmla="*/ 0 w 197"/>
                <a:gd name="T9" fmla="*/ 1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31">
                  <a:moveTo>
                    <a:pt x="0" y="114"/>
                  </a:moveTo>
                  <a:lnTo>
                    <a:pt x="0" y="131"/>
                  </a:lnTo>
                  <a:lnTo>
                    <a:pt x="197" y="18"/>
                  </a:lnTo>
                  <a:lnTo>
                    <a:pt x="197" y="0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7" name="Freeform 2407">
              <a:extLst>
                <a:ext uri="{FF2B5EF4-FFF2-40B4-BE49-F238E27FC236}">
                  <a16:creationId xmlns:a16="http://schemas.microsoft.com/office/drawing/2014/main" id="{31E5E825-70A6-4931-BCEB-EB41C1F71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6" y="2718"/>
              <a:ext cx="197" cy="131"/>
            </a:xfrm>
            <a:custGeom>
              <a:avLst/>
              <a:gdLst>
                <a:gd name="T0" fmla="*/ 0 w 197"/>
                <a:gd name="T1" fmla="*/ 113 h 131"/>
                <a:gd name="T2" fmla="*/ 0 w 197"/>
                <a:gd name="T3" fmla="*/ 131 h 131"/>
                <a:gd name="T4" fmla="*/ 197 w 197"/>
                <a:gd name="T5" fmla="*/ 17 h 131"/>
                <a:gd name="T6" fmla="*/ 197 w 197"/>
                <a:gd name="T7" fmla="*/ 0 h 131"/>
                <a:gd name="T8" fmla="*/ 0 w 197"/>
                <a:gd name="T9" fmla="*/ 1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31">
                  <a:moveTo>
                    <a:pt x="0" y="113"/>
                  </a:moveTo>
                  <a:lnTo>
                    <a:pt x="0" y="131"/>
                  </a:lnTo>
                  <a:lnTo>
                    <a:pt x="197" y="17"/>
                  </a:lnTo>
                  <a:lnTo>
                    <a:pt x="197" y="0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96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8" name="Freeform 2408">
              <a:extLst>
                <a:ext uri="{FF2B5EF4-FFF2-40B4-BE49-F238E27FC236}">
                  <a16:creationId xmlns:a16="http://schemas.microsoft.com/office/drawing/2014/main" id="{5212E7F4-8D24-4DC5-886A-4C5D4B5AF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4" y="2728"/>
              <a:ext cx="69" cy="39"/>
            </a:xfrm>
            <a:custGeom>
              <a:avLst/>
              <a:gdLst>
                <a:gd name="T0" fmla="*/ 44 w 247"/>
                <a:gd name="T1" fmla="*/ 26 h 143"/>
                <a:gd name="T2" fmla="*/ 44 w 247"/>
                <a:gd name="T3" fmla="*/ 118 h 143"/>
                <a:gd name="T4" fmla="*/ 203 w 247"/>
                <a:gd name="T5" fmla="*/ 118 h 143"/>
                <a:gd name="T6" fmla="*/ 203 w 247"/>
                <a:gd name="T7" fmla="*/ 26 h 143"/>
                <a:gd name="T8" fmla="*/ 44 w 247"/>
                <a:gd name="T9" fmla="*/ 2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43">
                  <a:moveTo>
                    <a:pt x="44" y="26"/>
                  </a:moveTo>
                  <a:cubicBezTo>
                    <a:pt x="0" y="51"/>
                    <a:pt x="0" y="92"/>
                    <a:pt x="44" y="118"/>
                  </a:cubicBezTo>
                  <a:cubicBezTo>
                    <a:pt x="88" y="143"/>
                    <a:pt x="159" y="143"/>
                    <a:pt x="203" y="118"/>
                  </a:cubicBezTo>
                  <a:cubicBezTo>
                    <a:pt x="247" y="92"/>
                    <a:pt x="247" y="51"/>
                    <a:pt x="203" y="26"/>
                  </a:cubicBezTo>
                  <a:cubicBezTo>
                    <a:pt x="159" y="0"/>
                    <a:pt x="88" y="0"/>
                    <a:pt x="44" y="26"/>
                  </a:cubicBezTo>
                  <a:close/>
                </a:path>
              </a:pathLst>
            </a:custGeom>
            <a:solidFill>
              <a:srgbClr val="DAE0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9" name="Freeform 2409">
              <a:extLst>
                <a:ext uri="{FF2B5EF4-FFF2-40B4-BE49-F238E27FC236}">
                  <a16:creationId xmlns:a16="http://schemas.microsoft.com/office/drawing/2014/main" id="{8B4207D5-9499-4C12-B0A4-721A95B21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" y="2678"/>
              <a:ext cx="47" cy="19"/>
            </a:xfrm>
            <a:custGeom>
              <a:avLst/>
              <a:gdLst>
                <a:gd name="T0" fmla="*/ 14 w 170"/>
                <a:gd name="T1" fmla="*/ 66 h 67"/>
                <a:gd name="T2" fmla="*/ 4 w 170"/>
                <a:gd name="T3" fmla="*/ 60 h 67"/>
                <a:gd name="T4" fmla="*/ 8 w 170"/>
                <a:gd name="T5" fmla="*/ 44 h 67"/>
                <a:gd name="T6" fmla="*/ 80 w 170"/>
                <a:gd name="T7" fmla="*/ 2 h 67"/>
                <a:gd name="T8" fmla="*/ 92 w 170"/>
                <a:gd name="T9" fmla="*/ 2 h 67"/>
                <a:gd name="T10" fmla="*/ 163 w 170"/>
                <a:gd name="T11" fmla="*/ 43 h 67"/>
                <a:gd name="T12" fmla="*/ 167 w 170"/>
                <a:gd name="T13" fmla="*/ 59 h 67"/>
                <a:gd name="T14" fmla="*/ 150 w 170"/>
                <a:gd name="T15" fmla="*/ 64 h 67"/>
                <a:gd name="T16" fmla="*/ 86 w 170"/>
                <a:gd name="T17" fmla="*/ 26 h 67"/>
                <a:gd name="T18" fmla="*/ 20 w 170"/>
                <a:gd name="T19" fmla="*/ 64 h 67"/>
                <a:gd name="T20" fmla="*/ 14 w 170"/>
                <a:gd name="T21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0" h="67">
                  <a:moveTo>
                    <a:pt x="14" y="66"/>
                  </a:moveTo>
                  <a:cubicBezTo>
                    <a:pt x="10" y="66"/>
                    <a:pt x="6" y="64"/>
                    <a:pt x="4" y="60"/>
                  </a:cubicBezTo>
                  <a:cubicBezTo>
                    <a:pt x="0" y="54"/>
                    <a:pt x="2" y="47"/>
                    <a:pt x="8" y="44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4" y="0"/>
                    <a:pt x="88" y="0"/>
                    <a:pt x="92" y="2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8" y="46"/>
                    <a:pt x="170" y="54"/>
                    <a:pt x="167" y="59"/>
                  </a:cubicBezTo>
                  <a:cubicBezTo>
                    <a:pt x="164" y="65"/>
                    <a:pt x="156" y="67"/>
                    <a:pt x="150" y="64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8" y="65"/>
                    <a:pt x="16" y="66"/>
                    <a:pt x="14" y="6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0" name="Freeform 2410">
              <a:extLst>
                <a:ext uri="{FF2B5EF4-FFF2-40B4-BE49-F238E27FC236}">
                  <a16:creationId xmlns:a16="http://schemas.microsoft.com/office/drawing/2014/main" id="{E57F3521-5E1F-4E30-96BF-0F51FF14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" y="2703"/>
              <a:ext cx="27" cy="29"/>
            </a:xfrm>
            <a:custGeom>
              <a:avLst/>
              <a:gdLst>
                <a:gd name="T0" fmla="*/ 13 w 97"/>
                <a:gd name="T1" fmla="*/ 108 h 108"/>
                <a:gd name="T2" fmla="*/ 3 w 97"/>
                <a:gd name="T3" fmla="*/ 102 h 108"/>
                <a:gd name="T4" fmla="*/ 7 w 97"/>
                <a:gd name="T5" fmla="*/ 85 h 108"/>
                <a:gd name="T6" fmla="*/ 61 w 97"/>
                <a:gd name="T7" fmla="*/ 54 h 108"/>
                <a:gd name="T8" fmla="*/ 9 w 97"/>
                <a:gd name="T9" fmla="*/ 24 h 108"/>
                <a:gd name="T10" fmla="*/ 4 w 97"/>
                <a:gd name="T11" fmla="*/ 7 h 108"/>
                <a:gd name="T12" fmla="*/ 21 w 97"/>
                <a:gd name="T13" fmla="*/ 3 h 108"/>
                <a:gd name="T14" fmla="*/ 91 w 97"/>
                <a:gd name="T15" fmla="*/ 44 h 108"/>
                <a:gd name="T16" fmla="*/ 97 w 97"/>
                <a:gd name="T17" fmla="*/ 54 h 108"/>
                <a:gd name="T18" fmla="*/ 91 w 97"/>
                <a:gd name="T19" fmla="*/ 65 h 108"/>
                <a:gd name="T20" fmla="*/ 19 w 97"/>
                <a:gd name="T21" fmla="*/ 106 h 108"/>
                <a:gd name="T22" fmla="*/ 13 w 97"/>
                <a:gd name="T2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108">
                  <a:moveTo>
                    <a:pt x="13" y="108"/>
                  </a:moveTo>
                  <a:cubicBezTo>
                    <a:pt x="9" y="108"/>
                    <a:pt x="5" y="105"/>
                    <a:pt x="3" y="102"/>
                  </a:cubicBezTo>
                  <a:cubicBezTo>
                    <a:pt x="0" y="96"/>
                    <a:pt x="2" y="89"/>
                    <a:pt x="7" y="85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3" y="20"/>
                    <a:pt x="1" y="13"/>
                    <a:pt x="4" y="7"/>
                  </a:cubicBezTo>
                  <a:cubicBezTo>
                    <a:pt x="8" y="2"/>
                    <a:pt x="15" y="0"/>
                    <a:pt x="21" y="3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5" y="46"/>
                    <a:pt x="97" y="50"/>
                    <a:pt x="97" y="54"/>
                  </a:cubicBezTo>
                  <a:cubicBezTo>
                    <a:pt x="97" y="58"/>
                    <a:pt x="95" y="62"/>
                    <a:pt x="91" y="65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7" y="107"/>
                    <a:pt x="15" y="108"/>
                    <a:pt x="13" y="108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Freeform 2411">
              <a:extLst>
                <a:ext uri="{FF2B5EF4-FFF2-40B4-BE49-F238E27FC236}">
                  <a16:creationId xmlns:a16="http://schemas.microsoft.com/office/drawing/2014/main" id="{CD7BADAE-08FA-486F-BB49-29668F3A1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1" y="2763"/>
              <a:ext cx="26" cy="29"/>
            </a:xfrm>
            <a:custGeom>
              <a:avLst/>
              <a:gdLst>
                <a:gd name="T0" fmla="*/ 82 w 97"/>
                <a:gd name="T1" fmla="*/ 107 h 107"/>
                <a:gd name="T2" fmla="*/ 76 w 97"/>
                <a:gd name="T3" fmla="*/ 106 h 107"/>
                <a:gd name="T4" fmla="*/ 6 w 97"/>
                <a:gd name="T5" fmla="*/ 65 h 107"/>
                <a:gd name="T6" fmla="*/ 0 w 97"/>
                <a:gd name="T7" fmla="*/ 55 h 107"/>
                <a:gd name="T8" fmla="*/ 6 w 97"/>
                <a:gd name="T9" fmla="*/ 44 h 107"/>
                <a:gd name="T10" fmla="*/ 77 w 97"/>
                <a:gd name="T11" fmla="*/ 3 h 107"/>
                <a:gd name="T12" fmla="*/ 94 w 97"/>
                <a:gd name="T13" fmla="*/ 7 h 107"/>
                <a:gd name="T14" fmla="*/ 89 w 97"/>
                <a:gd name="T15" fmla="*/ 24 h 107"/>
                <a:gd name="T16" fmla="*/ 36 w 97"/>
                <a:gd name="T17" fmla="*/ 55 h 107"/>
                <a:gd name="T18" fmla="*/ 88 w 97"/>
                <a:gd name="T19" fmla="*/ 85 h 107"/>
                <a:gd name="T20" fmla="*/ 93 w 97"/>
                <a:gd name="T21" fmla="*/ 101 h 107"/>
                <a:gd name="T22" fmla="*/ 82 w 97"/>
                <a:gd name="T23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107">
                  <a:moveTo>
                    <a:pt x="82" y="107"/>
                  </a:moveTo>
                  <a:cubicBezTo>
                    <a:pt x="80" y="107"/>
                    <a:pt x="78" y="107"/>
                    <a:pt x="76" y="106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2" y="63"/>
                    <a:pt x="0" y="59"/>
                    <a:pt x="0" y="55"/>
                  </a:cubicBezTo>
                  <a:cubicBezTo>
                    <a:pt x="0" y="50"/>
                    <a:pt x="2" y="46"/>
                    <a:pt x="6" y="44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83" y="0"/>
                    <a:pt x="91" y="2"/>
                    <a:pt x="94" y="7"/>
                  </a:cubicBezTo>
                  <a:cubicBezTo>
                    <a:pt x="97" y="13"/>
                    <a:pt x="95" y="20"/>
                    <a:pt x="89" y="24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88" y="85"/>
                    <a:pt x="88" y="85"/>
                    <a:pt x="88" y="85"/>
                  </a:cubicBezTo>
                  <a:cubicBezTo>
                    <a:pt x="94" y="88"/>
                    <a:pt x="96" y="96"/>
                    <a:pt x="93" y="101"/>
                  </a:cubicBezTo>
                  <a:cubicBezTo>
                    <a:pt x="91" y="105"/>
                    <a:pt x="87" y="107"/>
                    <a:pt x="82" y="10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2" name="Freeform 2412">
              <a:extLst>
                <a:ext uri="{FF2B5EF4-FFF2-40B4-BE49-F238E27FC236}">
                  <a16:creationId xmlns:a16="http://schemas.microsoft.com/office/drawing/2014/main" id="{BE889FE3-DAA9-4D29-A1F5-C3CAD77D3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3" y="2798"/>
              <a:ext cx="47" cy="19"/>
            </a:xfrm>
            <a:custGeom>
              <a:avLst/>
              <a:gdLst>
                <a:gd name="T0" fmla="*/ 84 w 170"/>
                <a:gd name="T1" fmla="*/ 67 h 67"/>
                <a:gd name="T2" fmla="*/ 78 w 170"/>
                <a:gd name="T3" fmla="*/ 66 h 67"/>
                <a:gd name="T4" fmla="*/ 8 w 170"/>
                <a:gd name="T5" fmla="*/ 25 h 67"/>
                <a:gd name="T6" fmla="*/ 3 w 170"/>
                <a:gd name="T7" fmla="*/ 8 h 67"/>
                <a:gd name="T8" fmla="*/ 20 w 170"/>
                <a:gd name="T9" fmla="*/ 4 h 67"/>
                <a:gd name="T10" fmla="*/ 84 w 170"/>
                <a:gd name="T11" fmla="*/ 41 h 67"/>
                <a:gd name="T12" fmla="*/ 150 w 170"/>
                <a:gd name="T13" fmla="*/ 4 h 67"/>
                <a:gd name="T14" fmla="*/ 166 w 170"/>
                <a:gd name="T15" fmla="*/ 8 h 67"/>
                <a:gd name="T16" fmla="*/ 162 w 170"/>
                <a:gd name="T17" fmla="*/ 24 h 67"/>
                <a:gd name="T18" fmla="*/ 90 w 170"/>
                <a:gd name="T19" fmla="*/ 66 h 67"/>
                <a:gd name="T20" fmla="*/ 84 w 170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0" h="67">
                  <a:moveTo>
                    <a:pt x="84" y="67"/>
                  </a:moveTo>
                  <a:cubicBezTo>
                    <a:pt x="82" y="67"/>
                    <a:pt x="80" y="67"/>
                    <a:pt x="78" y="66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2"/>
                    <a:pt x="0" y="14"/>
                    <a:pt x="3" y="8"/>
                  </a:cubicBezTo>
                  <a:cubicBezTo>
                    <a:pt x="6" y="3"/>
                    <a:pt x="14" y="1"/>
                    <a:pt x="20" y="4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56" y="0"/>
                    <a:pt x="163" y="2"/>
                    <a:pt x="166" y="8"/>
                  </a:cubicBezTo>
                  <a:cubicBezTo>
                    <a:pt x="170" y="14"/>
                    <a:pt x="168" y="21"/>
                    <a:pt x="162" y="24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88" y="67"/>
                    <a:pt x="86" y="67"/>
                    <a:pt x="84" y="67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3" name="Freeform 2413">
              <a:extLst>
                <a:ext uri="{FF2B5EF4-FFF2-40B4-BE49-F238E27FC236}">
                  <a16:creationId xmlns:a16="http://schemas.microsoft.com/office/drawing/2014/main" id="{7DB70B31-83F6-49D4-A836-DD1FEF6FE7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4" y="2724"/>
              <a:ext cx="69" cy="45"/>
            </a:xfrm>
            <a:custGeom>
              <a:avLst/>
              <a:gdLst>
                <a:gd name="T0" fmla="*/ 125 w 249"/>
                <a:gd name="T1" fmla="*/ 161 h 161"/>
                <a:gd name="T2" fmla="*/ 39 w 249"/>
                <a:gd name="T3" fmla="*/ 140 h 161"/>
                <a:gd name="T4" fmla="*/ 0 w 249"/>
                <a:gd name="T5" fmla="*/ 84 h 161"/>
                <a:gd name="T6" fmla="*/ 39 w 249"/>
                <a:gd name="T7" fmla="*/ 27 h 161"/>
                <a:gd name="T8" fmla="*/ 210 w 249"/>
                <a:gd name="T9" fmla="*/ 27 h 161"/>
                <a:gd name="T10" fmla="*/ 249 w 249"/>
                <a:gd name="T11" fmla="*/ 84 h 161"/>
                <a:gd name="T12" fmla="*/ 210 w 249"/>
                <a:gd name="T13" fmla="*/ 140 h 161"/>
                <a:gd name="T14" fmla="*/ 125 w 249"/>
                <a:gd name="T15" fmla="*/ 161 h 161"/>
                <a:gd name="T16" fmla="*/ 125 w 249"/>
                <a:gd name="T17" fmla="*/ 31 h 161"/>
                <a:gd name="T18" fmla="*/ 51 w 249"/>
                <a:gd name="T19" fmla="*/ 48 h 161"/>
                <a:gd name="T20" fmla="*/ 24 w 249"/>
                <a:gd name="T21" fmla="*/ 84 h 161"/>
                <a:gd name="T22" fmla="*/ 51 w 249"/>
                <a:gd name="T23" fmla="*/ 119 h 161"/>
                <a:gd name="T24" fmla="*/ 51 w 249"/>
                <a:gd name="T25" fmla="*/ 119 h 161"/>
                <a:gd name="T26" fmla="*/ 198 w 249"/>
                <a:gd name="T27" fmla="*/ 119 h 161"/>
                <a:gd name="T28" fmla="*/ 225 w 249"/>
                <a:gd name="T29" fmla="*/ 84 h 161"/>
                <a:gd name="T30" fmla="*/ 198 w 249"/>
                <a:gd name="T31" fmla="*/ 48 h 161"/>
                <a:gd name="T32" fmla="*/ 125 w 249"/>
                <a:gd name="T33" fmla="*/ 3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161">
                  <a:moveTo>
                    <a:pt x="125" y="161"/>
                  </a:moveTo>
                  <a:cubicBezTo>
                    <a:pt x="94" y="161"/>
                    <a:pt x="63" y="154"/>
                    <a:pt x="39" y="140"/>
                  </a:cubicBezTo>
                  <a:cubicBezTo>
                    <a:pt x="14" y="126"/>
                    <a:pt x="0" y="106"/>
                    <a:pt x="0" y="84"/>
                  </a:cubicBezTo>
                  <a:cubicBezTo>
                    <a:pt x="0" y="62"/>
                    <a:pt x="14" y="42"/>
                    <a:pt x="39" y="27"/>
                  </a:cubicBezTo>
                  <a:cubicBezTo>
                    <a:pt x="87" y="0"/>
                    <a:pt x="162" y="0"/>
                    <a:pt x="210" y="27"/>
                  </a:cubicBezTo>
                  <a:cubicBezTo>
                    <a:pt x="235" y="42"/>
                    <a:pt x="249" y="62"/>
                    <a:pt x="249" y="84"/>
                  </a:cubicBezTo>
                  <a:cubicBezTo>
                    <a:pt x="249" y="106"/>
                    <a:pt x="235" y="126"/>
                    <a:pt x="210" y="140"/>
                  </a:cubicBezTo>
                  <a:cubicBezTo>
                    <a:pt x="186" y="154"/>
                    <a:pt x="155" y="161"/>
                    <a:pt x="125" y="161"/>
                  </a:cubicBezTo>
                  <a:close/>
                  <a:moveTo>
                    <a:pt x="125" y="31"/>
                  </a:moveTo>
                  <a:cubicBezTo>
                    <a:pt x="98" y="31"/>
                    <a:pt x="71" y="37"/>
                    <a:pt x="51" y="48"/>
                  </a:cubicBezTo>
                  <a:cubicBezTo>
                    <a:pt x="34" y="58"/>
                    <a:pt x="24" y="71"/>
                    <a:pt x="24" y="84"/>
                  </a:cubicBezTo>
                  <a:cubicBezTo>
                    <a:pt x="24" y="97"/>
                    <a:pt x="34" y="109"/>
                    <a:pt x="51" y="119"/>
                  </a:cubicBezTo>
                  <a:cubicBezTo>
                    <a:pt x="51" y="119"/>
                    <a:pt x="51" y="119"/>
                    <a:pt x="51" y="119"/>
                  </a:cubicBezTo>
                  <a:cubicBezTo>
                    <a:pt x="92" y="143"/>
                    <a:pt x="158" y="143"/>
                    <a:pt x="198" y="119"/>
                  </a:cubicBezTo>
                  <a:cubicBezTo>
                    <a:pt x="216" y="109"/>
                    <a:pt x="225" y="97"/>
                    <a:pt x="225" y="84"/>
                  </a:cubicBezTo>
                  <a:cubicBezTo>
                    <a:pt x="225" y="71"/>
                    <a:pt x="216" y="58"/>
                    <a:pt x="198" y="48"/>
                  </a:cubicBezTo>
                  <a:cubicBezTo>
                    <a:pt x="178" y="37"/>
                    <a:pt x="151" y="31"/>
                    <a:pt x="125" y="31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4" name="Freeform 2414">
              <a:extLst>
                <a:ext uri="{FF2B5EF4-FFF2-40B4-BE49-F238E27FC236}">
                  <a16:creationId xmlns:a16="http://schemas.microsoft.com/office/drawing/2014/main" id="{C4FFF0C2-54E2-470F-9CF9-8CDD6B38C3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1" y="2661"/>
              <a:ext cx="295" cy="173"/>
            </a:xfrm>
            <a:custGeom>
              <a:avLst/>
              <a:gdLst>
                <a:gd name="T0" fmla="*/ 345 w 1068"/>
                <a:gd name="T1" fmla="*/ 627 h 627"/>
                <a:gd name="T2" fmla="*/ 339 w 1068"/>
                <a:gd name="T3" fmla="*/ 626 h 627"/>
                <a:gd name="T4" fmla="*/ 6 w 1068"/>
                <a:gd name="T5" fmla="*/ 433 h 627"/>
                <a:gd name="T6" fmla="*/ 0 w 1068"/>
                <a:gd name="T7" fmla="*/ 423 h 627"/>
                <a:gd name="T8" fmla="*/ 6 w 1068"/>
                <a:gd name="T9" fmla="*/ 412 h 627"/>
                <a:gd name="T10" fmla="*/ 716 w 1068"/>
                <a:gd name="T11" fmla="*/ 2 h 627"/>
                <a:gd name="T12" fmla="*/ 728 w 1068"/>
                <a:gd name="T13" fmla="*/ 2 h 627"/>
                <a:gd name="T14" fmla="*/ 1062 w 1068"/>
                <a:gd name="T15" fmla="*/ 195 h 627"/>
                <a:gd name="T16" fmla="*/ 1068 w 1068"/>
                <a:gd name="T17" fmla="*/ 205 h 627"/>
                <a:gd name="T18" fmla="*/ 1062 w 1068"/>
                <a:gd name="T19" fmla="*/ 216 h 627"/>
                <a:gd name="T20" fmla="*/ 351 w 1068"/>
                <a:gd name="T21" fmla="*/ 626 h 627"/>
                <a:gd name="T22" fmla="*/ 345 w 1068"/>
                <a:gd name="T23" fmla="*/ 627 h 627"/>
                <a:gd name="T24" fmla="*/ 36 w 1068"/>
                <a:gd name="T25" fmla="*/ 423 h 627"/>
                <a:gd name="T26" fmla="*/ 345 w 1068"/>
                <a:gd name="T27" fmla="*/ 601 h 627"/>
                <a:gd name="T28" fmla="*/ 1032 w 1068"/>
                <a:gd name="T29" fmla="*/ 205 h 627"/>
                <a:gd name="T30" fmla="*/ 722 w 1068"/>
                <a:gd name="T31" fmla="*/ 26 h 627"/>
                <a:gd name="T32" fmla="*/ 36 w 1068"/>
                <a:gd name="T33" fmla="*/ 423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8" h="627">
                  <a:moveTo>
                    <a:pt x="345" y="627"/>
                  </a:moveTo>
                  <a:cubicBezTo>
                    <a:pt x="343" y="627"/>
                    <a:pt x="341" y="627"/>
                    <a:pt x="339" y="626"/>
                  </a:cubicBezTo>
                  <a:cubicBezTo>
                    <a:pt x="6" y="433"/>
                    <a:pt x="6" y="433"/>
                    <a:pt x="6" y="433"/>
                  </a:cubicBezTo>
                  <a:cubicBezTo>
                    <a:pt x="2" y="431"/>
                    <a:pt x="0" y="427"/>
                    <a:pt x="0" y="423"/>
                  </a:cubicBezTo>
                  <a:cubicBezTo>
                    <a:pt x="0" y="418"/>
                    <a:pt x="2" y="414"/>
                    <a:pt x="6" y="412"/>
                  </a:cubicBezTo>
                  <a:cubicBezTo>
                    <a:pt x="716" y="2"/>
                    <a:pt x="716" y="2"/>
                    <a:pt x="716" y="2"/>
                  </a:cubicBezTo>
                  <a:cubicBezTo>
                    <a:pt x="720" y="0"/>
                    <a:pt x="724" y="0"/>
                    <a:pt x="728" y="2"/>
                  </a:cubicBezTo>
                  <a:cubicBezTo>
                    <a:pt x="1062" y="195"/>
                    <a:pt x="1062" y="195"/>
                    <a:pt x="1062" y="195"/>
                  </a:cubicBezTo>
                  <a:cubicBezTo>
                    <a:pt x="1065" y="197"/>
                    <a:pt x="1068" y="201"/>
                    <a:pt x="1068" y="205"/>
                  </a:cubicBezTo>
                  <a:cubicBezTo>
                    <a:pt x="1068" y="209"/>
                    <a:pt x="1065" y="213"/>
                    <a:pt x="1062" y="216"/>
                  </a:cubicBezTo>
                  <a:cubicBezTo>
                    <a:pt x="351" y="626"/>
                    <a:pt x="351" y="626"/>
                    <a:pt x="351" y="626"/>
                  </a:cubicBezTo>
                  <a:cubicBezTo>
                    <a:pt x="349" y="627"/>
                    <a:pt x="347" y="627"/>
                    <a:pt x="345" y="627"/>
                  </a:cubicBezTo>
                  <a:close/>
                  <a:moveTo>
                    <a:pt x="36" y="423"/>
                  </a:moveTo>
                  <a:cubicBezTo>
                    <a:pt x="345" y="601"/>
                    <a:pt x="345" y="601"/>
                    <a:pt x="345" y="601"/>
                  </a:cubicBezTo>
                  <a:cubicBezTo>
                    <a:pt x="1032" y="205"/>
                    <a:pt x="1032" y="205"/>
                    <a:pt x="1032" y="205"/>
                  </a:cubicBezTo>
                  <a:cubicBezTo>
                    <a:pt x="722" y="26"/>
                    <a:pt x="722" y="26"/>
                    <a:pt x="722" y="26"/>
                  </a:cubicBezTo>
                  <a:lnTo>
                    <a:pt x="36" y="423"/>
                  </a:ln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5" name="Freeform 2415">
              <a:extLst>
                <a:ext uri="{FF2B5EF4-FFF2-40B4-BE49-F238E27FC236}">
                  <a16:creationId xmlns:a16="http://schemas.microsoft.com/office/drawing/2014/main" id="{986F7567-BA78-46B9-A79D-DEF516DBD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" y="2714"/>
              <a:ext cx="295" cy="173"/>
            </a:xfrm>
            <a:custGeom>
              <a:avLst/>
              <a:gdLst>
                <a:gd name="T0" fmla="*/ 345 w 1068"/>
                <a:gd name="T1" fmla="*/ 626 h 626"/>
                <a:gd name="T2" fmla="*/ 339 w 1068"/>
                <a:gd name="T3" fmla="*/ 624 h 626"/>
                <a:gd name="T4" fmla="*/ 6 w 1068"/>
                <a:gd name="T5" fmla="*/ 432 h 626"/>
                <a:gd name="T6" fmla="*/ 0 w 1068"/>
                <a:gd name="T7" fmla="*/ 421 h 626"/>
                <a:gd name="T8" fmla="*/ 0 w 1068"/>
                <a:gd name="T9" fmla="*/ 230 h 626"/>
                <a:gd name="T10" fmla="*/ 12 w 1068"/>
                <a:gd name="T11" fmla="*/ 218 h 626"/>
                <a:gd name="T12" fmla="*/ 24 w 1068"/>
                <a:gd name="T13" fmla="*/ 230 h 626"/>
                <a:gd name="T14" fmla="*/ 24 w 1068"/>
                <a:gd name="T15" fmla="*/ 414 h 626"/>
                <a:gd name="T16" fmla="*/ 345 w 1068"/>
                <a:gd name="T17" fmla="*/ 600 h 626"/>
                <a:gd name="T18" fmla="*/ 1044 w 1068"/>
                <a:gd name="T19" fmla="*/ 197 h 626"/>
                <a:gd name="T20" fmla="*/ 1044 w 1068"/>
                <a:gd name="T21" fmla="*/ 12 h 626"/>
                <a:gd name="T22" fmla="*/ 1056 w 1068"/>
                <a:gd name="T23" fmla="*/ 0 h 626"/>
                <a:gd name="T24" fmla="*/ 1068 w 1068"/>
                <a:gd name="T25" fmla="*/ 12 h 626"/>
                <a:gd name="T26" fmla="*/ 1068 w 1068"/>
                <a:gd name="T27" fmla="*/ 204 h 626"/>
                <a:gd name="T28" fmla="*/ 1062 w 1068"/>
                <a:gd name="T29" fmla="*/ 214 h 626"/>
                <a:gd name="T30" fmla="*/ 351 w 1068"/>
                <a:gd name="T31" fmla="*/ 624 h 626"/>
                <a:gd name="T32" fmla="*/ 345 w 1068"/>
                <a:gd name="T33" fmla="*/ 626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8" h="626">
                  <a:moveTo>
                    <a:pt x="345" y="626"/>
                  </a:moveTo>
                  <a:cubicBezTo>
                    <a:pt x="343" y="626"/>
                    <a:pt x="341" y="625"/>
                    <a:pt x="339" y="624"/>
                  </a:cubicBezTo>
                  <a:cubicBezTo>
                    <a:pt x="6" y="432"/>
                    <a:pt x="6" y="432"/>
                    <a:pt x="6" y="432"/>
                  </a:cubicBezTo>
                  <a:cubicBezTo>
                    <a:pt x="2" y="430"/>
                    <a:pt x="0" y="426"/>
                    <a:pt x="0" y="421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23"/>
                    <a:pt x="5" y="218"/>
                    <a:pt x="12" y="218"/>
                  </a:cubicBezTo>
                  <a:cubicBezTo>
                    <a:pt x="18" y="218"/>
                    <a:pt x="24" y="223"/>
                    <a:pt x="24" y="230"/>
                  </a:cubicBezTo>
                  <a:cubicBezTo>
                    <a:pt x="24" y="414"/>
                    <a:pt x="24" y="414"/>
                    <a:pt x="24" y="414"/>
                  </a:cubicBezTo>
                  <a:cubicBezTo>
                    <a:pt x="345" y="600"/>
                    <a:pt x="345" y="600"/>
                    <a:pt x="345" y="600"/>
                  </a:cubicBezTo>
                  <a:cubicBezTo>
                    <a:pt x="1044" y="197"/>
                    <a:pt x="1044" y="197"/>
                    <a:pt x="1044" y="197"/>
                  </a:cubicBezTo>
                  <a:cubicBezTo>
                    <a:pt x="1044" y="12"/>
                    <a:pt x="1044" y="12"/>
                    <a:pt x="1044" y="12"/>
                  </a:cubicBezTo>
                  <a:cubicBezTo>
                    <a:pt x="1044" y="6"/>
                    <a:pt x="1049" y="0"/>
                    <a:pt x="1056" y="0"/>
                  </a:cubicBezTo>
                  <a:cubicBezTo>
                    <a:pt x="1062" y="0"/>
                    <a:pt x="1068" y="6"/>
                    <a:pt x="1068" y="12"/>
                  </a:cubicBezTo>
                  <a:cubicBezTo>
                    <a:pt x="1068" y="204"/>
                    <a:pt x="1068" y="204"/>
                    <a:pt x="1068" y="204"/>
                  </a:cubicBezTo>
                  <a:cubicBezTo>
                    <a:pt x="1068" y="208"/>
                    <a:pt x="1065" y="212"/>
                    <a:pt x="1062" y="214"/>
                  </a:cubicBezTo>
                  <a:cubicBezTo>
                    <a:pt x="351" y="624"/>
                    <a:pt x="351" y="624"/>
                    <a:pt x="351" y="624"/>
                  </a:cubicBezTo>
                  <a:cubicBezTo>
                    <a:pt x="349" y="625"/>
                    <a:pt x="347" y="626"/>
                    <a:pt x="345" y="62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6" name="Group 355">
            <a:extLst>
              <a:ext uri="{FF2B5EF4-FFF2-40B4-BE49-F238E27FC236}">
                <a16:creationId xmlns:a16="http://schemas.microsoft.com/office/drawing/2014/main" id="{39A8F0AE-0D75-4E98-BBD5-0BB6A308E0EE}"/>
              </a:ext>
            </a:extLst>
          </p:cNvPr>
          <p:cNvGrpSpPr/>
          <p:nvPr/>
        </p:nvGrpSpPr>
        <p:grpSpPr>
          <a:xfrm>
            <a:off x="438150" y="1182125"/>
            <a:ext cx="11353800" cy="558284"/>
            <a:chOff x="431998" y="1497505"/>
            <a:chExt cx="7042690" cy="573992"/>
          </a:xfrm>
        </p:grpSpPr>
        <p:sp>
          <p:nvSpPr>
            <p:cNvPr id="357" name="Rectangle: Rounded Corners 356">
              <a:extLst>
                <a:ext uri="{FF2B5EF4-FFF2-40B4-BE49-F238E27FC236}">
                  <a16:creationId xmlns:a16="http://schemas.microsoft.com/office/drawing/2014/main" id="{0965B1A7-D44A-4AF9-A521-BA60B5B2CAE2}"/>
                </a:ext>
              </a:extLst>
            </p:cNvPr>
            <p:cNvSpPr/>
            <p:nvPr/>
          </p:nvSpPr>
          <p:spPr>
            <a:xfrm>
              <a:off x="552610" y="1549937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58" name="Rectangle: Rounded Corners 357">
              <a:extLst>
                <a:ext uri="{FF2B5EF4-FFF2-40B4-BE49-F238E27FC236}">
                  <a16:creationId xmlns:a16="http://schemas.microsoft.com/office/drawing/2014/main" id="{D4F20C47-114D-4263-977B-5DFC91958478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шбу схема коррупцияга қарши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амарал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изим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мой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тад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. Бунд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арч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ркиб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лемент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ир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бутун механизм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ифати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ишлайд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в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авф-хатарлар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минималлаштиради</a:t>
              </a:r>
            </a:p>
          </p:txBody>
        </p:sp>
      </p:grp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DC65CD42-1565-4A2D-8F05-E40FF904C877}"/>
              </a:ext>
            </a:extLst>
          </p:cNvPr>
          <p:cNvSpPr/>
          <p:nvPr/>
        </p:nvSpPr>
        <p:spPr>
          <a:xfrm rot="13371320">
            <a:off x="6874851" y="2411988"/>
            <a:ext cx="184907" cy="46794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67944E-F0A5-41B3-9C27-35F4AF17D0B2}"/>
              </a:ext>
            </a:extLst>
          </p:cNvPr>
          <p:cNvGrpSpPr/>
          <p:nvPr/>
        </p:nvGrpSpPr>
        <p:grpSpPr>
          <a:xfrm>
            <a:off x="6996114" y="1897671"/>
            <a:ext cx="4752974" cy="726853"/>
            <a:chOff x="5853113" y="1291174"/>
            <a:chExt cx="4752974" cy="726853"/>
          </a:xfrm>
          <a:solidFill>
            <a:schemeClr val="bg1">
              <a:lumMod val="95000"/>
            </a:schemeClr>
          </a:solidFill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B5535A9-5829-4539-947D-23151A04D8B2}"/>
                </a:ext>
              </a:extLst>
            </p:cNvPr>
            <p:cNvSpPr/>
            <p:nvPr/>
          </p:nvSpPr>
          <p:spPr>
            <a:xfrm>
              <a:off x="5853113" y="1291174"/>
              <a:ext cx="4752974" cy="726853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92000" tIns="54000" rIns="0" bIns="54000" rtlCol="0" anchor="ctr"/>
            <a:lstStyle/>
            <a:p>
              <a:r>
                <a:rPr lang="ru-RU" sz="1400" dirty="0">
                  <a:solidFill>
                    <a:schemeClr val="tx2"/>
                  </a:solidFill>
                </a:rPr>
                <a:t>Коррупцияга қарши курашиш </a:t>
              </a:r>
              <a:r>
                <a:rPr lang="ru-RU" sz="1400" dirty="0" err="1">
                  <a:solidFill>
                    <a:schemeClr val="tx2"/>
                  </a:solidFill>
                </a:rPr>
                <a:t>бўйич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асосий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ҳужжатлар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авжудлиг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F83B0E0-B36C-4E11-B375-219336A9541B}"/>
                </a:ext>
              </a:extLst>
            </p:cNvPr>
            <p:cNvSpPr/>
            <p:nvPr/>
          </p:nvSpPr>
          <p:spPr>
            <a:xfrm>
              <a:off x="5944344" y="1341975"/>
              <a:ext cx="625250" cy="625250"/>
            </a:xfrm>
            <a:prstGeom prst="ellipse">
              <a:avLst/>
            </a:prstGeom>
            <a:grp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spcAft>
                  <a:spcPts val="1200"/>
                </a:spcAft>
              </a:pP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7832717-CC14-4751-80BE-60FE2A1858D0}"/>
              </a:ext>
            </a:extLst>
          </p:cNvPr>
          <p:cNvGrpSpPr/>
          <p:nvPr/>
        </p:nvGrpSpPr>
        <p:grpSpPr>
          <a:xfrm>
            <a:off x="7208932" y="2041970"/>
            <a:ext cx="381787" cy="416245"/>
            <a:chOff x="462719" y="4887354"/>
            <a:chExt cx="721286" cy="786385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E6AD542-214B-41D7-A94C-44B476501BA5}"/>
                </a:ext>
              </a:extLst>
            </p:cNvPr>
            <p:cNvSpPr/>
            <p:nvPr/>
          </p:nvSpPr>
          <p:spPr>
            <a:xfrm>
              <a:off x="527097" y="5024192"/>
              <a:ext cx="606244" cy="649547"/>
            </a:xfrm>
            <a:custGeom>
              <a:avLst/>
              <a:gdLst>
                <a:gd name="connsiteX0" fmla="*/ 595604 w 606243"/>
                <a:gd name="connsiteY0" fmla="*/ 10867 h 649546"/>
                <a:gd name="connsiteX1" fmla="*/ 595604 w 606243"/>
                <a:gd name="connsiteY1" fmla="*/ 648578 h 649546"/>
                <a:gd name="connsiteX2" fmla="*/ 10867 w 606243"/>
                <a:gd name="connsiteY2" fmla="*/ 648578 h 649546"/>
                <a:gd name="connsiteX3" fmla="*/ 10867 w 606243"/>
                <a:gd name="connsiteY3" fmla="*/ 10867 h 64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6243" h="649546">
                  <a:moveTo>
                    <a:pt x="595604" y="10867"/>
                  </a:moveTo>
                  <a:lnTo>
                    <a:pt x="595604" y="648578"/>
                  </a:lnTo>
                  <a:lnTo>
                    <a:pt x="10867" y="648578"/>
                  </a:lnTo>
                  <a:lnTo>
                    <a:pt x="10867" y="10867"/>
                  </a:lnTo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E4674006-6014-40D3-AFC8-2E0A8E457AAF}"/>
                </a:ext>
              </a:extLst>
            </p:cNvPr>
            <p:cNvSpPr/>
            <p:nvPr/>
          </p:nvSpPr>
          <p:spPr>
            <a:xfrm>
              <a:off x="597103" y="5520878"/>
              <a:ext cx="461900" cy="14434"/>
            </a:xfrm>
            <a:custGeom>
              <a:avLst/>
              <a:gdLst>
                <a:gd name="connsiteX0" fmla="*/ 10867 w 461899"/>
                <a:gd name="connsiteY0" fmla="*/ 10867 h 14434"/>
                <a:gd name="connsiteX1" fmla="*/ 455590 w 461899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1899" h="14434">
                  <a:moveTo>
                    <a:pt x="10867" y="10867"/>
                  </a:moveTo>
                  <a:lnTo>
                    <a:pt x="455590" y="10867"/>
                  </a:lnTo>
                </a:path>
              </a:pathLst>
            </a:custGeom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628BD0D-927B-4364-BCEC-CC649E9BBB6F}"/>
                </a:ext>
              </a:extLst>
            </p:cNvPr>
            <p:cNvSpPr/>
            <p:nvPr/>
          </p:nvSpPr>
          <p:spPr>
            <a:xfrm>
              <a:off x="597103" y="5590596"/>
              <a:ext cx="158778" cy="14434"/>
            </a:xfrm>
            <a:custGeom>
              <a:avLst/>
              <a:gdLst>
                <a:gd name="connsiteX0" fmla="*/ 10867 w 158778"/>
                <a:gd name="connsiteY0" fmla="*/ 10867 h 14434"/>
                <a:gd name="connsiteX1" fmla="*/ 152324 w 158778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78" h="14434">
                  <a:moveTo>
                    <a:pt x="10867" y="10867"/>
                  </a:moveTo>
                  <a:lnTo>
                    <a:pt x="152324" y="10867"/>
                  </a:lnTo>
                </a:path>
              </a:pathLst>
            </a:custGeom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9F1B7989-9EF1-4B04-8C06-6F016B49C8A7}"/>
                </a:ext>
              </a:extLst>
            </p:cNvPr>
            <p:cNvSpPr/>
            <p:nvPr/>
          </p:nvSpPr>
          <p:spPr>
            <a:xfrm>
              <a:off x="748809" y="5209096"/>
              <a:ext cx="144344" cy="144344"/>
            </a:xfrm>
            <a:custGeom>
              <a:avLst/>
              <a:gdLst>
                <a:gd name="connsiteX0" fmla="*/ 147128 w 144343"/>
                <a:gd name="connsiteY0" fmla="*/ 78997 h 144343"/>
                <a:gd name="connsiteX1" fmla="*/ 78997 w 144343"/>
                <a:gd name="connsiteY1" fmla="*/ 147128 h 144343"/>
                <a:gd name="connsiteX2" fmla="*/ 10867 w 144343"/>
                <a:gd name="connsiteY2" fmla="*/ 78997 h 144343"/>
                <a:gd name="connsiteX3" fmla="*/ 78997 w 144343"/>
                <a:gd name="connsiteY3" fmla="*/ 10867 h 144343"/>
                <a:gd name="connsiteX4" fmla="*/ 147128 w 144343"/>
                <a:gd name="connsiteY4" fmla="*/ 78997 h 14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343" h="144343">
                  <a:moveTo>
                    <a:pt x="147128" y="78997"/>
                  </a:moveTo>
                  <a:cubicBezTo>
                    <a:pt x="147128" y="116625"/>
                    <a:pt x="116625" y="147128"/>
                    <a:pt x="78997" y="147128"/>
                  </a:cubicBezTo>
                  <a:cubicBezTo>
                    <a:pt x="41370" y="147128"/>
                    <a:pt x="10867" y="116625"/>
                    <a:pt x="10867" y="78997"/>
                  </a:cubicBezTo>
                  <a:cubicBezTo>
                    <a:pt x="10867" y="41370"/>
                    <a:pt x="41370" y="10867"/>
                    <a:pt x="78997" y="10867"/>
                  </a:cubicBezTo>
                  <a:cubicBezTo>
                    <a:pt x="116625" y="10867"/>
                    <a:pt x="147128" y="41370"/>
                    <a:pt x="147128" y="78997"/>
                  </a:cubicBezTo>
                  <a:close/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20494AC-44E0-4703-8A94-14B31A050C57}"/>
                </a:ext>
              </a:extLst>
            </p:cNvPr>
            <p:cNvSpPr/>
            <p:nvPr/>
          </p:nvSpPr>
          <p:spPr>
            <a:xfrm>
              <a:off x="644159" y="5103148"/>
              <a:ext cx="360859" cy="360859"/>
            </a:xfrm>
            <a:custGeom>
              <a:avLst/>
              <a:gdLst>
                <a:gd name="connsiteX0" fmla="*/ 108299 w 360859"/>
                <a:gd name="connsiteY0" fmla="*/ 303596 h 360859"/>
                <a:gd name="connsiteX1" fmla="*/ 154922 w 360859"/>
                <a:gd name="connsiteY1" fmla="*/ 322938 h 360859"/>
                <a:gd name="connsiteX2" fmla="*/ 154922 w 360859"/>
                <a:gd name="connsiteY2" fmla="*/ 358736 h 360859"/>
                <a:gd name="connsiteX3" fmla="*/ 214681 w 360859"/>
                <a:gd name="connsiteY3" fmla="*/ 358736 h 360859"/>
                <a:gd name="connsiteX4" fmla="*/ 214681 w 360859"/>
                <a:gd name="connsiteY4" fmla="*/ 322938 h 360859"/>
                <a:gd name="connsiteX5" fmla="*/ 261304 w 360859"/>
                <a:gd name="connsiteY5" fmla="*/ 303596 h 360859"/>
                <a:gd name="connsiteX6" fmla="*/ 286708 w 360859"/>
                <a:gd name="connsiteY6" fmla="*/ 329001 h 360859"/>
                <a:gd name="connsiteX7" fmla="*/ 329001 w 360859"/>
                <a:gd name="connsiteY7" fmla="*/ 286708 h 360859"/>
                <a:gd name="connsiteX8" fmla="*/ 303596 w 360859"/>
                <a:gd name="connsiteY8" fmla="*/ 261304 h 360859"/>
                <a:gd name="connsiteX9" fmla="*/ 322938 w 360859"/>
                <a:gd name="connsiteY9" fmla="*/ 214680 h 360859"/>
                <a:gd name="connsiteX10" fmla="*/ 358736 w 360859"/>
                <a:gd name="connsiteY10" fmla="*/ 214680 h 360859"/>
                <a:gd name="connsiteX11" fmla="*/ 358736 w 360859"/>
                <a:gd name="connsiteY11" fmla="*/ 154922 h 360859"/>
                <a:gd name="connsiteX12" fmla="*/ 322938 w 360859"/>
                <a:gd name="connsiteY12" fmla="*/ 154922 h 360859"/>
                <a:gd name="connsiteX13" fmla="*/ 303596 w 360859"/>
                <a:gd name="connsiteY13" fmla="*/ 108299 h 360859"/>
                <a:gd name="connsiteX14" fmla="*/ 329001 w 360859"/>
                <a:gd name="connsiteY14" fmla="*/ 82895 h 360859"/>
                <a:gd name="connsiteX15" fmla="*/ 286708 w 360859"/>
                <a:gd name="connsiteY15" fmla="*/ 40602 h 360859"/>
                <a:gd name="connsiteX16" fmla="*/ 261304 w 360859"/>
                <a:gd name="connsiteY16" fmla="*/ 66007 h 360859"/>
                <a:gd name="connsiteX17" fmla="*/ 214681 w 360859"/>
                <a:gd name="connsiteY17" fmla="*/ 46665 h 360859"/>
                <a:gd name="connsiteX18" fmla="*/ 214681 w 360859"/>
                <a:gd name="connsiteY18" fmla="*/ 10867 h 360859"/>
                <a:gd name="connsiteX19" fmla="*/ 154922 w 360859"/>
                <a:gd name="connsiteY19" fmla="*/ 10867 h 360859"/>
                <a:gd name="connsiteX20" fmla="*/ 154922 w 360859"/>
                <a:gd name="connsiteY20" fmla="*/ 46665 h 360859"/>
                <a:gd name="connsiteX21" fmla="*/ 108299 w 360859"/>
                <a:gd name="connsiteY21" fmla="*/ 66007 h 360859"/>
                <a:gd name="connsiteX22" fmla="*/ 82895 w 360859"/>
                <a:gd name="connsiteY22" fmla="*/ 40602 h 360859"/>
                <a:gd name="connsiteX23" fmla="*/ 40602 w 360859"/>
                <a:gd name="connsiteY23" fmla="*/ 82895 h 360859"/>
                <a:gd name="connsiteX24" fmla="*/ 66007 w 360859"/>
                <a:gd name="connsiteY24" fmla="*/ 108299 h 360859"/>
                <a:gd name="connsiteX25" fmla="*/ 46664 w 360859"/>
                <a:gd name="connsiteY25" fmla="*/ 154922 h 360859"/>
                <a:gd name="connsiteX26" fmla="*/ 10867 w 360859"/>
                <a:gd name="connsiteY26" fmla="*/ 154922 h 360859"/>
                <a:gd name="connsiteX27" fmla="*/ 10867 w 360859"/>
                <a:gd name="connsiteY27" fmla="*/ 214680 h 360859"/>
                <a:gd name="connsiteX28" fmla="*/ 46664 w 360859"/>
                <a:gd name="connsiteY28" fmla="*/ 214680 h 360859"/>
                <a:gd name="connsiteX29" fmla="*/ 66007 w 360859"/>
                <a:gd name="connsiteY29" fmla="*/ 261304 h 360859"/>
                <a:gd name="connsiteX30" fmla="*/ 40602 w 360859"/>
                <a:gd name="connsiteY30" fmla="*/ 286708 h 360859"/>
                <a:gd name="connsiteX31" fmla="*/ 82895 w 360859"/>
                <a:gd name="connsiteY31" fmla="*/ 329001 h 360859"/>
                <a:gd name="connsiteX32" fmla="*/ 108299 w 360859"/>
                <a:gd name="connsiteY32" fmla="*/ 303596 h 36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0859" h="360859">
                  <a:moveTo>
                    <a:pt x="108299" y="303596"/>
                  </a:moveTo>
                  <a:cubicBezTo>
                    <a:pt x="122301" y="312690"/>
                    <a:pt x="138034" y="319330"/>
                    <a:pt x="154922" y="322938"/>
                  </a:cubicBezTo>
                  <a:lnTo>
                    <a:pt x="154922" y="358736"/>
                  </a:lnTo>
                  <a:lnTo>
                    <a:pt x="214681" y="358736"/>
                  </a:lnTo>
                  <a:lnTo>
                    <a:pt x="214681" y="322938"/>
                  </a:lnTo>
                  <a:cubicBezTo>
                    <a:pt x="231569" y="319330"/>
                    <a:pt x="247158" y="312690"/>
                    <a:pt x="261304" y="303596"/>
                  </a:cubicBezTo>
                  <a:lnTo>
                    <a:pt x="286708" y="329001"/>
                  </a:lnTo>
                  <a:lnTo>
                    <a:pt x="329001" y="286708"/>
                  </a:lnTo>
                  <a:lnTo>
                    <a:pt x="303596" y="261304"/>
                  </a:lnTo>
                  <a:cubicBezTo>
                    <a:pt x="312690" y="247302"/>
                    <a:pt x="319330" y="231569"/>
                    <a:pt x="322938" y="214680"/>
                  </a:cubicBezTo>
                  <a:lnTo>
                    <a:pt x="358736" y="214680"/>
                  </a:lnTo>
                  <a:lnTo>
                    <a:pt x="358736" y="154922"/>
                  </a:lnTo>
                  <a:lnTo>
                    <a:pt x="322938" y="154922"/>
                  </a:lnTo>
                  <a:cubicBezTo>
                    <a:pt x="319330" y="138034"/>
                    <a:pt x="312690" y="122445"/>
                    <a:pt x="303596" y="108299"/>
                  </a:cubicBezTo>
                  <a:lnTo>
                    <a:pt x="329001" y="82895"/>
                  </a:lnTo>
                  <a:lnTo>
                    <a:pt x="286708" y="40602"/>
                  </a:lnTo>
                  <a:lnTo>
                    <a:pt x="261304" y="66007"/>
                  </a:lnTo>
                  <a:cubicBezTo>
                    <a:pt x="247302" y="56913"/>
                    <a:pt x="231569" y="50273"/>
                    <a:pt x="214681" y="46665"/>
                  </a:cubicBezTo>
                  <a:lnTo>
                    <a:pt x="214681" y="10867"/>
                  </a:lnTo>
                  <a:lnTo>
                    <a:pt x="154922" y="10867"/>
                  </a:lnTo>
                  <a:lnTo>
                    <a:pt x="154922" y="46665"/>
                  </a:lnTo>
                  <a:cubicBezTo>
                    <a:pt x="138034" y="50273"/>
                    <a:pt x="122445" y="56913"/>
                    <a:pt x="108299" y="66007"/>
                  </a:cubicBezTo>
                  <a:lnTo>
                    <a:pt x="82895" y="40602"/>
                  </a:lnTo>
                  <a:lnTo>
                    <a:pt x="40602" y="82895"/>
                  </a:lnTo>
                  <a:lnTo>
                    <a:pt x="66007" y="108299"/>
                  </a:lnTo>
                  <a:cubicBezTo>
                    <a:pt x="56913" y="122301"/>
                    <a:pt x="50273" y="138034"/>
                    <a:pt x="46664" y="154922"/>
                  </a:cubicBezTo>
                  <a:lnTo>
                    <a:pt x="10867" y="154922"/>
                  </a:lnTo>
                  <a:lnTo>
                    <a:pt x="10867" y="214680"/>
                  </a:lnTo>
                  <a:lnTo>
                    <a:pt x="46664" y="214680"/>
                  </a:lnTo>
                  <a:cubicBezTo>
                    <a:pt x="50273" y="231569"/>
                    <a:pt x="56913" y="247158"/>
                    <a:pt x="66007" y="261304"/>
                  </a:cubicBezTo>
                  <a:lnTo>
                    <a:pt x="40602" y="286708"/>
                  </a:lnTo>
                  <a:lnTo>
                    <a:pt x="82895" y="329001"/>
                  </a:lnTo>
                  <a:lnTo>
                    <a:pt x="108299" y="303596"/>
                  </a:lnTo>
                  <a:close/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C0BAB0C6-FC83-4C79-8537-C1945EFC7B15}"/>
                </a:ext>
              </a:extLst>
            </p:cNvPr>
            <p:cNvSpPr/>
            <p:nvPr/>
          </p:nvSpPr>
          <p:spPr>
            <a:xfrm>
              <a:off x="462719" y="4887354"/>
              <a:ext cx="144344" cy="635112"/>
            </a:xfrm>
            <a:custGeom>
              <a:avLst/>
              <a:gdLst>
                <a:gd name="connsiteX0" fmla="*/ 75245 w 144343"/>
                <a:gd name="connsiteY0" fmla="*/ 147705 h 635112"/>
                <a:gd name="connsiteX1" fmla="*/ 139622 w 144343"/>
                <a:gd name="connsiteY1" fmla="*/ 79286 h 635112"/>
                <a:gd name="connsiteX2" fmla="*/ 75245 w 144343"/>
                <a:gd name="connsiteY2" fmla="*/ 10867 h 635112"/>
                <a:gd name="connsiteX3" fmla="*/ 10867 w 144343"/>
                <a:gd name="connsiteY3" fmla="*/ 79286 h 635112"/>
                <a:gd name="connsiteX4" fmla="*/ 10867 w 144343"/>
                <a:gd name="connsiteY4" fmla="*/ 637175 h 635112"/>
                <a:gd name="connsiteX5" fmla="*/ 69759 w 144343"/>
                <a:gd name="connsiteY5" fmla="*/ 637175 h 635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343" h="635112">
                  <a:moveTo>
                    <a:pt x="75245" y="147705"/>
                  </a:moveTo>
                  <a:cubicBezTo>
                    <a:pt x="110897" y="147705"/>
                    <a:pt x="139622" y="117104"/>
                    <a:pt x="139622" y="79286"/>
                  </a:cubicBezTo>
                  <a:cubicBezTo>
                    <a:pt x="139622" y="41468"/>
                    <a:pt x="110753" y="10867"/>
                    <a:pt x="75245" y="10867"/>
                  </a:cubicBezTo>
                  <a:cubicBezTo>
                    <a:pt x="39736" y="10867"/>
                    <a:pt x="10867" y="41468"/>
                    <a:pt x="10867" y="79286"/>
                  </a:cubicBezTo>
                  <a:lnTo>
                    <a:pt x="10867" y="637175"/>
                  </a:lnTo>
                  <a:lnTo>
                    <a:pt x="69759" y="637175"/>
                  </a:lnTo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C0228E7-B280-4BEA-AC6A-8F19D13F7B6E}"/>
                </a:ext>
              </a:extLst>
            </p:cNvPr>
            <p:cNvSpPr/>
            <p:nvPr/>
          </p:nvSpPr>
          <p:spPr>
            <a:xfrm>
              <a:off x="1111833" y="4887354"/>
              <a:ext cx="72172" cy="144344"/>
            </a:xfrm>
            <a:custGeom>
              <a:avLst/>
              <a:gdLst>
                <a:gd name="connsiteX0" fmla="*/ 10867 w 72171"/>
                <a:gd name="connsiteY0" fmla="*/ 10867 h 144343"/>
                <a:gd name="connsiteX1" fmla="*/ 75245 w 72171"/>
                <a:gd name="connsiteY1" fmla="*/ 79286 h 144343"/>
                <a:gd name="connsiteX2" fmla="*/ 10867 w 72171"/>
                <a:gd name="connsiteY2" fmla="*/ 147705 h 14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71" h="144343">
                  <a:moveTo>
                    <a:pt x="10867" y="10867"/>
                  </a:moveTo>
                  <a:cubicBezTo>
                    <a:pt x="46520" y="10867"/>
                    <a:pt x="75245" y="41468"/>
                    <a:pt x="75245" y="79286"/>
                  </a:cubicBezTo>
                  <a:cubicBezTo>
                    <a:pt x="75245" y="117104"/>
                    <a:pt x="46376" y="147705"/>
                    <a:pt x="10867" y="147705"/>
                  </a:cubicBezTo>
                </a:path>
              </a:pathLst>
            </a:custGeom>
            <a:noFill/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B2E7CAF5-A188-47CC-984A-2064DB6BEAC7}"/>
                </a:ext>
              </a:extLst>
            </p:cNvPr>
            <p:cNvSpPr/>
            <p:nvPr/>
          </p:nvSpPr>
          <p:spPr>
            <a:xfrm>
              <a:off x="527097" y="4887354"/>
              <a:ext cx="606244" cy="14434"/>
            </a:xfrm>
            <a:custGeom>
              <a:avLst/>
              <a:gdLst>
                <a:gd name="connsiteX0" fmla="*/ 10867 w 606243"/>
                <a:gd name="connsiteY0" fmla="*/ 10867 h 14434"/>
                <a:gd name="connsiteX1" fmla="*/ 595604 w 606243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243" h="14434">
                  <a:moveTo>
                    <a:pt x="10867" y="10867"/>
                  </a:moveTo>
                  <a:lnTo>
                    <a:pt x="595604" y="10867"/>
                  </a:lnTo>
                </a:path>
              </a:pathLst>
            </a:custGeom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14F51F7D-07BD-42E6-87E6-078098DDFA80}"/>
                </a:ext>
              </a:extLst>
            </p:cNvPr>
            <p:cNvSpPr/>
            <p:nvPr/>
          </p:nvSpPr>
          <p:spPr>
            <a:xfrm>
              <a:off x="527097" y="5024192"/>
              <a:ext cx="606244" cy="14434"/>
            </a:xfrm>
            <a:custGeom>
              <a:avLst/>
              <a:gdLst>
                <a:gd name="connsiteX0" fmla="*/ 10867 w 606243"/>
                <a:gd name="connsiteY0" fmla="*/ 10867 h 14434"/>
                <a:gd name="connsiteX1" fmla="*/ 595604 w 606243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243" h="14434">
                  <a:moveTo>
                    <a:pt x="10867" y="10867"/>
                  </a:moveTo>
                  <a:lnTo>
                    <a:pt x="595604" y="10867"/>
                  </a:lnTo>
                </a:path>
              </a:pathLst>
            </a:custGeom>
            <a:ln w="9561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18460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A2BD26C-3392-4965-BB1B-972FB9CA6264}"/>
              </a:ext>
            </a:extLst>
          </p:cNvPr>
          <p:cNvSpPr/>
          <p:nvPr/>
        </p:nvSpPr>
        <p:spPr>
          <a:xfrm>
            <a:off x="4258278" y="2243229"/>
            <a:ext cx="3659905" cy="3332072"/>
          </a:xfrm>
          <a:prstGeom prst="roundRect">
            <a:avLst/>
          </a:prstGeom>
          <a:solidFill>
            <a:schemeClr val="accent1">
              <a:alpha val="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ADD9F94-96C1-4CD6-A8DE-7D10E07DBED2}"/>
              </a:ext>
            </a:extLst>
          </p:cNvPr>
          <p:cNvSpPr/>
          <p:nvPr/>
        </p:nvSpPr>
        <p:spPr>
          <a:xfrm>
            <a:off x="4419041" y="2125810"/>
            <a:ext cx="1416784" cy="950339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6000" spc="-244" dirty="0">
                <a:solidFill>
                  <a:srgbClr val="1BD7D3">
                    <a:alpha val="36000"/>
                  </a:srgbClr>
                </a:solidFill>
                <a:latin typeface="Arial" panose="020B0604020202020204" pitchFamily="34" charset="0"/>
              </a:rPr>
              <a:t>2 </a:t>
            </a:r>
            <a:r>
              <a:rPr lang="ru-RU" sz="3600" spc="-244" dirty="0">
                <a:solidFill>
                  <a:srgbClr val="1BD7D3">
                    <a:alpha val="36000"/>
                  </a:srgbClr>
                </a:solidFill>
                <a:latin typeface="Arial" panose="020B0604020202020204" pitchFamily="34" charset="0"/>
              </a:rPr>
              <a:t>ҳимоя линияси</a:t>
            </a:r>
          </a:p>
        </p:txBody>
      </p:sp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685B7259-8021-4B38-8193-140A55729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id="{685B7259-8021-4B38-8193-140A55729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3 та ҳимоя </a:t>
            </a:r>
            <a:r>
              <a:rPr lang="ru-RU" dirty="0" err="1"/>
              <a:t>линияси</a:t>
            </a:r>
            <a:r>
              <a:rPr lang="ru-RU" dirty="0"/>
              <a:t> </a:t>
            </a:r>
            <a:r>
              <a:rPr lang="ru-RU" dirty="0" err="1"/>
              <a:t>тизимида</a:t>
            </a:r>
            <a:r>
              <a:rPr lang="ru-RU" dirty="0"/>
              <a:t> к</a:t>
            </a:r>
            <a:r>
              <a:rPr lang="ru-RU" sz="2400" dirty="0"/>
              <a:t>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endParaRPr lang="ru-RU" dirty="0"/>
          </a:p>
        </p:txBody>
      </p:sp>
      <p:sp>
        <p:nvSpPr>
          <p:cNvPr id="72" name="Rounded Rectangle 35">
            <a:extLst>
              <a:ext uri="{FF2B5EF4-FFF2-40B4-BE49-F238E27FC236}">
                <a16:creationId xmlns:a16="http://schemas.microsoft.com/office/drawing/2014/main" id="{229A3A9F-EECA-4480-80E4-95B09D15A723}"/>
              </a:ext>
            </a:extLst>
          </p:cNvPr>
          <p:cNvSpPr/>
          <p:nvPr/>
        </p:nvSpPr>
        <p:spPr>
          <a:xfrm rot="16200000">
            <a:off x="1012563" y="304336"/>
            <a:ext cx="355231" cy="238035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D9D9D9"/>
                </a:solidFill>
                <a:prstDash val="solid"/>
                <a:miter lim="800000"/>
              </a14:hiddenLine>
            </a:ext>
          </a:ex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vert" lIns="46013" tIns="46013" rIns="46013" bIns="46013" rtlCol="0" anchor="ctr"/>
          <a:lstStyle/>
          <a:p>
            <a:pPr algn="ctr"/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Регуляторлар</a:t>
            </a:r>
            <a:endParaRPr lang="en-US" sz="1400" b="1" dirty="0">
              <a:solidFill>
                <a:schemeClr val="bg2">
                  <a:lumMod val="25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57C6F04-5A4C-4B96-AF93-4B55B981A311}"/>
              </a:ext>
            </a:extLst>
          </p:cNvPr>
          <p:cNvSpPr txBox="1"/>
          <p:nvPr/>
        </p:nvSpPr>
        <p:spPr>
          <a:xfrm>
            <a:off x="1876255" y="6549289"/>
            <a:ext cx="2382023" cy="322511"/>
          </a:xfrm>
          <a:prstGeom prst="rect">
            <a:avLst/>
          </a:prstGeom>
          <a:noFill/>
        </p:spPr>
        <p:txBody>
          <a:bodyPr wrap="none" lIns="46013" tIns="46013" rIns="46013" bIns="46013" rtlCol="0">
            <a:noAutofit/>
          </a:bodyPr>
          <a:lstStyle/>
          <a:p>
            <a:pPr algn="ctr"/>
            <a:endParaRPr lang="en-US" sz="1400" b="1" dirty="0">
              <a:solidFill>
                <a:srgbClr val="470A68"/>
              </a:solidFill>
              <a:latin typeface="Fira Sans Light" panose="020B0403050000020004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9D79EDC-9023-48F6-B988-2ED9475CC193}"/>
              </a:ext>
            </a:extLst>
          </p:cNvPr>
          <p:cNvSpPr txBox="1"/>
          <p:nvPr/>
        </p:nvSpPr>
        <p:spPr>
          <a:xfrm>
            <a:off x="4766806" y="6526899"/>
            <a:ext cx="2051431" cy="322511"/>
          </a:xfrm>
          <a:prstGeom prst="rect">
            <a:avLst/>
          </a:prstGeom>
          <a:noFill/>
        </p:spPr>
        <p:txBody>
          <a:bodyPr wrap="none" lIns="46013" tIns="46013" rIns="46013" bIns="46013" rtlCol="0">
            <a:noAutofit/>
          </a:bodyPr>
          <a:lstStyle/>
          <a:p>
            <a:pPr algn="ctr"/>
            <a:endParaRPr lang="en-US" sz="1400" b="1" dirty="0">
              <a:solidFill>
                <a:srgbClr val="470A68"/>
              </a:solidFill>
              <a:latin typeface="Fira Sans Light" panose="020B0403050000020004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8B965F7-B669-4DB8-B856-3BA091ECCA8A}"/>
              </a:ext>
            </a:extLst>
          </p:cNvPr>
          <p:cNvSpPr txBox="1"/>
          <p:nvPr/>
        </p:nvSpPr>
        <p:spPr>
          <a:xfrm>
            <a:off x="7492061" y="6547619"/>
            <a:ext cx="2051431" cy="322511"/>
          </a:xfrm>
          <a:prstGeom prst="rect">
            <a:avLst/>
          </a:prstGeom>
          <a:noFill/>
        </p:spPr>
        <p:txBody>
          <a:bodyPr wrap="none" lIns="46013" tIns="46013" rIns="46013" bIns="46013" rtlCol="0">
            <a:noAutofit/>
          </a:bodyPr>
          <a:lstStyle/>
          <a:p>
            <a:pPr algn="ctr"/>
            <a:endParaRPr lang="en-US" sz="1400" b="1" dirty="0">
              <a:solidFill>
                <a:srgbClr val="470A68"/>
              </a:solidFill>
              <a:latin typeface="Fira Sans Light" panose="020B0403050000020004"/>
              <a:cs typeface="Arial" panose="020B0604020202020204" pitchFamily="34" charset="0"/>
            </a:endParaRP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428DEAD9-8D75-461A-935A-19587A56F9A8}"/>
              </a:ext>
            </a:extLst>
          </p:cNvPr>
          <p:cNvSpPr/>
          <p:nvPr/>
        </p:nvSpPr>
        <p:spPr>
          <a:xfrm>
            <a:off x="438953" y="1282700"/>
            <a:ext cx="11310136" cy="4988866"/>
          </a:xfrm>
          <a:prstGeom prst="roundRect">
            <a:avLst>
              <a:gd name="adj" fmla="val 4516"/>
            </a:avLst>
          </a:prstGeom>
          <a:noFill/>
          <a:ln w="19050" cap="flat" cmpd="sng" algn="ctr">
            <a:solidFill>
              <a:srgbClr val="3A07DF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chemeClr val="bg1"/>
              </a:solidFill>
            </a:endParaRPr>
          </a:p>
        </p:txBody>
      </p:sp>
      <p:sp>
        <p:nvSpPr>
          <p:cNvPr id="88" name="Rounded Rectangle 35">
            <a:extLst>
              <a:ext uri="{FF2B5EF4-FFF2-40B4-BE49-F238E27FC236}">
                <a16:creationId xmlns:a16="http://schemas.microsoft.com/office/drawing/2014/main" id="{DA1B2095-8F80-4EDA-8A6A-DA92D99967DE}"/>
              </a:ext>
            </a:extLst>
          </p:cNvPr>
          <p:cNvSpPr/>
          <p:nvPr/>
        </p:nvSpPr>
        <p:spPr>
          <a:xfrm rot="16200000">
            <a:off x="10824206" y="4906005"/>
            <a:ext cx="355231" cy="238035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D9D9D9"/>
                </a:solidFill>
                <a:prstDash val="solid"/>
                <a:miter lim="800000"/>
              </a14:hiddenLine>
            </a:ext>
          </a:ex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vert" lIns="46013" tIns="46013" rIns="46013" bIns="46013" rtlCol="0" anchor="ctr"/>
          <a:lstStyle/>
          <a:p>
            <a:pPr algn="ctr"/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Регуляторлар</a:t>
            </a:r>
            <a:endParaRPr lang="en-US" sz="1400" b="1" dirty="0">
              <a:solidFill>
                <a:schemeClr val="bg2">
                  <a:lumMod val="25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E0B18F9-4B96-4ED1-BBA3-DE38311EDB7D}"/>
              </a:ext>
            </a:extLst>
          </p:cNvPr>
          <p:cNvSpPr/>
          <p:nvPr/>
        </p:nvSpPr>
        <p:spPr>
          <a:xfrm>
            <a:off x="606393" y="1721679"/>
            <a:ext cx="10972800" cy="394224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0" scaled="1"/>
          </a:gradFill>
          <a:ln w="3175">
            <a:solidFill>
              <a:srgbClr val="2112A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44371" rIns="91440" bIns="44371" rtlCol="0" anchor="ctr">
            <a:noAutofit/>
          </a:bodyPr>
          <a:lstStyle/>
          <a:p>
            <a:pPr algn="ctr"/>
            <a:r>
              <a: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Давлат </a:t>
            </a:r>
            <a:r>
              <a:rPr lang="ru-RU" sz="1400" b="1" dirty="0" err="1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ташкилоти</a:t>
            </a:r>
            <a:r>
              <a: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b="1" dirty="0" err="1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бошқаруви</a:t>
            </a:r>
            <a:endParaRPr lang="ru-RU" sz="1400" b="1" dirty="0">
              <a:solidFill>
                <a:srgbClr val="3A07DF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8C58FA07-108B-4C01-80AF-7B777AA68CE0}"/>
              </a:ext>
            </a:extLst>
          </p:cNvPr>
          <p:cNvSpPr/>
          <p:nvPr/>
        </p:nvSpPr>
        <p:spPr>
          <a:xfrm>
            <a:off x="634664" y="2850075"/>
            <a:ext cx="3427903" cy="13724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87413BD-7CFF-4FF6-B58C-C242624097C0}"/>
              </a:ext>
            </a:extLst>
          </p:cNvPr>
          <p:cNvSpPr/>
          <p:nvPr/>
        </p:nvSpPr>
        <p:spPr>
          <a:xfrm>
            <a:off x="654097" y="2095088"/>
            <a:ext cx="1416784" cy="950339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6000" spc="-244" dirty="0">
                <a:solidFill>
                  <a:srgbClr val="1BD7D3">
                    <a:alpha val="36000"/>
                  </a:srgbClr>
                </a:solidFill>
                <a:latin typeface="Arial" panose="020B0604020202020204" pitchFamily="34" charset="0"/>
              </a:rPr>
              <a:t>1 </a:t>
            </a:r>
            <a:r>
              <a:rPr lang="ru-RU" sz="3600" spc="-244" dirty="0">
                <a:solidFill>
                  <a:srgbClr val="1BD7D3">
                    <a:alpha val="36000"/>
                  </a:srgbClr>
                </a:solidFill>
                <a:latin typeface="Arial" panose="020B0604020202020204" pitchFamily="34" charset="0"/>
              </a:rPr>
              <a:t>ҳимоя линияси</a:t>
            </a:r>
            <a:endParaRPr lang="ru-RU" sz="6000" spc="-244" dirty="0">
              <a:solidFill>
                <a:srgbClr val="1BD7D3">
                  <a:alpha val="36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D53C389E-16B5-4A13-BFE6-798A0B2AFA5E}"/>
              </a:ext>
            </a:extLst>
          </p:cNvPr>
          <p:cNvSpPr/>
          <p:nvPr/>
        </p:nvSpPr>
        <p:spPr>
          <a:xfrm>
            <a:off x="628197" y="2837710"/>
            <a:ext cx="3427903" cy="60148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b">
            <a:noAutofit/>
          </a:bodyPr>
          <a:lstStyle/>
          <a:p>
            <a:r>
              <a: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Функция </a:t>
            </a:r>
            <a:r>
              <a:rPr lang="ru-RU" sz="1400" b="1" dirty="0" err="1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бошлиқлари</a:t>
            </a:r>
            <a:r>
              <a: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 </a:t>
            </a:r>
          </a:p>
          <a:p>
            <a:r>
              <a: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(</a:t>
            </a:r>
            <a:r>
              <a:rPr lang="ru-RU" sz="1400" b="1" dirty="0" err="1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Хавф-ҳатар</a:t>
            </a:r>
            <a:r>
              <a: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b="1" dirty="0" err="1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эгалари</a:t>
            </a:r>
            <a:r>
              <a: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)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E8A00201-A1EE-449A-A54B-48F22CDE7654}"/>
              </a:ext>
            </a:extLst>
          </p:cNvPr>
          <p:cNvSpPr/>
          <p:nvPr/>
        </p:nvSpPr>
        <p:spPr>
          <a:xfrm>
            <a:off x="4389744" y="3014031"/>
            <a:ext cx="3427903" cy="13724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AB3F957A-6B14-49DD-BFB8-6A9B66E99F9D}"/>
              </a:ext>
            </a:extLst>
          </p:cNvPr>
          <p:cNvSpPr/>
          <p:nvPr/>
        </p:nvSpPr>
        <p:spPr>
          <a:xfrm>
            <a:off x="4389742" y="2837710"/>
            <a:ext cx="3427903" cy="60148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b">
            <a:noAutofit/>
          </a:bodyPr>
          <a:lstStyle/>
          <a:p>
            <a:r>
              <a:rPr lang="ru-RU" sz="1400" b="1" dirty="0" err="1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Хавф-ҳатарларни</a:t>
            </a:r>
            <a:r>
              <a: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b="1" dirty="0" err="1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бошқариш</a:t>
            </a:r>
            <a:r>
              <a: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 / Комплаенс </a:t>
            </a:r>
            <a:r>
              <a:rPr lang="ru-RU" sz="1400" b="1" dirty="0" err="1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бўлинма</a:t>
            </a:r>
            <a:endParaRPr lang="ru-RU" sz="1400" b="1" dirty="0">
              <a:solidFill>
                <a:srgbClr val="2112AE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08076B7-EBF0-411F-8B0C-7F8550B9BB77}"/>
              </a:ext>
            </a:extLst>
          </p:cNvPr>
          <p:cNvSpPr/>
          <p:nvPr/>
        </p:nvSpPr>
        <p:spPr>
          <a:xfrm>
            <a:off x="8151291" y="3414507"/>
            <a:ext cx="3427900" cy="60148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>
              <a:spcAft>
                <a:spcPts val="600"/>
              </a:spcAft>
              <a:buClr>
                <a:schemeClr val="accent4"/>
              </a:buClr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вф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-</a:t>
            </a:r>
            <a:r>
              <a:rPr lang="uz-Cyrl-UZ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тар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аратил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ёндашувд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фойдалан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олд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, ички аудит</a:t>
            </a:r>
            <a:r>
              <a:rPr lang="en-US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аҳбарият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шкилот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ўз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тарлар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, шу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жумлад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1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2-ҳимоя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линия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амарадорлиг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аҳолаётга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ошқараётган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сдиқлайди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44552C56-B57D-439D-8436-306C6CD4DD3D}"/>
              </a:ext>
            </a:extLst>
          </p:cNvPr>
          <p:cNvSpPr/>
          <p:nvPr/>
        </p:nvSpPr>
        <p:spPr>
          <a:xfrm>
            <a:off x="8151290" y="3014031"/>
            <a:ext cx="3427903" cy="13724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1B3DA93-6E00-48FE-824F-15B5CD8595D3}"/>
              </a:ext>
            </a:extLst>
          </p:cNvPr>
          <p:cNvSpPr/>
          <p:nvPr/>
        </p:nvSpPr>
        <p:spPr>
          <a:xfrm>
            <a:off x="8158944" y="2243229"/>
            <a:ext cx="1416784" cy="950339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6000" spc="-244" dirty="0">
                <a:solidFill>
                  <a:srgbClr val="1BD7D3">
                    <a:alpha val="36000"/>
                  </a:srgbClr>
                </a:solidFill>
                <a:latin typeface="Arial" panose="020B0604020202020204" pitchFamily="34" charset="0"/>
              </a:rPr>
              <a:t>3 </a:t>
            </a:r>
            <a:r>
              <a:rPr lang="ru-RU" sz="3600" spc="-244" dirty="0">
                <a:solidFill>
                  <a:srgbClr val="1BD7D3">
                    <a:alpha val="36000"/>
                  </a:srgbClr>
                </a:solidFill>
                <a:latin typeface="Arial" panose="020B0604020202020204" pitchFamily="34" charset="0"/>
              </a:rPr>
              <a:t>ҳимоя линияси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BCA9C360-7B16-47FB-8747-553663D85F84}"/>
              </a:ext>
            </a:extLst>
          </p:cNvPr>
          <p:cNvSpPr/>
          <p:nvPr/>
        </p:nvSpPr>
        <p:spPr>
          <a:xfrm>
            <a:off x="8158944" y="2659333"/>
            <a:ext cx="3427903" cy="60148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b">
            <a:noAutofit/>
          </a:bodyPr>
          <a:lstStyle/>
          <a:p>
            <a:r>
              <a:rPr lang="ru-RU" sz="14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rPr>
              <a:t>Ички аудит</a:t>
            </a:r>
          </a:p>
        </p:txBody>
      </p:sp>
      <p:grpSp>
        <p:nvGrpSpPr>
          <p:cNvPr id="90" name="Group 192">
            <a:extLst>
              <a:ext uri="{FF2B5EF4-FFF2-40B4-BE49-F238E27FC236}">
                <a16:creationId xmlns:a16="http://schemas.microsoft.com/office/drawing/2014/main" id="{6011FE28-70B4-491F-AE80-DA39673B76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11119" y="2600980"/>
            <a:ext cx="826102" cy="826102"/>
            <a:chOff x="1680" y="0"/>
            <a:chExt cx="4316" cy="4316"/>
          </a:xfrm>
          <a:solidFill>
            <a:srgbClr val="B1C7F7"/>
          </a:solidFill>
        </p:grpSpPr>
        <p:sp>
          <p:nvSpPr>
            <p:cNvPr id="91" name="Freeform 193">
              <a:extLst>
                <a:ext uri="{FF2B5EF4-FFF2-40B4-BE49-F238E27FC236}">
                  <a16:creationId xmlns:a16="http://schemas.microsoft.com/office/drawing/2014/main" id="{3A4159D9-2BDF-4FD9-A1F8-1A1352C6A9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0" y="2014"/>
              <a:ext cx="2302" cy="2302"/>
            </a:xfrm>
            <a:custGeom>
              <a:avLst/>
              <a:gdLst>
                <a:gd name="T0" fmla="*/ 5044 w 5689"/>
                <a:gd name="T1" fmla="*/ 2133 h 5689"/>
                <a:gd name="T2" fmla="*/ 5233 w 5689"/>
                <a:gd name="T3" fmla="*/ 1461 h 5689"/>
                <a:gd name="T4" fmla="*/ 4479 w 5689"/>
                <a:gd name="T5" fmla="*/ 455 h 5689"/>
                <a:gd name="T6" fmla="*/ 3898 w 5689"/>
                <a:gd name="T7" fmla="*/ 786 h 5689"/>
                <a:gd name="T8" fmla="*/ 3556 w 5689"/>
                <a:gd name="T9" fmla="*/ 178 h 5689"/>
                <a:gd name="T10" fmla="*/ 2311 w 5689"/>
                <a:gd name="T11" fmla="*/ 0 h 5689"/>
                <a:gd name="T12" fmla="*/ 2133 w 5689"/>
                <a:gd name="T13" fmla="*/ 645 h 5689"/>
                <a:gd name="T14" fmla="*/ 1461 w 5689"/>
                <a:gd name="T15" fmla="*/ 455 h 5689"/>
                <a:gd name="T16" fmla="*/ 456 w 5689"/>
                <a:gd name="T17" fmla="*/ 1209 h 5689"/>
                <a:gd name="T18" fmla="*/ 786 w 5689"/>
                <a:gd name="T19" fmla="*/ 1790 h 5689"/>
                <a:gd name="T20" fmla="*/ 178 w 5689"/>
                <a:gd name="T21" fmla="*/ 2133 h 5689"/>
                <a:gd name="T22" fmla="*/ 0 w 5689"/>
                <a:gd name="T23" fmla="*/ 3378 h 5689"/>
                <a:gd name="T24" fmla="*/ 645 w 5689"/>
                <a:gd name="T25" fmla="*/ 3555 h 5689"/>
                <a:gd name="T26" fmla="*/ 456 w 5689"/>
                <a:gd name="T27" fmla="*/ 4228 h 5689"/>
                <a:gd name="T28" fmla="*/ 1209 w 5689"/>
                <a:gd name="T29" fmla="*/ 5233 h 5689"/>
                <a:gd name="T30" fmla="*/ 1791 w 5689"/>
                <a:gd name="T31" fmla="*/ 4903 h 5689"/>
                <a:gd name="T32" fmla="*/ 2133 w 5689"/>
                <a:gd name="T33" fmla="*/ 5511 h 5689"/>
                <a:gd name="T34" fmla="*/ 3378 w 5689"/>
                <a:gd name="T35" fmla="*/ 5689 h 5689"/>
                <a:gd name="T36" fmla="*/ 3556 w 5689"/>
                <a:gd name="T37" fmla="*/ 5044 h 5689"/>
                <a:gd name="T38" fmla="*/ 4228 w 5689"/>
                <a:gd name="T39" fmla="*/ 5233 h 5689"/>
                <a:gd name="T40" fmla="*/ 5233 w 5689"/>
                <a:gd name="T41" fmla="*/ 4479 h 5689"/>
                <a:gd name="T42" fmla="*/ 4903 w 5689"/>
                <a:gd name="T43" fmla="*/ 3898 h 5689"/>
                <a:gd name="T44" fmla="*/ 5511 w 5689"/>
                <a:gd name="T45" fmla="*/ 3555 h 5689"/>
                <a:gd name="T46" fmla="*/ 5689 w 5689"/>
                <a:gd name="T47" fmla="*/ 2311 h 5689"/>
                <a:gd name="T48" fmla="*/ 5333 w 5689"/>
                <a:gd name="T49" fmla="*/ 3200 h 5689"/>
                <a:gd name="T50" fmla="*/ 4738 w 5689"/>
                <a:gd name="T51" fmla="*/ 3334 h 5689"/>
                <a:gd name="T52" fmla="*/ 4557 w 5689"/>
                <a:gd name="T53" fmla="*/ 4054 h 5689"/>
                <a:gd name="T54" fmla="*/ 4354 w 5689"/>
                <a:gd name="T55" fmla="*/ 4856 h 5689"/>
                <a:gd name="T56" fmla="*/ 3838 w 5689"/>
                <a:gd name="T57" fmla="*/ 4530 h 5689"/>
                <a:gd name="T58" fmla="*/ 3200 w 5689"/>
                <a:gd name="T59" fmla="*/ 4910 h 5689"/>
                <a:gd name="T60" fmla="*/ 2489 w 5689"/>
                <a:gd name="T61" fmla="*/ 5333 h 5689"/>
                <a:gd name="T62" fmla="*/ 2355 w 5689"/>
                <a:gd name="T63" fmla="*/ 4738 h 5689"/>
                <a:gd name="T64" fmla="*/ 1634 w 5689"/>
                <a:gd name="T65" fmla="*/ 4557 h 5689"/>
                <a:gd name="T66" fmla="*/ 833 w 5689"/>
                <a:gd name="T67" fmla="*/ 4354 h 5689"/>
                <a:gd name="T68" fmla="*/ 1159 w 5689"/>
                <a:gd name="T69" fmla="*/ 3838 h 5689"/>
                <a:gd name="T70" fmla="*/ 779 w 5689"/>
                <a:gd name="T71" fmla="*/ 3200 h 5689"/>
                <a:gd name="T72" fmla="*/ 356 w 5689"/>
                <a:gd name="T73" fmla="*/ 2489 h 5689"/>
                <a:gd name="T74" fmla="*/ 951 w 5689"/>
                <a:gd name="T75" fmla="*/ 2355 h 5689"/>
                <a:gd name="T76" fmla="*/ 1132 w 5689"/>
                <a:gd name="T77" fmla="*/ 1634 h 5689"/>
                <a:gd name="T78" fmla="*/ 1335 w 5689"/>
                <a:gd name="T79" fmla="*/ 832 h 5689"/>
                <a:gd name="T80" fmla="*/ 1851 w 5689"/>
                <a:gd name="T81" fmla="*/ 1159 h 5689"/>
                <a:gd name="T82" fmla="*/ 2489 w 5689"/>
                <a:gd name="T83" fmla="*/ 778 h 5689"/>
                <a:gd name="T84" fmla="*/ 3200 w 5689"/>
                <a:gd name="T85" fmla="*/ 355 h 5689"/>
                <a:gd name="T86" fmla="*/ 3334 w 5689"/>
                <a:gd name="T87" fmla="*/ 951 h 5689"/>
                <a:gd name="T88" fmla="*/ 4055 w 5689"/>
                <a:gd name="T89" fmla="*/ 1132 h 5689"/>
                <a:gd name="T90" fmla="*/ 4856 w 5689"/>
                <a:gd name="T91" fmla="*/ 1335 h 5689"/>
                <a:gd name="T92" fmla="*/ 4530 w 5689"/>
                <a:gd name="T93" fmla="*/ 1851 h 5689"/>
                <a:gd name="T94" fmla="*/ 4910 w 5689"/>
                <a:gd name="T95" fmla="*/ 2489 h 5689"/>
                <a:gd name="T96" fmla="*/ 5333 w 5689"/>
                <a:gd name="T97" fmla="*/ 3200 h 5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689" h="5689">
                  <a:moveTo>
                    <a:pt x="5511" y="2133"/>
                  </a:moveTo>
                  <a:lnTo>
                    <a:pt x="5044" y="2133"/>
                  </a:lnTo>
                  <a:cubicBezTo>
                    <a:pt x="5006" y="2015"/>
                    <a:pt x="4959" y="1901"/>
                    <a:pt x="4903" y="1791"/>
                  </a:cubicBezTo>
                  <a:lnTo>
                    <a:pt x="5233" y="1461"/>
                  </a:lnTo>
                  <a:cubicBezTo>
                    <a:pt x="5303" y="1391"/>
                    <a:pt x="5303" y="1279"/>
                    <a:pt x="5233" y="1209"/>
                  </a:cubicBezTo>
                  <a:lnTo>
                    <a:pt x="4479" y="455"/>
                  </a:lnTo>
                  <a:cubicBezTo>
                    <a:pt x="4410" y="386"/>
                    <a:pt x="4298" y="386"/>
                    <a:pt x="4228" y="455"/>
                  </a:cubicBezTo>
                  <a:lnTo>
                    <a:pt x="3898" y="786"/>
                  </a:lnTo>
                  <a:cubicBezTo>
                    <a:pt x="3788" y="729"/>
                    <a:pt x="3673" y="682"/>
                    <a:pt x="3556" y="645"/>
                  </a:cubicBezTo>
                  <a:lnTo>
                    <a:pt x="3556" y="178"/>
                  </a:lnTo>
                  <a:cubicBezTo>
                    <a:pt x="3556" y="79"/>
                    <a:pt x="3476" y="0"/>
                    <a:pt x="3378" y="0"/>
                  </a:cubicBezTo>
                  <a:lnTo>
                    <a:pt x="2311" y="0"/>
                  </a:lnTo>
                  <a:cubicBezTo>
                    <a:pt x="2213" y="0"/>
                    <a:pt x="2133" y="79"/>
                    <a:pt x="2133" y="178"/>
                  </a:cubicBezTo>
                  <a:lnTo>
                    <a:pt x="2133" y="645"/>
                  </a:lnTo>
                  <a:cubicBezTo>
                    <a:pt x="2016" y="682"/>
                    <a:pt x="1901" y="729"/>
                    <a:pt x="1791" y="786"/>
                  </a:cubicBezTo>
                  <a:lnTo>
                    <a:pt x="1461" y="455"/>
                  </a:lnTo>
                  <a:cubicBezTo>
                    <a:pt x="1391" y="386"/>
                    <a:pt x="1279" y="386"/>
                    <a:pt x="1210" y="455"/>
                  </a:cubicBezTo>
                  <a:lnTo>
                    <a:pt x="456" y="1209"/>
                  </a:lnTo>
                  <a:cubicBezTo>
                    <a:pt x="386" y="1278"/>
                    <a:pt x="386" y="1391"/>
                    <a:pt x="456" y="1460"/>
                  </a:cubicBezTo>
                  <a:lnTo>
                    <a:pt x="786" y="1790"/>
                  </a:lnTo>
                  <a:cubicBezTo>
                    <a:pt x="730" y="1901"/>
                    <a:pt x="682" y="2015"/>
                    <a:pt x="645" y="2133"/>
                  </a:cubicBezTo>
                  <a:lnTo>
                    <a:pt x="178" y="2133"/>
                  </a:lnTo>
                  <a:cubicBezTo>
                    <a:pt x="80" y="2133"/>
                    <a:pt x="0" y="2213"/>
                    <a:pt x="0" y="2311"/>
                  </a:cubicBezTo>
                  <a:lnTo>
                    <a:pt x="0" y="3378"/>
                  </a:lnTo>
                  <a:cubicBezTo>
                    <a:pt x="0" y="3476"/>
                    <a:pt x="80" y="3555"/>
                    <a:pt x="178" y="3555"/>
                  </a:cubicBezTo>
                  <a:lnTo>
                    <a:pt x="645" y="3555"/>
                  </a:lnTo>
                  <a:cubicBezTo>
                    <a:pt x="682" y="3673"/>
                    <a:pt x="730" y="3788"/>
                    <a:pt x="786" y="3898"/>
                  </a:cubicBezTo>
                  <a:lnTo>
                    <a:pt x="456" y="4228"/>
                  </a:lnTo>
                  <a:cubicBezTo>
                    <a:pt x="386" y="4297"/>
                    <a:pt x="386" y="4410"/>
                    <a:pt x="456" y="4479"/>
                  </a:cubicBezTo>
                  <a:lnTo>
                    <a:pt x="1209" y="5233"/>
                  </a:lnTo>
                  <a:cubicBezTo>
                    <a:pt x="1279" y="5302"/>
                    <a:pt x="1391" y="5302"/>
                    <a:pt x="1461" y="5233"/>
                  </a:cubicBezTo>
                  <a:lnTo>
                    <a:pt x="1791" y="4903"/>
                  </a:lnTo>
                  <a:cubicBezTo>
                    <a:pt x="1901" y="4959"/>
                    <a:pt x="2016" y="5006"/>
                    <a:pt x="2133" y="5044"/>
                  </a:cubicBezTo>
                  <a:lnTo>
                    <a:pt x="2133" y="5511"/>
                  </a:lnTo>
                  <a:cubicBezTo>
                    <a:pt x="2133" y="5609"/>
                    <a:pt x="2213" y="5689"/>
                    <a:pt x="2311" y="5689"/>
                  </a:cubicBezTo>
                  <a:lnTo>
                    <a:pt x="3378" y="5689"/>
                  </a:lnTo>
                  <a:cubicBezTo>
                    <a:pt x="3476" y="5689"/>
                    <a:pt x="3556" y="5609"/>
                    <a:pt x="3556" y="5511"/>
                  </a:cubicBezTo>
                  <a:lnTo>
                    <a:pt x="3556" y="5044"/>
                  </a:lnTo>
                  <a:cubicBezTo>
                    <a:pt x="3673" y="5006"/>
                    <a:pt x="3788" y="4959"/>
                    <a:pt x="3898" y="4903"/>
                  </a:cubicBezTo>
                  <a:lnTo>
                    <a:pt x="4228" y="5233"/>
                  </a:lnTo>
                  <a:cubicBezTo>
                    <a:pt x="4298" y="5302"/>
                    <a:pt x="4410" y="5302"/>
                    <a:pt x="4479" y="5233"/>
                  </a:cubicBezTo>
                  <a:lnTo>
                    <a:pt x="5233" y="4479"/>
                  </a:lnTo>
                  <a:cubicBezTo>
                    <a:pt x="5303" y="4410"/>
                    <a:pt x="5303" y="4297"/>
                    <a:pt x="5233" y="4228"/>
                  </a:cubicBezTo>
                  <a:lnTo>
                    <a:pt x="4903" y="3898"/>
                  </a:lnTo>
                  <a:cubicBezTo>
                    <a:pt x="4959" y="3788"/>
                    <a:pt x="5006" y="3673"/>
                    <a:pt x="5044" y="3555"/>
                  </a:cubicBezTo>
                  <a:lnTo>
                    <a:pt x="5511" y="3555"/>
                  </a:lnTo>
                  <a:cubicBezTo>
                    <a:pt x="5609" y="3555"/>
                    <a:pt x="5689" y="3476"/>
                    <a:pt x="5689" y="3378"/>
                  </a:cubicBezTo>
                  <a:lnTo>
                    <a:pt x="5689" y="2311"/>
                  </a:lnTo>
                  <a:cubicBezTo>
                    <a:pt x="5689" y="2213"/>
                    <a:pt x="5609" y="2133"/>
                    <a:pt x="5511" y="2133"/>
                  </a:cubicBezTo>
                  <a:close/>
                  <a:moveTo>
                    <a:pt x="5333" y="3200"/>
                  </a:moveTo>
                  <a:lnTo>
                    <a:pt x="4910" y="3200"/>
                  </a:lnTo>
                  <a:cubicBezTo>
                    <a:pt x="4829" y="3200"/>
                    <a:pt x="4758" y="3255"/>
                    <a:pt x="4738" y="3334"/>
                  </a:cubicBezTo>
                  <a:cubicBezTo>
                    <a:pt x="4693" y="3511"/>
                    <a:pt x="4623" y="3681"/>
                    <a:pt x="4530" y="3838"/>
                  </a:cubicBezTo>
                  <a:cubicBezTo>
                    <a:pt x="4488" y="3908"/>
                    <a:pt x="4499" y="3997"/>
                    <a:pt x="4557" y="4054"/>
                  </a:cubicBezTo>
                  <a:lnTo>
                    <a:pt x="4856" y="4354"/>
                  </a:lnTo>
                  <a:lnTo>
                    <a:pt x="4354" y="4856"/>
                  </a:lnTo>
                  <a:lnTo>
                    <a:pt x="4055" y="4557"/>
                  </a:lnTo>
                  <a:cubicBezTo>
                    <a:pt x="3997" y="4499"/>
                    <a:pt x="3908" y="4488"/>
                    <a:pt x="3838" y="4530"/>
                  </a:cubicBezTo>
                  <a:cubicBezTo>
                    <a:pt x="3681" y="4623"/>
                    <a:pt x="3511" y="4693"/>
                    <a:pt x="3334" y="4738"/>
                  </a:cubicBezTo>
                  <a:cubicBezTo>
                    <a:pt x="3255" y="4758"/>
                    <a:pt x="3200" y="4829"/>
                    <a:pt x="3200" y="4910"/>
                  </a:cubicBezTo>
                  <a:lnTo>
                    <a:pt x="3200" y="5333"/>
                  </a:lnTo>
                  <a:lnTo>
                    <a:pt x="2489" y="5333"/>
                  </a:lnTo>
                  <a:lnTo>
                    <a:pt x="2489" y="4910"/>
                  </a:lnTo>
                  <a:cubicBezTo>
                    <a:pt x="2489" y="4829"/>
                    <a:pt x="2434" y="4758"/>
                    <a:pt x="2355" y="4738"/>
                  </a:cubicBezTo>
                  <a:cubicBezTo>
                    <a:pt x="2178" y="4693"/>
                    <a:pt x="2008" y="4623"/>
                    <a:pt x="1851" y="4530"/>
                  </a:cubicBezTo>
                  <a:cubicBezTo>
                    <a:pt x="1781" y="4488"/>
                    <a:pt x="1692" y="4499"/>
                    <a:pt x="1634" y="4557"/>
                  </a:cubicBezTo>
                  <a:lnTo>
                    <a:pt x="1335" y="4856"/>
                  </a:lnTo>
                  <a:lnTo>
                    <a:pt x="833" y="4354"/>
                  </a:lnTo>
                  <a:lnTo>
                    <a:pt x="1132" y="4054"/>
                  </a:lnTo>
                  <a:cubicBezTo>
                    <a:pt x="1189" y="3997"/>
                    <a:pt x="1201" y="3908"/>
                    <a:pt x="1159" y="3838"/>
                  </a:cubicBezTo>
                  <a:cubicBezTo>
                    <a:pt x="1066" y="3681"/>
                    <a:pt x="996" y="3511"/>
                    <a:pt x="951" y="3334"/>
                  </a:cubicBezTo>
                  <a:cubicBezTo>
                    <a:pt x="931" y="3255"/>
                    <a:pt x="860" y="3200"/>
                    <a:pt x="779" y="3200"/>
                  </a:cubicBezTo>
                  <a:lnTo>
                    <a:pt x="356" y="3200"/>
                  </a:lnTo>
                  <a:lnTo>
                    <a:pt x="356" y="2489"/>
                  </a:lnTo>
                  <a:lnTo>
                    <a:pt x="779" y="2489"/>
                  </a:lnTo>
                  <a:cubicBezTo>
                    <a:pt x="860" y="2489"/>
                    <a:pt x="931" y="2434"/>
                    <a:pt x="951" y="2355"/>
                  </a:cubicBezTo>
                  <a:cubicBezTo>
                    <a:pt x="996" y="2178"/>
                    <a:pt x="1066" y="2008"/>
                    <a:pt x="1159" y="1851"/>
                  </a:cubicBezTo>
                  <a:cubicBezTo>
                    <a:pt x="1201" y="1781"/>
                    <a:pt x="1189" y="1692"/>
                    <a:pt x="1132" y="1634"/>
                  </a:cubicBezTo>
                  <a:lnTo>
                    <a:pt x="833" y="1335"/>
                  </a:lnTo>
                  <a:lnTo>
                    <a:pt x="1335" y="832"/>
                  </a:lnTo>
                  <a:lnTo>
                    <a:pt x="1634" y="1132"/>
                  </a:lnTo>
                  <a:cubicBezTo>
                    <a:pt x="1692" y="1189"/>
                    <a:pt x="1781" y="1200"/>
                    <a:pt x="1851" y="1159"/>
                  </a:cubicBezTo>
                  <a:cubicBezTo>
                    <a:pt x="2008" y="1066"/>
                    <a:pt x="2178" y="996"/>
                    <a:pt x="2355" y="951"/>
                  </a:cubicBezTo>
                  <a:cubicBezTo>
                    <a:pt x="2434" y="931"/>
                    <a:pt x="2489" y="860"/>
                    <a:pt x="2489" y="778"/>
                  </a:cubicBezTo>
                  <a:lnTo>
                    <a:pt x="2489" y="355"/>
                  </a:lnTo>
                  <a:lnTo>
                    <a:pt x="3200" y="355"/>
                  </a:lnTo>
                  <a:lnTo>
                    <a:pt x="3200" y="778"/>
                  </a:lnTo>
                  <a:cubicBezTo>
                    <a:pt x="3200" y="860"/>
                    <a:pt x="3255" y="931"/>
                    <a:pt x="3334" y="951"/>
                  </a:cubicBezTo>
                  <a:cubicBezTo>
                    <a:pt x="3511" y="996"/>
                    <a:pt x="3681" y="1066"/>
                    <a:pt x="3838" y="1159"/>
                  </a:cubicBezTo>
                  <a:cubicBezTo>
                    <a:pt x="3908" y="1200"/>
                    <a:pt x="3997" y="1189"/>
                    <a:pt x="4055" y="1132"/>
                  </a:cubicBezTo>
                  <a:lnTo>
                    <a:pt x="4354" y="832"/>
                  </a:lnTo>
                  <a:lnTo>
                    <a:pt x="4856" y="1335"/>
                  </a:lnTo>
                  <a:lnTo>
                    <a:pt x="4557" y="1634"/>
                  </a:lnTo>
                  <a:cubicBezTo>
                    <a:pt x="4499" y="1692"/>
                    <a:pt x="4488" y="1781"/>
                    <a:pt x="4530" y="1851"/>
                  </a:cubicBezTo>
                  <a:cubicBezTo>
                    <a:pt x="4623" y="2008"/>
                    <a:pt x="4693" y="2178"/>
                    <a:pt x="4738" y="2355"/>
                  </a:cubicBezTo>
                  <a:cubicBezTo>
                    <a:pt x="4758" y="2434"/>
                    <a:pt x="4829" y="2489"/>
                    <a:pt x="4910" y="2489"/>
                  </a:cubicBezTo>
                  <a:lnTo>
                    <a:pt x="5333" y="2489"/>
                  </a:lnTo>
                  <a:lnTo>
                    <a:pt x="5333" y="3200"/>
                  </a:lnTo>
                  <a:close/>
                  <a:moveTo>
                    <a:pt x="5333" y="3200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94">
              <a:extLst>
                <a:ext uri="{FF2B5EF4-FFF2-40B4-BE49-F238E27FC236}">
                  <a16:creationId xmlns:a16="http://schemas.microsoft.com/office/drawing/2014/main" id="{B697A8CC-D29A-44FA-B596-2B88E5E74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5" y="2590"/>
              <a:ext cx="1151" cy="1150"/>
            </a:xfrm>
            <a:custGeom>
              <a:avLst/>
              <a:gdLst>
                <a:gd name="T0" fmla="*/ 1422 w 2845"/>
                <a:gd name="T1" fmla="*/ 0 h 2844"/>
                <a:gd name="T2" fmla="*/ 0 w 2845"/>
                <a:gd name="T3" fmla="*/ 1422 h 2844"/>
                <a:gd name="T4" fmla="*/ 1422 w 2845"/>
                <a:gd name="T5" fmla="*/ 2844 h 2844"/>
                <a:gd name="T6" fmla="*/ 2845 w 2845"/>
                <a:gd name="T7" fmla="*/ 1422 h 2844"/>
                <a:gd name="T8" fmla="*/ 1422 w 2845"/>
                <a:gd name="T9" fmla="*/ 0 h 2844"/>
                <a:gd name="T10" fmla="*/ 1422 w 2845"/>
                <a:gd name="T11" fmla="*/ 2489 h 2844"/>
                <a:gd name="T12" fmla="*/ 356 w 2845"/>
                <a:gd name="T13" fmla="*/ 1422 h 2844"/>
                <a:gd name="T14" fmla="*/ 1422 w 2845"/>
                <a:gd name="T15" fmla="*/ 356 h 2844"/>
                <a:gd name="T16" fmla="*/ 2489 w 2845"/>
                <a:gd name="T17" fmla="*/ 1422 h 2844"/>
                <a:gd name="T18" fmla="*/ 1422 w 2845"/>
                <a:gd name="T19" fmla="*/ 2489 h 2844"/>
                <a:gd name="T20" fmla="*/ 1422 w 2845"/>
                <a:gd name="T21" fmla="*/ 2489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5" h="2844">
                  <a:moveTo>
                    <a:pt x="1422" y="0"/>
                  </a:moveTo>
                  <a:cubicBezTo>
                    <a:pt x="637" y="0"/>
                    <a:pt x="0" y="637"/>
                    <a:pt x="0" y="1422"/>
                  </a:cubicBezTo>
                  <a:cubicBezTo>
                    <a:pt x="0" y="2208"/>
                    <a:pt x="637" y="2844"/>
                    <a:pt x="1422" y="2844"/>
                  </a:cubicBezTo>
                  <a:cubicBezTo>
                    <a:pt x="2208" y="2844"/>
                    <a:pt x="2845" y="2208"/>
                    <a:pt x="2845" y="1422"/>
                  </a:cubicBezTo>
                  <a:cubicBezTo>
                    <a:pt x="2844" y="637"/>
                    <a:pt x="2208" y="1"/>
                    <a:pt x="1422" y="0"/>
                  </a:cubicBezTo>
                  <a:close/>
                  <a:moveTo>
                    <a:pt x="1422" y="2489"/>
                  </a:moveTo>
                  <a:cubicBezTo>
                    <a:pt x="833" y="2489"/>
                    <a:pt x="356" y="2011"/>
                    <a:pt x="356" y="1422"/>
                  </a:cubicBezTo>
                  <a:cubicBezTo>
                    <a:pt x="356" y="833"/>
                    <a:pt x="833" y="356"/>
                    <a:pt x="1422" y="356"/>
                  </a:cubicBezTo>
                  <a:cubicBezTo>
                    <a:pt x="2012" y="356"/>
                    <a:pt x="2489" y="833"/>
                    <a:pt x="2489" y="1422"/>
                  </a:cubicBezTo>
                  <a:cubicBezTo>
                    <a:pt x="2488" y="2011"/>
                    <a:pt x="2011" y="2488"/>
                    <a:pt x="1422" y="2489"/>
                  </a:cubicBezTo>
                  <a:close/>
                  <a:moveTo>
                    <a:pt x="1422" y="2489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95">
              <a:extLst>
                <a:ext uri="{FF2B5EF4-FFF2-40B4-BE49-F238E27FC236}">
                  <a16:creationId xmlns:a16="http://schemas.microsoft.com/office/drawing/2014/main" id="{5497474C-0DEE-4F11-BB15-CA663D5AB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6" y="1439"/>
              <a:ext cx="1870" cy="1870"/>
            </a:xfrm>
            <a:custGeom>
              <a:avLst/>
              <a:gdLst>
                <a:gd name="T0" fmla="*/ 4028 w 4622"/>
                <a:gd name="T1" fmla="*/ 1600 h 4622"/>
                <a:gd name="T2" fmla="*/ 4322 w 4622"/>
                <a:gd name="T3" fmla="*/ 1055 h 4622"/>
                <a:gd name="T4" fmla="*/ 3567 w 4622"/>
                <a:gd name="T5" fmla="*/ 299 h 4622"/>
                <a:gd name="T6" fmla="*/ 3315 w 4622"/>
                <a:gd name="T7" fmla="*/ 299 h 4622"/>
                <a:gd name="T8" fmla="*/ 3022 w 4622"/>
                <a:gd name="T9" fmla="*/ 177 h 4622"/>
                <a:gd name="T10" fmla="*/ 1777 w 4622"/>
                <a:gd name="T11" fmla="*/ 0 h 4622"/>
                <a:gd name="T12" fmla="*/ 1599 w 4622"/>
                <a:gd name="T13" fmla="*/ 594 h 4622"/>
                <a:gd name="T14" fmla="*/ 1180 w 4622"/>
                <a:gd name="T15" fmla="*/ 247 h 4622"/>
                <a:gd name="T16" fmla="*/ 299 w 4622"/>
                <a:gd name="T17" fmla="*/ 1054 h 4622"/>
                <a:gd name="T18" fmla="*/ 299 w 4622"/>
                <a:gd name="T19" fmla="*/ 1306 h 4622"/>
                <a:gd name="T20" fmla="*/ 177 w 4622"/>
                <a:gd name="T21" fmla="*/ 1600 h 4622"/>
                <a:gd name="T22" fmla="*/ 0 w 4622"/>
                <a:gd name="T23" fmla="*/ 2844 h 4622"/>
                <a:gd name="T24" fmla="*/ 594 w 4622"/>
                <a:gd name="T25" fmla="*/ 3022 h 4622"/>
                <a:gd name="T26" fmla="*/ 299 w 4622"/>
                <a:gd name="T27" fmla="*/ 3567 h 4622"/>
                <a:gd name="T28" fmla="*/ 1055 w 4622"/>
                <a:gd name="T29" fmla="*/ 4323 h 4622"/>
                <a:gd name="T30" fmla="*/ 1306 w 4622"/>
                <a:gd name="T31" fmla="*/ 4321 h 4622"/>
                <a:gd name="T32" fmla="*/ 1599 w 4622"/>
                <a:gd name="T33" fmla="*/ 4444 h 4622"/>
                <a:gd name="T34" fmla="*/ 2844 w 4622"/>
                <a:gd name="T35" fmla="*/ 4622 h 4622"/>
                <a:gd name="T36" fmla="*/ 3022 w 4622"/>
                <a:gd name="T37" fmla="*/ 4028 h 4622"/>
                <a:gd name="T38" fmla="*/ 3441 w 4622"/>
                <a:gd name="T39" fmla="*/ 4376 h 4622"/>
                <a:gd name="T40" fmla="*/ 4323 w 4622"/>
                <a:gd name="T41" fmla="*/ 3568 h 4622"/>
                <a:gd name="T42" fmla="*/ 4323 w 4622"/>
                <a:gd name="T43" fmla="*/ 3316 h 4622"/>
                <a:gd name="T44" fmla="*/ 4444 w 4622"/>
                <a:gd name="T45" fmla="*/ 3022 h 4622"/>
                <a:gd name="T46" fmla="*/ 4622 w 4622"/>
                <a:gd name="T47" fmla="*/ 1777 h 4622"/>
                <a:gd name="T48" fmla="*/ 4266 w 4622"/>
                <a:gd name="T49" fmla="*/ 2666 h 4622"/>
                <a:gd name="T50" fmla="*/ 3649 w 4622"/>
                <a:gd name="T51" fmla="*/ 2788 h 4622"/>
                <a:gd name="T52" fmla="*/ 3630 w 4622"/>
                <a:gd name="T53" fmla="*/ 3126 h 4622"/>
                <a:gd name="T54" fmla="*/ 3442 w 4622"/>
                <a:gd name="T55" fmla="*/ 3945 h 4622"/>
                <a:gd name="T56" fmla="*/ 2922 w 4622"/>
                <a:gd name="T57" fmla="*/ 3595 h 4622"/>
                <a:gd name="T58" fmla="*/ 2666 w 4622"/>
                <a:gd name="T59" fmla="*/ 3818 h 4622"/>
                <a:gd name="T60" fmla="*/ 1955 w 4622"/>
                <a:gd name="T61" fmla="*/ 4266 h 4622"/>
                <a:gd name="T62" fmla="*/ 1834 w 4622"/>
                <a:gd name="T63" fmla="*/ 3649 h 4622"/>
                <a:gd name="T64" fmla="*/ 1495 w 4622"/>
                <a:gd name="T65" fmla="*/ 3630 h 4622"/>
                <a:gd name="T66" fmla="*/ 676 w 4622"/>
                <a:gd name="T67" fmla="*/ 3442 h 4622"/>
                <a:gd name="T68" fmla="*/ 1026 w 4622"/>
                <a:gd name="T69" fmla="*/ 2922 h 4622"/>
                <a:gd name="T70" fmla="*/ 803 w 4622"/>
                <a:gd name="T71" fmla="*/ 2666 h 4622"/>
                <a:gd name="T72" fmla="*/ 355 w 4622"/>
                <a:gd name="T73" fmla="*/ 1955 h 4622"/>
                <a:gd name="T74" fmla="*/ 972 w 4622"/>
                <a:gd name="T75" fmla="*/ 1834 h 4622"/>
                <a:gd name="T76" fmla="*/ 991 w 4622"/>
                <a:gd name="T77" fmla="*/ 1495 h 4622"/>
                <a:gd name="T78" fmla="*/ 1179 w 4622"/>
                <a:gd name="T79" fmla="*/ 676 h 4622"/>
                <a:gd name="T80" fmla="*/ 1699 w 4622"/>
                <a:gd name="T81" fmla="*/ 1026 h 4622"/>
                <a:gd name="T82" fmla="*/ 1955 w 4622"/>
                <a:gd name="T83" fmla="*/ 803 h 4622"/>
                <a:gd name="T84" fmla="*/ 2666 w 4622"/>
                <a:gd name="T85" fmla="*/ 355 h 4622"/>
                <a:gd name="T86" fmla="*/ 2788 w 4622"/>
                <a:gd name="T87" fmla="*/ 972 h 4622"/>
                <a:gd name="T88" fmla="*/ 3126 w 4622"/>
                <a:gd name="T89" fmla="*/ 992 h 4622"/>
                <a:gd name="T90" fmla="*/ 3945 w 4622"/>
                <a:gd name="T91" fmla="*/ 1179 h 4622"/>
                <a:gd name="T92" fmla="*/ 3595 w 4622"/>
                <a:gd name="T93" fmla="*/ 1699 h 4622"/>
                <a:gd name="T94" fmla="*/ 3818 w 4622"/>
                <a:gd name="T95" fmla="*/ 1955 h 4622"/>
                <a:gd name="T96" fmla="*/ 4266 w 4622"/>
                <a:gd name="T97" fmla="*/ 2666 h 4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22" h="4622">
                  <a:moveTo>
                    <a:pt x="4444" y="1600"/>
                  </a:moveTo>
                  <a:lnTo>
                    <a:pt x="4028" y="1600"/>
                  </a:lnTo>
                  <a:lnTo>
                    <a:pt x="4322" y="1306"/>
                  </a:lnTo>
                  <a:cubicBezTo>
                    <a:pt x="4392" y="1237"/>
                    <a:pt x="4392" y="1124"/>
                    <a:pt x="4322" y="1055"/>
                  </a:cubicBezTo>
                  <a:lnTo>
                    <a:pt x="4322" y="1054"/>
                  </a:lnTo>
                  <a:lnTo>
                    <a:pt x="3567" y="299"/>
                  </a:lnTo>
                  <a:cubicBezTo>
                    <a:pt x="3533" y="265"/>
                    <a:pt x="3488" y="247"/>
                    <a:pt x="3441" y="247"/>
                  </a:cubicBezTo>
                  <a:cubicBezTo>
                    <a:pt x="3394" y="247"/>
                    <a:pt x="3348" y="266"/>
                    <a:pt x="3315" y="299"/>
                  </a:cubicBezTo>
                  <a:lnTo>
                    <a:pt x="3022" y="594"/>
                  </a:lnTo>
                  <a:lnTo>
                    <a:pt x="3022" y="177"/>
                  </a:lnTo>
                  <a:cubicBezTo>
                    <a:pt x="3022" y="79"/>
                    <a:pt x="2942" y="0"/>
                    <a:pt x="2844" y="0"/>
                  </a:cubicBezTo>
                  <a:lnTo>
                    <a:pt x="1777" y="0"/>
                  </a:lnTo>
                  <a:cubicBezTo>
                    <a:pt x="1679" y="0"/>
                    <a:pt x="1599" y="79"/>
                    <a:pt x="1599" y="177"/>
                  </a:cubicBezTo>
                  <a:lnTo>
                    <a:pt x="1599" y="594"/>
                  </a:lnTo>
                  <a:lnTo>
                    <a:pt x="1306" y="299"/>
                  </a:lnTo>
                  <a:cubicBezTo>
                    <a:pt x="1273" y="266"/>
                    <a:pt x="1227" y="247"/>
                    <a:pt x="1180" y="247"/>
                  </a:cubicBezTo>
                  <a:cubicBezTo>
                    <a:pt x="1133" y="247"/>
                    <a:pt x="1088" y="265"/>
                    <a:pt x="1054" y="299"/>
                  </a:cubicBezTo>
                  <a:lnTo>
                    <a:pt x="299" y="1054"/>
                  </a:lnTo>
                  <a:cubicBezTo>
                    <a:pt x="229" y="1124"/>
                    <a:pt x="229" y="1236"/>
                    <a:pt x="298" y="1306"/>
                  </a:cubicBezTo>
                  <a:cubicBezTo>
                    <a:pt x="299" y="1306"/>
                    <a:pt x="299" y="1306"/>
                    <a:pt x="299" y="1306"/>
                  </a:cubicBezTo>
                  <a:lnTo>
                    <a:pt x="594" y="1600"/>
                  </a:lnTo>
                  <a:lnTo>
                    <a:pt x="177" y="1600"/>
                  </a:lnTo>
                  <a:cubicBezTo>
                    <a:pt x="79" y="1600"/>
                    <a:pt x="0" y="1679"/>
                    <a:pt x="0" y="1777"/>
                  </a:cubicBezTo>
                  <a:lnTo>
                    <a:pt x="0" y="2844"/>
                  </a:lnTo>
                  <a:cubicBezTo>
                    <a:pt x="0" y="2942"/>
                    <a:pt x="79" y="3022"/>
                    <a:pt x="177" y="3022"/>
                  </a:cubicBezTo>
                  <a:lnTo>
                    <a:pt x="594" y="3022"/>
                  </a:lnTo>
                  <a:lnTo>
                    <a:pt x="299" y="3315"/>
                  </a:lnTo>
                  <a:cubicBezTo>
                    <a:pt x="229" y="3385"/>
                    <a:pt x="229" y="3497"/>
                    <a:pt x="299" y="3567"/>
                  </a:cubicBezTo>
                  <a:cubicBezTo>
                    <a:pt x="299" y="3567"/>
                    <a:pt x="299" y="3567"/>
                    <a:pt x="299" y="3567"/>
                  </a:cubicBezTo>
                  <a:lnTo>
                    <a:pt x="1055" y="4323"/>
                  </a:lnTo>
                  <a:cubicBezTo>
                    <a:pt x="1088" y="4356"/>
                    <a:pt x="1133" y="4374"/>
                    <a:pt x="1180" y="4375"/>
                  </a:cubicBezTo>
                  <a:cubicBezTo>
                    <a:pt x="1228" y="4374"/>
                    <a:pt x="1273" y="4355"/>
                    <a:pt x="1306" y="4321"/>
                  </a:cubicBezTo>
                  <a:lnTo>
                    <a:pt x="1599" y="4028"/>
                  </a:lnTo>
                  <a:lnTo>
                    <a:pt x="1599" y="4444"/>
                  </a:lnTo>
                  <a:cubicBezTo>
                    <a:pt x="1599" y="4542"/>
                    <a:pt x="1679" y="4622"/>
                    <a:pt x="1777" y="4622"/>
                  </a:cubicBezTo>
                  <a:lnTo>
                    <a:pt x="2844" y="4622"/>
                  </a:lnTo>
                  <a:cubicBezTo>
                    <a:pt x="2942" y="4622"/>
                    <a:pt x="3022" y="4542"/>
                    <a:pt x="3022" y="4444"/>
                  </a:cubicBezTo>
                  <a:lnTo>
                    <a:pt x="3022" y="4028"/>
                  </a:lnTo>
                  <a:lnTo>
                    <a:pt x="3315" y="4322"/>
                  </a:lnTo>
                  <a:cubicBezTo>
                    <a:pt x="3348" y="4356"/>
                    <a:pt x="3394" y="4375"/>
                    <a:pt x="3441" y="4376"/>
                  </a:cubicBezTo>
                  <a:cubicBezTo>
                    <a:pt x="3489" y="4378"/>
                    <a:pt x="3535" y="4359"/>
                    <a:pt x="3567" y="4323"/>
                  </a:cubicBezTo>
                  <a:lnTo>
                    <a:pt x="4323" y="3568"/>
                  </a:lnTo>
                  <a:cubicBezTo>
                    <a:pt x="4392" y="3499"/>
                    <a:pt x="4392" y="3386"/>
                    <a:pt x="4323" y="3316"/>
                  </a:cubicBezTo>
                  <a:cubicBezTo>
                    <a:pt x="4323" y="3316"/>
                    <a:pt x="4323" y="3316"/>
                    <a:pt x="4323" y="3316"/>
                  </a:cubicBezTo>
                  <a:lnTo>
                    <a:pt x="4028" y="3022"/>
                  </a:lnTo>
                  <a:lnTo>
                    <a:pt x="4444" y="3022"/>
                  </a:lnTo>
                  <a:cubicBezTo>
                    <a:pt x="4542" y="3022"/>
                    <a:pt x="4622" y="2942"/>
                    <a:pt x="4622" y="2844"/>
                  </a:cubicBezTo>
                  <a:lnTo>
                    <a:pt x="4622" y="1777"/>
                  </a:lnTo>
                  <a:cubicBezTo>
                    <a:pt x="4622" y="1679"/>
                    <a:pt x="4542" y="1600"/>
                    <a:pt x="4444" y="1600"/>
                  </a:cubicBezTo>
                  <a:close/>
                  <a:moveTo>
                    <a:pt x="4266" y="2666"/>
                  </a:moveTo>
                  <a:lnTo>
                    <a:pt x="3818" y="2666"/>
                  </a:lnTo>
                  <a:cubicBezTo>
                    <a:pt x="3742" y="2666"/>
                    <a:pt x="3674" y="2715"/>
                    <a:pt x="3649" y="2788"/>
                  </a:cubicBezTo>
                  <a:cubicBezTo>
                    <a:pt x="3635" y="2833"/>
                    <a:pt x="3617" y="2878"/>
                    <a:pt x="3596" y="2921"/>
                  </a:cubicBezTo>
                  <a:cubicBezTo>
                    <a:pt x="3562" y="2990"/>
                    <a:pt x="3575" y="3072"/>
                    <a:pt x="3630" y="3126"/>
                  </a:cubicBezTo>
                  <a:lnTo>
                    <a:pt x="3946" y="3441"/>
                  </a:lnTo>
                  <a:lnTo>
                    <a:pt x="3442" y="3945"/>
                  </a:lnTo>
                  <a:lnTo>
                    <a:pt x="3127" y="3629"/>
                  </a:lnTo>
                  <a:cubicBezTo>
                    <a:pt x="3073" y="3575"/>
                    <a:pt x="2990" y="3561"/>
                    <a:pt x="2922" y="3595"/>
                  </a:cubicBezTo>
                  <a:cubicBezTo>
                    <a:pt x="2879" y="3616"/>
                    <a:pt x="2834" y="3634"/>
                    <a:pt x="2788" y="3649"/>
                  </a:cubicBezTo>
                  <a:cubicBezTo>
                    <a:pt x="2715" y="3673"/>
                    <a:pt x="2666" y="3741"/>
                    <a:pt x="2666" y="3818"/>
                  </a:cubicBezTo>
                  <a:lnTo>
                    <a:pt x="2666" y="4266"/>
                  </a:lnTo>
                  <a:lnTo>
                    <a:pt x="1955" y="4266"/>
                  </a:lnTo>
                  <a:lnTo>
                    <a:pt x="1955" y="3818"/>
                  </a:lnTo>
                  <a:cubicBezTo>
                    <a:pt x="1955" y="3742"/>
                    <a:pt x="1906" y="3674"/>
                    <a:pt x="1834" y="3649"/>
                  </a:cubicBezTo>
                  <a:cubicBezTo>
                    <a:pt x="1788" y="3635"/>
                    <a:pt x="1743" y="3617"/>
                    <a:pt x="1700" y="3596"/>
                  </a:cubicBezTo>
                  <a:cubicBezTo>
                    <a:pt x="1632" y="3562"/>
                    <a:pt x="1549" y="3575"/>
                    <a:pt x="1495" y="3630"/>
                  </a:cubicBezTo>
                  <a:lnTo>
                    <a:pt x="1180" y="3946"/>
                  </a:lnTo>
                  <a:lnTo>
                    <a:pt x="676" y="3442"/>
                  </a:lnTo>
                  <a:lnTo>
                    <a:pt x="992" y="3127"/>
                  </a:lnTo>
                  <a:cubicBezTo>
                    <a:pt x="1047" y="3073"/>
                    <a:pt x="1060" y="2990"/>
                    <a:pt x="1026" y="2922"/>
                  </a:cubicBezTo>
                  <a:cubicBezTo>
                    <a:pt x="1005" y="2879"/>
                    <a:pt x="987" y="2834"/>
                    <a:pt x="973" y="2789"/>
                  </a:cubicBezTo>
                  <a:cubicBezTo>
                    <a:pt x="949" y="2715"/>
                    <a:pt x="880" y="2666"/>
                    <a:pt x="803" y="2666"/>
                  </a:cubicBezTo>
                  <a:lnTo>
                    <a:pt x="355" y="2666"/>
                  </a:lnTo>
                  <a:lnTo>
                    <a:pt x="355" y="1955"/>
                  </a:lnTo>
                  <a:lnTo>
                    <a:pt x="803" y="1955"/>
                  </a:lnTo>
                  <a:cubicBezTo>
                    <a:pt x="880" y="1955"/>
                    <a:pt x="948" y="1906"/>
                    <a:pt x="972" y="1834"/>
                  </a:cubicBezTo>
                  <a:cubicBezTo>
                    <a:pt x="986" y="1788"/>
                    <a:pt x="1004" y="1744"/>
                    <a:pt x="1025" y="1700"/>
                  </a:cubicBezTo>
                  <a:cubicBezTo>
                    <a:pt x="1059" y="1632"/>
                    <a:pt x="1046" y="1549"/>
                    <a:pt x="991" y="1495"/>
                  </a:cubicBezTo>
                  <a:lnTo>
                    <a:pt x="675" y="1180"/>
                  </a:lnTo>
                  <a:lnTo>
                    <a:pt x="1179" y="676"/>
                  </a:lnTo>
                  <a:lnTo>
                    <a:pt x="1494" y="992"/>
                  </a:lnTo>
                  <a:cubicBezTo>
                    <a:pt x="1548" y="1047"/>
                    <a:pt x="1631" y="1060"/>
                    <a:pt x="1699" y="1026"/>
                  </a:cubicBezTo>
                  <a:cubicBezTo>
                    <a:pt x="1743" y="1005"/>
                    <a:pt x="1787" y="987"/>
                    <a:pt x="1833" y="973"/>
                  </a:cubicBezTo>
                  <a:cubicBezTo>
                    <a:pt x="1906" y="949"/>
                    <a:pt x="1955" y="880"/>
                    <a:pt x="1955" y="803"/>
                  </a:cubicBezTo>
                  <a:lnTo>
                    <a:pt x="1955" y="355"/>
                  </a:lnTo>
                  <a:lnTo>
                    <a:pt x="2666" y="355"/>
                  </a:lnTo>
                  <a:lnTo>
                    <a:pt x="2666" y="803"/>
                  </a:lnTo>
                  <a:cubicBezTo>
                    <a:pt x="2666" y="880"/>
                    <a:pt x="2715" y="948"/>
                    <a:pt x="2788" y="972"/>
                  </a:cubicBezTo>
                  <a:cubicBezTo>
                    <a:pt x="2833" y="987"/>
                    <a:pt x="2878" y="1004"/>
                    <a:pt x="2921" y="1025"/>
                  </a:cubicBezTo>
                  <a:cubicBezTo>
                    <a:pt x="2989" y="1059"/>
                    <a:pt x="3072" y="1046"/>
                    <a:pt x="3126" y="992"/>
                  </a:cubicBezTo>
                  <a:lnTo>
                    <a:pt x="3441" y="675"/>
                  </a:lnTo>
                  <a:lnTo>
                    <a:pt x="3945" y="1179"/>
                  </a:lnTo>
                  <a:lnTo>
                    <a:pt x="3629" y="1494"/>
                  </a:lnTo>
                  <a:cubicBezTo>
                    <a:pt x="3575" y="1548"/>
                    <a:pt x="3561" y="1631"/>
                    <a:pt x="3595" y="1699"/>
                  </a:cubicBezTo>
                  <a:cubicBezTo>
                    <a:pt x="3616" y="1743"/>
                    <a:pt x="3634" y="1787"/>
                    <a:pt x="3648" y="1833"/>
                  </a:cubicBezTo>
                  <a:cubicBezTo>
                    <a:pt x="3673" y="1906"/>
                    <a:pt x="3741" y="1955"/>
                    <a:pt x="3818" y="1955"/>
                  </a:cubicBezTo>
                  <a:lnTo>
                    <a:pt x="4266" y="1955"/>
                  </a:lnTo>
                  <a:lnTo>
                    <a:pt x="4266" y="2666"/>
                  </a:lnTo>
                  <a:close/>
                  <a:moveTo>
                    <a:pt x="4266" y="2666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96">
              <a:extLst>
                <a:ext uri="{FF2B5EF4-FFF2-40B4-BE49-F238E27FC236}">
                  <a16:creationId xmlns:a16="http://schemas.microsoft.com/office/drawing/2014/main" id="{61082DC8-79E0-4C99-8F45-B9B9D148D2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9" y="1942"/>
              <a:ext cx="863" cy="863"/>
            </a:xfrm>
            <a:custGeom>
              <a:avLst/>
              <a:gdLst>
                <a:gd name="T0" fmla="*/ 1067 w 2133"/>
                <a:gd name="T1" fmla="*/ 0 h 2133"/>
                <a:gd name="T2" fmla="*/ 0 w 2133"/>
                <a:gd name="T3" fmla="*/ 1067 h 2133"/>
                <a:gd name="T4" fmla="*/ 1067 w 2133"/>
                <a:gd name="T5" fmla="*/ 2133 h 2133"/>
                <a:gd name="T6" fmla="*/ 2133 w 2133"/>
                <a:gd name="T7" fmla="*/ 1067 h 2133"/>
                <a:gd name="T8" fmla="*/ 1067 w 2133"/>
                <a:gd name="T9" fmla="*/ 0 h 2133"/>
                <a:gd name="T10" fmla="*/ 1067 w 2133"/>
                <a:gd name="T11" fmla="*/ 1778 h 2133"/>
                <a:gd name="T12" fmla="*/ 355 w 2133"/>
                <a:gd name="T13" fmla="*/ 1067 h 2133"/>
                <a:gd name="T14" fmla="*/ 1067 w 2133"/>
                <a:gd name="T15" fmla="*/ 356 h 2133"/>
                <a:gd name="T16" fmla="*/ 1778 w 2133"/>
                <a:gd name="T17" fmla="*/ 1067 h 2133"/>
                <a:gd name="T18" fmla="*/ 1067 w 2133"/>
                <a:gd name="T19" fmla="*/ 1778 h 2133"/>
                <a:gd name="T20" fmla="*/ 1067 w 2133"/>
                <a:gd name="T21" fmla="*/ 1778 h 2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33" h="2133">
                  <a:moveTo>
                    <a:pt x="1067" y="0"/>
                  </a:moveTo>
                  <a:cubicBezTo>
                    <a:pt x="477" y="0"/>
                    <a:pt x="0" y="478"/>
                    <a:pt x="0" y="1067"/>
                  </a:cubicBezTo>
                  <a:cubicBezTo>
                    <a:pt x="0" y="1656"/>
                    <a:pt x="477" y="2133"/>
                    <a:pt x="1067" y="2133"/>
                  </a:cubicBezTo>
                  <a:cubicBezTo>
                    <a:pt x="1656" y="2133"/>
                    <a:pt x="2133" y="1656"/>
                    <a:pt x="2133" y="1067"/>
                  </a:cubicBezTo>
                  <a:cubicBezTo>
                    <a:pt x="2133" y="478"/>
                    <a:pt x="1655" y="1"/>
                    <a:pt x="1067" y="0"/>
                  </a:cubicBezTo>
                  <a:close/>
                  <a:moveTo>
                    <a:pt x="1067" y="1778"/>
                  </a:moveTo>
                  <a:cubicBezTo>
                    <a:pt x="674" y="1778"/>
                    <a:pt x="355" y="1459"/>
                    <a:pt x="355" y="1067"/>
                  </a:cubicBezTo>
                  <a:cubicBezTo>
                    <a:pt x="355" y="674"/>
                    <a:pt x="674" y="356"/>
                    <a:pt x="1067" y="356"/>
                  </a:cubicBezTo>
                  <a:cubicBezTo>
                    <a:pt x="1459" y="356"/>
                    <a:pt x="1778" y="674"/>
                    <a:pt x="1778" y="1067"/>
                  </a:cubicBezTo>
                  <a:cubicBezTo>
                    <a:pt x="1778" y="1459"/>
                    <a:pt x="1459" y="1778"/>
                    <a:pt x="1067" y="1778"/>
                  </a:cubicBezTo>
                  <a:close/>
                  <a:moveTo>
                    <a:pt x="1067" y="1778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97">
              <a:extLst>
                <a:ext uri="{FF2B5EF4-FFF2-40B4-BE49-F238E27FC236}">
                  <a16:creationId xmlns:a16="http://schemas.microsoft.com/office/drawing/2014/main" id="{6EFC4B5C-2BEA-486E-8554-3FF2708868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" y="0"/>
              <a:ext cx="1582" cy="1582"/>
            </a:xfrm>
            <a:custGeom>
              <a:avLst/>
              <a:gdLst>
                <a:gd name="T0" fmla="*/ 637 w 3911"/>
                <a:gd name="T1" fmla="*/ 2489 h 3911"/>
                <a:gd name="T2" fmla="*/ 320 w 3911"/>
                <a:gd name="T3" fmla="*/ 2836 h 3911"/>
                <a:gd name="T4" fmla="*/ 320 w 3911"/>
                <a:gd name="T5" fmla="*/ 3087 h 3911"/>
                <a:gd name="T6" fmla="*/ 1074 w 3911"/>
                <a:gd name="T7" fmla="*/ 3591 h 3911"/>
                <a:gd name="T8" fmla="*/ 1422 w 3911"/>
                <a:gd name="T9" fmla="*/ 3274 h 3911"/>
                <a:gd name="T10" fmla="*/ 1599 w 3911"/>
                <a:gd name="T11" fmla="*/ 3911 h 3911"/>
                <a:gd name="T12" fmla="*/ 2488 w 3911"/>
                <a:gd name="T13" fmla="*/ 3733 h 3911"/>
                <a:gd name="T14" fmla="*/ 2510 w 3911"/>
                <a:gd name="T15" fmla="*/ 3265 h 3911"/>
                <a:gd name="T16" fmla="*/ 3087 w 3911"/>
                <a:gd name="T17" fmla="*/ 3591 h 3911"/>
                <a:gd name="T18" fmla="*/ 3590 w 3911"/>
                <a:gd name="T19" fmla="*/ 2836 h 3911"/>
                <a:gd name="T20" fmla="*/ 3264 w 3911"/>
                <a:gd name="T21" fmla="*/ 2512 h 3911"/>
                <a:gd name="T22" fmla="*/ 3733 w 3911"/>
                <a:gd name="T23" fmla="*/ 2489 h 3911"/>
                <a:gd name="T24" fmla="*/ 3911 w 3911"/>
                <a:gd name="T25" fmla="*/ 1600 h 3911"/>
                <a:gd name="T26" fmla="*/ 3274 w 3911"/>
                <a:gd name="T27" fmla="*/ 1422 h 3911"/>
                <a:gd name="T28" fmla="*/ 3590 w 3911"/>
                <a:gd name="T29" fmla="*/ 1075 h 3911"/>
                <a:gd name="T30" fmla="*/ 3087 w 3911"/>
                <a:gd name="T31" fmla="*/ 320 h 3911"/>
                <a:gd name="T32" fmla="*/ 2836 w 3911"/>
                <a:gd name="T33" fmla="*/ 320 h 3911"/>
                <a:gd name="T34" fmla="*/ 2489 w 3911"/>
                <a:gd name="T35" fmla="*/ 637 h 3911"/>
                <a:gd name="T36" fmla="*/ 2311 w 3911"/>
                <a:gd name="T37" fmla="*/ 0 h 3911"/>
                <a:gd name="T38" fmla="*/ 1422 w 3911"/>
                <a:gd name="T39" fmla="*/ 178 h 3911"/>
                <a:gd name="T40" fmla="*/ 1399 w 3911"/>
                <a:gd name="T41" fmla="*/ 646 h 3911"/>
                <a:gd name="T42" fmla="*/ 949 w 3911"/>
                <a:gd name="T43" fmla="*/ 268 h 3911"/>
                <a:gd name="T44" fmla="*/ 320 w 3911"/>
                <a:gd name="T45" fmla="*/ 824 h 3911"/>
                <a:gd name="T46" fmla="*/ 645 w 3911"/>
                <a:gd name="T47" fmla="*/ 1400 h 3911"/>
                <a:gd name="T48" fmla="*/ 178 w 3911"/>
                <a:gd name="T49" fmla="*/ 1422 h 3911"/>
                <a:gd name="T50" fmla="*/ 0 w 3911"/>
                <a:gd name="T51" fmla="*/ 2311 h 3911"/>
                <a:gd name="T52" fmla="*/ 355 w 3911"/>
                <a:gd name="T53" fmla="*/ 1778 h 3911"/>
                <a:gd name="T54" fmla="*/ 933 w 3911"/>
                <a:gd name="T55" fmla="*/ 1652 h 3911"/>
                <a:gd name="T56" fmla="*/ 986 w 3911"/>
                <a:gd name="T57" fmla="*/ 1238 h 3911"/>
                <a:gd name="T58" fmla="*/ 949 w 3911"/>
                <a:gd name="T59" fmla="*/ 698 h 3911"/>
                <a:gd name="T60" fmla="*/ 1449 w 3911"/>
                <a:gd name="T61" fmla="*/ 1016 h 3911"/>
                <a:gd name="T62" fmla="*/ 1778 w 3911"/>
                <a:gd name="T63" fmla="*/ 763 h 3911"/>
                <a:gd name="T64" fmla="*/ 2133 w 3911"/>
                <a:gd name="T65" fmla="*/ 356 h 3911"/>
                <a:gd name="T66" fmla="*/ 2259 w 3911"/>
                <a:gd name="T67" fmla="*/ 933 h 3911"/>
                <a:gd name="T68" fmla="*/ 2675 w 3911"/>
                <a:gd name="T69" fmla="*/ 986 h 3911"/>
                <a:gd name="T70" fmla="*/ 3213 w 3911"/>
                <a:gd name="T71" fmla="*/ 949 h 3911"/>
                <a:gd name="T72" fmla="*/ 2895 w 3911"/>
                <a:gd name="T73" fmla="*/ 1449 h 3911"/>
                <a:gd name="T74" fmla="*/ 3148 w 3911"/>
                <a:gd name="T75" fmla="*/ 1778 h 3911"/>
                <a:gd name="T76" fmla="*/ 3555 w 3911"/>
                <a:gd name="T77" fmla="*/ 2133 h 3911"/>
                <a:gd name="T78" fmla="*/ 2978 w 3911"/>
                <a:gd name="T79" fmla="*/ 2259 h 3911"/>
                <a:gd name="T80" fmla="*/ 2873 w 3911"/>
                <a:gd name="T81" fmla="*/ 2549 h 3911"/>
                <a:gd name="T82" fmla="*/ 3214 w 3911"/>
                <a:gd name="T83" fmla="*/ 2962 h 3911"/>
                <a:gd name="T84" fmla="*/ 2673 w 3911"/>
                <a:gd name="T85" fmla="*/ 2925 h 3911"/>
                <a:gd name="T86" fmla="*/ 2259 w 3911"/>
                <a:gd name="T87" fmla="*/ 2978 h 3911"/>
                <a:gd name="T88" fmla="*/ 2133 w 3911"/>
                <a:gd name="T89" fmla="*/ 3556 h 3911"/>
                <a:gd name="T90" fmla="*/ 1778 w 3911"/>
                <a:gd name="T91" fmla="*/ 3148 h 3911"/>
                <a:gd name="T92" fmla="*/ 1449 w 3911"/>
                <a:gd name="T93" fmla="*/ 2895 h 3911"/>
                <a:gd name="T94" fmla="*/ 949 w 3911"/>
                <a:gd name="T95" fmla="*/ 3214 h 3911"/>
                <a:gd name="T96" fmla="*/ 986 w 3911"/>
                <a:gd name="T97" fmla="*/ 2675 h 3911"/>
                <a:gd name="T98" fmla="*/ 1016 w 3911"/>
                <a:gd name="T99" fmla="*/ 2462 h 3911"/>
                <a:gd name="T100" fmla="*/ 763 w 3911"/>
                <a:gd name="T101" fmla="*/ 2133 h 3911"/>
                <a:gd name="T102" fmla="*/ 355 w 3911"/>
                <a:gd name="T103" fmla="*/ 1778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911" h="3911">
                  <a:moveTo>
                    <a:pt x="178" y="2489"/>
                  </a:moveTo>
                  <a:lnTo>
                    <a:pt x="637" y="2489"/>
                  </a:lnTo>
                  <a:lnTo>
                    <a:pt x="646" y="2512"/>
                  </a:lnTo>
                  <a:lnTo>
                    <a:pt x="320" y="2836"/>
                  </a:lnTo>
                  <a:cubicBezTo>
                    <a:pt x="250" y="2905"/>
                    <a:pt x="250" y="3018"/>
                    <a:pt x="320" y="3087"/>
                  </a:cubicBezTo>
                  <a:cubicBezTo>
                    <a:pt x="320" y="3087"/>
                    <a:pt x="320" y="3087"/>
                    <a:pt x="320" y="3087"/>
                  </a:cubicBezTo>
                  <a:lnTo>
                    <a:pt x="823" y="3591"/>
                  </a:lnTo>
                  <a:cubicBezTo>
                    <a:pt x="892" y="3660"/>
                    <a:pt x="1005" y="3660"/>
                    <a:pt x="1074" y="3591"/>
                  </a:cubicBezTo>
                  <a:lnTo>
                    <a:pt x="1400" y="3265"/>
                  </a:lnTo>
                  <a:lnTo>
                    <a:pt x="1422" y="3274"/>
                  </a:lnTo>
                  <a:lnTo>
                    <a:pt x="1422" y="3733"/>
                  </a:lnTo>
                  <a:cubicBezTo>
                    <a:pt x="1422" y="3832"/>
                    <a:pt x="1501" y="3911"/>
                    <a:pt x="1599" y="3911"/>
                  </a:cubicBezTo>
                  <a:lnTo>
                    <a:pt x="2310" y="3911"/>
                  </a:lnTo>
                  <a:cubicBezTo>
                    <a:pt x="2409" y="3911"/>
                    <a:pt x="2488" y="3832"/>
                    <a:pt x="2488" y="3733"/>
                  </a:cubicBezTo>
                  <a:lnTo>
                    <a:pt x="2488" y="3274"/>
                  </a:lnTo>
                  <a:lnTo>
                    <a:pt x="2510" y="3265"/>
                  </a:lnTo>
                  <a:lnTo>
                    <a:pt x="2835" y="3591"/>
                  </a:lnTo>
                  <a:cubicBezTo>
                    <a:pt x="2905" y="3660"/>
                    <a:pt x="3017" y="3660"/>
                    <a:pt x="3087" y="3591"/>
                  </a:cubicBezTo>
                  <a:lnTo>
                    <a:pt x="3590" y="3087"/>
                  </a:lnTo>
                  <a:cubicBezTo>
                    <a:pt x="3659" y="3018"/>
                    <a:pt x="3659" y="2906"/>
                    <a:pt x="3590" y="2836"/>
                  </a:cubicBezTo>
                  <a:cubicBezTo>
                    <a:pt x="3590" y="2836"/>
                    <a:pt x="3590" y="2836"/>
                    <a:pt x="3590" y="2836"/>
                  </a:cubicBezTo>
                  <a:lnTo>
                    <a:pt x="3264" y="2512"/>
                  </a:lnTo>
                  <a:lnTo>
                    <a:pt x="3274" y="2489"/>
                  </a:lnTo>
                  <a:lnTo>
                    <a:pt x="3733" y="2489"/>
                  </a:lnTo>
                  <a:cubicBezTo>
                    <a:pt x="3831" y="2489"/>
                    <a:pt x="3911" y="2409"/>
                    <a:pt x="3911" y="2311"/>
                  </a:cubicBezTo>
                  <a:lnTo>
                    <a:pt x="3911" y="1600"/>
                  </a:lnTo>
                  <a:cubicBezTo>
                    <a:pt x="3911" y="1502"/>
                    <a:pt x="3831" y="1422"/>
                    <a:pt x="3733" y="1422"/>
                  </a:cubicBezTo>
                  <a:lnTo>
                    <a:pt x="3274" y="1422"/>
                  </a:lnTo>
                  <a:cubicBezTo>
                    <a:pt x="3271" y="1415"/>
                    <a:pt x="3268" y="1407"/>
                    <a:pt x="3265" y="1400"/>
                  </a:cubicBezTo>
                  <a:lnTo>
                    <a:pt x="3590" y="1075"/>
                  </a:lnTo>
                  <a:cubicBezTo>
                    <a:pt x="3660" y="1006"/>
                    <a:pt x="3660" y="893"/>
                    <a:pt x="3590" y="824"/>
                  </a:cubicBezTo>
                  <a:lnTo>
                    <a:pt x="3087" y="320"/>
                  </a:lnTo>
                  <a:cubicBezTo>
                    <a:pt x="3054" y="287"/>
                    <a:pt x="3009" y="268"/>
                    <a:pt x="2962" y="268"/>
                  </a:cubicBezTo>
                  <a:cubicBezTo>
                    <a:pt x="2915" y="268"/>
                    <a:pt x="2869" y="287"/>
                    <a:pt x="2836" y="320"/>
                  </a:cubicBezTo>
                  <a:lnTo>
                    <a:pt x="2512" y="646"/>
                  </a:lnTo>
                  <a:lnTo>
                    <a:pt x="2489" y="637"/>
                  </a:lnTo>
                  <a:lnTo>
                    <a:pt x="2489" y="178"/>
                  </a:lnTo>
                  <a:cubicBezTo>
                    <a:pt x="2489" y="80"/>
                    <a:pt x="2409" y="0"/>
                    <a:pt x="2311" y="0"/>
                  </a:cubicBezTo>
                  <a:lnTo>
                    <a:pt x="1600" y="0"/>
                  </a:lnTo>
                  <a:cubicBezTo>
                    <a:pt x="1502" y="0"/>
                    <a:pt x="1422" y="80"/>
                    <a:pt x="1422" y="178"/>
                  </a:cubicBezTo>
                  <a:lnTo>
                    <a:pt x="1422" y="637"/>
                  </a:lnTo>
                  <a:lnTo>
                    <a:pt x="1399" y="646"/>
                  </a:lnTo>
                  <a:lnTo>
                    <a:pt x="1075" y="320"/>
                  </a:lnTo>
                  <a:cubicBezTo>
                    <a:pt x="1042" y="287"/>
                    <a:pt x="997" y="268"/>
                    <a:pt x="949" y="268"/>
                  </a:cubicBezTo>
                  <a:cubicBezTo>
                    <a:pt x="902" y="268"/>
                    <a:pt x="857" y="286"/>
                    <a:pt x="824" y="320"/>
                  </a:cubicBezTo>
                  <a:lnTo>
                    <a:pt x="320" y="824"/>
                  </a:lnTo>
                  <a:cubicBezTo>
                    <a:pt x="251" y="893"/>
                    <a:pt x="251" y="1006"/>
                    <a:pt x="320" y="1075"/>
                  </a:cubicBezTo>
                  <a:lnTo>
                    <a:pt x="645" y="1400"/>
                  </a:lnTo>
                  <a:cubicBezTo>
                    <a:pt x="642" y="1407"/>
                    <a:pt x="639" y="1415"/>
                    <a:pt x="636" y="1422"/>
                  </a:cubicBezTo>
                  <a:lnTo>
                    <a:pt x="178" y="1422"/>
                  </a:lnTo>
                  <a:cubicBezTo>
                    <a:pt x="79" y="1422"/>
                    <a:pt x="0" y="1502"/>
                    <a:pt x="0" y="1600"/>
                  </a:cubicBezTo>
                  <a:lnTo>
                    <a:pt x="0" y="2311"/>
                  </a:lnTo>
                  <a:cubicBezTo>
                    <a:pt x="0" y="2409"/>
                    <a:pt x="79" y="2489"/>
                    <a:pt x="178" y="2489"/>
                  </a:cubicBezTo>
                  <a:close/>
                  <a:moveTo>
                    <a:pt x="355" y="1778"/>
                  </a:moveTo>
                  <a:lnTo>
                    <a:pt x="763" y="1778"/>
                  </a:lnTo>
                  <a:cubicBezTo>
                    <a:pt x="841" y="1778"/>
                    <a:pt x="910" y="1727"/>
                    <a:pt x="933" y="1652"/>
                  </a:cubicBezTo>
                  <a:cubicBezTo>
                    <a:pt x="954" y="1582"/>
                    <a:pt x="982" y="1514"/>
                    <a:pt x="1016" y="1449"/>
                  </a:cubicBezTo>
                  <a:cubicBezTo>
                    <a:pt x="1054" y="1380"/>
                    <a:pt x="1042" y="1294"/>
                    <a:pt x="986" y="1238"/>
                  </a:cubicBezTo>
                  <a:lnTo>
                    <a:pt x="697" y="949"/>
                  </a:lnTo>
                  <a:lnTo>
                    <a:pt x="949" y="698"/>
                  </a:lnTo>
                  <a:lnTo>
                    <a:pt x="1236" y="986"/>
                  </a:lnTo>
                  <a:cubicBezTo>
                    <a:pt x="1293" y="1041"/>
                    <a:pt x="1379" y="1053"/>
                    <a:pt x="1449" y="1016"/>
                  </a:cubicBezTo>
                  <a:cubicBezTo>
                    <a:pt x="1514" y="982"/>
                    <a:pt x="1582" y="954"/>
                    <a:pt x="1652" y="933"/>
                  </a:cubicBezTo>
                  <a:cubicBezTo>
                    <a:pt x="1727" y="910"/>
                    <a:pt x="1778" y="841"/>
                    <a:pt x="1778" y="763"/>
                  </a:cubicBezTo>
                  <a:lnTo>
                    <a:pt x="1778" y="356"/>
                  </a:lnTo>
                  <a:lnTo>
                    <a:pt x="2133" y="356"/>
                  </a:lnTo>
                  <a:lnTo>
                    <a:pt x="2133" y="763"/>
                  </a:lnTo>
                  <a:cubicBezTo>
                    <a:pt x="2133" y="841"/>
                    <a:pt x="2184" y="910"/>
                    <a:pt x="2259" y="933"/>
                  </a:cubicBezTo>
                  <a:cubicBezTo>
                    <a:pt x="2329" y="954"/>
                    <a:pt x="2397" y="982"/>
                    <a:pt x="2462" y="1016"/>
                  </a:cubicBezTo>
                  <a:cubicBezTo>
                    <a:pt x="2532" y="1053"/>
                    <a:pt x="2618" y="1041"/>
                    <a:pt x="2675" y="986"/>
                  </a:cubicBezTo>
                  <a:lnTo>
                    <a:pt x="2962" y="698"/>
                  </a:lnTo>
                  <a:lnTo>
                    <a:pt x="3213" y="949"/>
                  </a:lnTo>
                  <a:lnTo>
                    <a:pt x="2925" y="1238"/>
                  </a:lnTo>
                  <a:cubicBezTo>
                    <a:pt x="2869" y="1294"/>
                    <a:pt x="2857" y="1380"/>
                    <a:pt x="2895" y="1449"/>
                  </a:cubicBezTo>
                  <a:cubicBezTo>
                    <a:pt x="2929" y="1514"/>
                    <a:pt x="2957" y="1582"/>
                    <a:pt x="2978" y="1652"/>
                  </a:cubicBezTo>
                  <a:cubicBezTo>
                    <a:pt x="3001" y="1727"/>
                    <a:pt x="3070" y="1778"/>
                    <a:pt x="3148" y="1778"/>
                  </a:cubicBezTo>
                  <a:lnTo>
                    <a:pt x="3555" y="1778"/>
                  </a:lnTo>
                  <a:lnTo>
                    <a:pt x="3555" y="2133"/>
                  </a:lnTo>
                  <a:lnTo>
                    <a:pt x="3148" y="2133"/>
                  </a:lnTo>
                  <a:cubicBezTo>
                    <a:pt x="3070" y="2133"/>
                    <a:pt x="3001" y="2184"/>
                    <a:pt x="2978" y="2259"/>
                  </a:cubicBezTo>
                  <a:cubicBezTo>
                    <a:pt x="2957" y="2330"/>
                    <a:pt x="2929" y="2398"/>
                    <a:pt x="2895" y="2462"/>
                  </a:cubicBezTo>
                  <a:cubicBezTo>
                    <a:pt x="2880" y="2489"/>
                    <a:pt x="2873" y="2519"/>
                    <a:pt x="2873" y="2549"/>
                  </a:cubicBezTo>
                  <a:cubicBezTo>
                    <a:pt x="2873" y="2597"/>
                    <a:pt x="2892" y="2642"/>
                    <a:pt x="2926" y="2675"/>
                  </a:cubicBezTo>
                  <a:lnTo>
                    <a:pt x="3214" y="2962"/>
                  </a:lnTo>
                  <a:lnTo>
                    <a:pt x="2962" y="3214"/>
                  </a:lnTo>
                  <a:lnTo>
                    <a:pt x="2673" y="2925"/>
                  </a:lnTo>
                  <a:cubicBezTo>
                    <a:pt x="2617" y="2869"/>
                    <a:pt x="2531" y="2857"/>
                    <a:pt x="2462" y="2895"/>
                  </a:cubicBezTo>
                  <a:cubicBezTo>
                    <a:pt x="2397" y="2929"/>
                    <a:pt x="2329" y="2957"/>
                    <a:pt x="2259" y="2978"/>
                  </a:cubicBezTo>
                  <a:cubicBezTo>
                    <a:pt x="2184" y="3001"/>
                    <a:pt x="2133" y="3070"/>
                    <a:pt x="2133" y="3148"/>
                  </a:cubicBezTo>
                  <a:lnTo>
                    <a:pt x="2133" y="3556"/>
                  </a:lnTo>
                  <a:lnTo>
                    <a:pt x="1778" y="3556"/>
                  </a:lnTo>
                  <a:lnTo>
                    <a:pt x="1778" y="3148"/>
                  </a:lnTo>
                  <a:cubicBezTo>
                    <a:pt x="1778" y="3070"/>
                    <a:pt x="1727" y="3001"/>
                    <a:pt x="1652" y="2978"/>
                  </a:cubicBezTo>
                  <a:cubicBezTo>
                    <a:pt x="1581" y="2957"/>
                    <a:pt x="1513" y="2929"/>
                    <a:pt x="1449" y="2895"/>
                  </a:cubicBezTo>
                  <a:cubicBezTo>
                    <a:pt x="1379" y="2857"/>
                    <a:pt x="1294" y="2869"/>
                    <a:pt x="1238" y="2925"/>
                  </a:cubicBezTo>
                  <a:lnTo>
                    <a:pt x="949" y="3214"/>
                  </a:lnTo>
                  <a:lnTo>
                    <a:pt x="698" y="2962"/>
                  </a:lnTo>
                  <a:lnTo>
                    <a:pt x="986" y="2675"/>
                  </a:lnTo>
                  <a:cubicBezTo>
                    <a:pt x="1019" y="2641"/>
                    <a:pt x="1038" y="2595"/>
                    <a:pt x="1038" y="2548"/>
                  </a:cubicBezTo>
                  <a:cubicBezTo>
                    <a:pt x="1038" y="2518"/>
                    <a:pt x="1031" y="2488"/>
                    <a:pt x="1016" y="2462"/>
                  </a:cubicBezTo>
                  <a:cubicBezTo>
                    <a:pt x="982" y="2398"/>
                    <a:pt x="954" y="2330"/>
                    <a:pt x="933" y="2259"/>
                  </a:cubicBezTo>
                  <a:cubicBezTo>
                    <a:pt x="910" y="2184"/>
                    <a:pt x="841" y="2133"/>
                    <a:pt x="763" y="2133"/>
                  </a:cubicBezTo>
                  <a:lnTo>
                    <a:pt x="355" y="2133"/>
                  </a:lnTo>
                  <a:lnTo>
                    <a:pt x="355" y="1778"/>
                  </a:lnTo>
                  <a:close/>
                  <a:moveTo>
                    <a:pt x="355" y="1778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98">
              <a:extLst>
                <a:ext uri="{FF2B5EF4-FFF2-40B4-BE49-F238E27FC236}">
                  <a16:creationId xmlns:a16="http://schemas.microsoft.com/office/drawing/2014/main" id="{698B293F-1239-4A9E-999C-9E629CF4DF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" y="503"/>
              <a:ext cx="576" cy="576"/>
            </a:xfrm>
            <a:custGeom>
              <a:avLst/>
              <a:gdLst>
                <a:gd name="T0" fmla="*/ 711 w 1423"/>
                <a:gd name="T1" fmla="*/ 1423 h 1423"/>
                <a:gd name="T2" fmla="*/ 1423 w 1423"/>
                <a:gd name="T3" fmla="*/ 712 h 1423"/>
                <a:gd name="T4" fmla="*/ 711 w 1423"/>
                <a:gd name="T5" fmla="*/ 0 h 1423"/>
                <a:gd name="T6" fmla="*/ 0 w 1423"/>
                <a:gd name="T7" fmla="*/ 712 h 1423"/>
                <a:gd name="T8" fmla="*/ 711 w 1423"/>
                <a:gd name="T9" fmla="*/ 1423 h 1423"/>
                <a:gd name="T10" fmla="*/ 711 w 1423"/>
                <a:gd name="T11" fmla="*/ 356 h 1423"/>
                <a:gd name="T12" fmla="*/ 1067 w 1423"/>
                <a:gd name="T13" fmla="*/ 712 h 1423"/>
                <a:gd name="T14" fmla="*/ 711 w 1423"/>
                <a:gd name="T15" fmla="*/ 1067 h 1423"/>
                <a:gd name="T16" fmla="*/ 356 w 1423"/>
                <a:gd name="T17" fmla="*/ 712 h 1423"/>
                <a:gd name="T18" fmla="*/ 711 w 1423"/>
                <a:gd name="T19" fmla="*/ 356 h 1423"/>
                <a:gd name="T20" fmla="*/ 711 w 1423"/>
                <a:gd name="T21" fmla="*/ 356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3" h="1423">
                  <a:moveTo>
                    <a:pt x="711" y="1423"/>
                  </a:moveTo>
                  <a:cubicBezTo>
                    <a:pt x="1104" y="1423"/>
                    <a:pt x="1423" y="1104"/>
                    <a:pt x="1423" y="712"/>
                  </a:cubicBezTo>
                  <a:cubicBezTo>
                    <a:pt x="1423" y="319"/>
                    <a:pt x="1104" y="0"/>
                    <a:pt x="711" y="0"/>
                  </a:cubicBezTo>
                  <a:cubicBezTo>
                    <a:pt x="319" y="0"/>
                    <a:pt x="0" y="319"/>
                    <a:pt x="0" y="712"/>
                  </a:cubicBezTo>
                  <a:cubicBezTo>
                    <a:pt x="0" y="1104"/>
                    <a:pt x="319" y="1423"/>
                    <a:pt x="711" y="1423"/>
                  </a:cubicBezTo>
                  <a:close/>
                  <a:moveTo>
                    <a:pt x="711" y="356"/>
                  </a:moveTo>
                  <a:cubicBezTo>
                    <a:pt x="908" y="356"/>
                    <a:pt x="1067" y="515"/>
                    <a:pt x="1067" y="712"/>
                  </a:cubicBezTo>
                  <a:cubicBezTo>
                    <a:pt x="1067" y="908"/>
                    <a:pt x="908" y="1067"/>
                    <a:pt x="711" y="1067"/>
                  </a:cubicBezTo>
                  <a:cubicBezTo>
                    <a:pt x="515" y="1067"/>
                    <a:pt x="356" y="908"/>
                    <a:pt x="356" y="712"/>
                  </a:cubicBezTo>
                  <a:cubicBezTo>
                    <a:pt x="356" y="515"/>
                    <a:pt x="515" y="356"/>
                    <a:pt x="711" y="356"/>
                  </a:cubicBezTo>
                  <a:close/>
                  <a:moveTo>
                    <a:pt x="711" y="356"/>
                  </a:move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97" name="Graphic 96">
            <a:extLst>
              <a:ext uri="{FF2B5EF4-FFF2-40B4-BE49-F238E27FC236}">
                <a16:creationId xmlns:a16="http://schemas.microsoft.com/office/drawing/2014/main" id="{888DE142-6960-4EE8-9104-F980A043A00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16762" y="2702940"/>
            <a:ext cx="867687" cy="867687"/>
          </a:xfrm>
          <a:prstGeom prst="rect">
            <a:avLst/>
          </a:prstGeom>
        </p:spPr>
      </p:pic>
      <p:sp>
        <p:nvSpPr>
          <p:cNvPr id="98" name="Freeform 210">
            <a:extLst>
              <a:ext uri="{FF2B5EF4-FFF2-40B4-BE49-F238E27FC236}">
                <a16:creationId xmlns:a16="http://schemas.microsoft.com/office/drawing/2014/main" id="{B2FEF257-1E5A-4D65-B847-6D76057DD2EB}"/>
              </a:ext>
            </a:extLst>
          </p:cNvPr>
          <p:cNvSpPr>
            <a:spLocks noEditPoints="1"/>
          </p:cNvSpPr>
          <p:nvPr/>
        </p:nvSpPr>
        <p:spPr bwMode="auto">
          <a:xfrm>
            <a:off x="10805897" y="3057253"/>
            <a:ext cx="773294" cy="720955"/>
          </a:xfrm>
          <a:custGeom>
            <a:avLst/>
            <a:gdLst>
              <a:gd name="T0" fmla="*/ 5035 w 6420"/>
              <a:gd name="T1" fmla="*/ 3418 h 5910"/>
              <a:gd name="T2" fmla="*/ 4693 w 6420"/>
              <a:gd name="T3" fmla="*/ 3418 h 5910"/>
              <a:gd name="T4" fmla="*/ 4550 w 6420"/>
              <a:gd name="T5" fmla="*/ 3831 h 5910"/>
              <a:gd name="T6" fmla="*/ 4853 w 6420"/>
              <a:gd name="T7" fmla="*/ 3516 h 5910"/>
              <a:gd name="T8" fmla="*/ 4875 w 6420"/>
              <a:gd name="T9" fmla="*/ 3516 h 5910"/>
              <a:gd name="T10" fmla="*/ 6221 w 6420"/>
              <a:gd name="T11" fmla="*/ 5716 h 5910"/>
              <a:gd name="T12" fmla="*/ 5464 w 6420"/>
              <a:gd name="T13" fmla="*/ 5722 h 5910"/>
              <a:gd name="T14" fmla="*/ 3306 w 6420"/>
              <a:gd name="T15" fmla="*/ 2265 h 5910"/>
              <a:gd name="T16" fmla="*/ 3306 w 6420"/>
              <a:gd name="T17" fmla="*/ 1627 h 5910"/>
              <a:gd name="T18" fmla="*/ 4146 w 6420"/>
              <a:gd name="T19" fmla="*/ 1510 h 5910"/>
              <a:gd name="T20" fmla="*/ 5061 w 6420"/>
              <a:gd name="T21" fmla="*/ 1414 h 5910"/>
              <a:gd name="T22" fmla="*/ 5112 w 6420"/>
              <a:gd name="T23" fmla="*/ 257 h 5910"/>
              <a:gd name="T24" fmla="*/ 4081 w 6420"/>
              <a:gd name="T25" fmla="*/ 225 h 5910"/>
              <a:gd name="T26" fmla="*/ 3159 w 6420"/>
              <a:gd name="T27" fmla="*/ 306 h 5910"/>
              <a:gd name="T28" fmla="*/ 3116 w 6420"/>
              <a:gd name="T29" fmla="*/ 388 h 5910"/>
              <a:gd name="T30" fmla="*/ 3114 w 6420"/>
              <a:gd name="T31" fmla="*/ 2265 h 5910"/>
              <a:gd name="T32" fmla="*/ 2050 w 6420"/>
              <a:gd name="T33" fmla="*/ 3943 h 5910"/>
              <a:gd name="T34" fmla="*/ 1556 w 6420"/>
              <a:gd name="T35" fmla="*/ 3322 h 5910"/>
              <a:gd name="T36" fmla="*/ 40 w 6420"/>
              <a:gd name="T37" fmla="*/ 5604 h 5910"/>
              <a:gd name="T38" fmla="*/ 211 w 6420"/>
              <a:gd name="T39" fmla="*/ 5910 h 5910"/>
              <a:gd name="T40" fmla="*/ 6385 w 6420"/>
              <a:gd name="T41" fmla="*/ 5807 h 5910"/>
              <a:gd name="T42" fmla="*/ 3304 w 6420"/>
              <a:gd name="T43" fmla="*/ 518 h 5910"/>
              <a:gd name="T44" fmla="*/ 4924 w 6420"/>
              <a:gd name="T45" fmla="*/ 306 h 5910"/>
              <a:gd name="T46" fmla="*/ 4081 w 6420"/>
              <a:gd name="T47" fmla="*/ 1334 h 5910"/>
              <a:gd name="T48" fmla="*/ 3304 w 6420"/>
              <a:gd name="T49" fmla="*/ 518 h 5910"/>
              <a:gd name="T50" fmla="*/ 1498 w 6420"/>
              <a:gd name="T51" fmla="*/ 5199 h 5910"/>
              <a:gd name="T52" fmla="*/ 1338 w 6420"/>
              <a:gd name="T53" fmla="*/ 5100 h 5910"/>
              <a:gd name="T54" fmla="*/ 211 w 6420"/>
              <a:gd name="T55" fmla="*/ 5722 h 5910"/>
              <a:gd name="T56" fmla="*/ 200 w 6420"/>
              <a:gd name="T57" fmla="*/ 5703 h 5910"/>
              <a:gd name="T58" fmla="*/ 1556 w 6420"/>
              <a:gd name="T59" fmla="*/ 3510 h 5910"/>
              <a:gd name="T60" fmla="*/ 1940 w 6420"/>
              <a:gd name="T61" fmla="*/ 4123 h 5910"/>
              <a:gd name="T62" fmla="*/ 1598 w 6420"/>
              <a:gd name="T63" fmla="*/ 4857 h 5910"/>
              <a:gd name="T64" fmla="*/ 3199 w 6420"/>
              <a:gd name="T65" fmla="*/ 2434 h 5910"/>
              <a:gd name="T66" fmla="*/ 3221 w 6420"/>
              <a:gd name="T67" fmla="*/ 2434 h 5910"/>
              <a:gd name="T68" fmla="*/ 1176 w 6420"/>
              <a:gd name="T69" fmla="*/ 5722 h 5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420" h="5910">
                <a:moveTo>
                  <a:pt x="6380" y="5604"/>
                </a:moveTo>
                <a:lnTo>
                  <a:pt x="5035" y="3418"/>
                </a:lnTo>
                <a:cubicBezTo>
                  <a:pt x="4998" y="3358"/>
                  <a:pt x="4934" y="3322"/>
                  <a:pt x="4864" y="3322"/>
                </a:cubicBezTo>
                <a:cubicBezTo>
                  <a:pt x="4794" y="3322"/>
                  <a:pt x="4730" y="3358"/>
                  <a:pt x="4693" y="3418"/>
                </a:cubicBezTo>
                <a:lnTo>
                  <a:pt x="4519" y="3702"/>
                </a:lnTo>
                <a:cubicBezTo>
                  <a:pt x="4492" y="3746"/>
                  <a:pt x="4505" y="3804"/>
                  <a:pt x="4550" y="3831"/>
                </a:cubicBezTo>
                <a:cubicBezTo>
                  <a:pt x="4594" y="3858"/>
                  <a:pt x="4652" y="3844"/>
                  <a:pt x="4679" y="3800"/>
                </a:cubicBezTo>
                <a:lnTo>
                  <a:pt x="4853" y="3516"/>
                </a:lnTo>
                <a:cubicBezTo>
                  <a:pt x="4854" y="3515"/>
                  <a:pt x="4857" y="3510"/>
                  <a:pt x="4864" y="3510"/>
                </a:cubicBezTo>
                <a:cubicBezTo>
                  <a:pt x="4871" y="3510"/>
                  <a:pt x="4874" y="3515"/>
                  <a:pt x="4875" y="3516"/>
                </a:cubicBezTo>
                <a:lnTo>
                  <a:pt x="6220" y="5703"/>
                </a:lnTo>
                <a:cubicBezTo>
                  <a:pt x="6221" y="5704"/>
                  <a:pt x="6224" y="5709"/>
                  <a:pt x="6221" y="5716"/>
                </a:cubicBezTo>
                <a:cubicBezTo>
                  <a:pt x="6217" y="5722"/>
                  <a:pt x="6212" y="5722"/>
                  <a:pt x="6209" y="5722"/>
                </a:cubicBezTo>
                <a:lnTo>
                  <a:pt x="5464" y="5722"/>
                </a:lnTo>
                <a:lnTo>
                  <a:pt x="3381" y="2336"/>
                </a:lnTo>
                <a:cubicBezTo>
                  <a:pt x="3362" y="2305"/>
                  <a:pt x="3336" y="2281"/>
                  <a:pt x="3306" y="2265"/>
                </a:cubicBezTo>
                <a:cubicBezTo>
                  <a:pt x="3306" y="2265"/>
                  <a:pt x="3306" y="2265"/>
                  <a:pt x="3306" y="2265"/>
                </a:cubicBezTo>
                <a:lnTo>
                  <a:pt x="3306" y="1627"/>
                </a:lnTo>
                <a:cubicBezTo>
                  <a:pt x="3385" y="1649"/>
                  <a:pt x="3461" y="1658"/>
                  <a:pt x="3535" y="1658"/>
                </a:cubicBezTo>
                <a:cubicBezTo>
                  <a:pt x="3749" y="1658"/>
                  <a:pt x="3950" y="1583"/>
                  <a:pt x="4146" y="1510"/>
                </a:cubicBezTo>
                <a:cubicBezTo>
                  <a:pt x="4418" y="1410"/>
                  <a:pt x="4675" y="1314"/>
                  <a:pt x="4952" y="1426"/>
                </a:cubicBezTo>
                <a:cubicBezTo>
                  <a:pt x="4988" y="1440"/>
                  <a:pt x="5029" y="1436"/>
                  <a:pt x="5061" y="1414"/>
                </a:cubicBezTo>
                <a:cubicBezTo>
                  <a:pt x="5093" y="1392"/>
                  <a:pt x="5112" y="1356"/>
                  <a:pt x="5112" y="1318"/>
                </a:cubicBezTo>
                <a:lnTo>
                  <a:pt x="5112" y="257"/>
                </a:lnTo>
                <a:cubicBezTo>
                  <a:pt x="5112" y="210"/>
                  <a:pt x="5084" y="168"/>
                  <a:pt x="5041" y="150"/>
                </a:cubicBezTo>
                <a:cubicBezTo>
                  <a:pt x="4689" y="0"/>
                  <a:pt x="4380" y="114"/>
                  <a:pt x="4081" y="225"/>
                </a:cubicBezTo>
                <a:cubicBezTo>
                  <a:pt x="3801" y="329"/>
                  <a:pt x="3536" y="427"/>
                  <a:pt x="3248" y="299"/>
                </a:cubicBezTo>
                <a:cubicBezTo>
                  <a:pt x="3219" y="286"/>
                  <a:pt x="3186" y="288"/>
                  <a:pt x="3159" y="306"/>
                </a:cubicBezTo>
                <a:cubicBezTo>
                  <a:pt x="3132" y="323"/>
                  <a:pt x="3116" y="353"/>
                  <a:pt x="3116" y="384"/>
                </a:cubicBezTo>
                <a:lnTo>
                  <a:pt x="3116" y="388"/>
                </a:lnTo>
                <a:cubicBezTo>
                  <a:pt x="3114" y="395"/>
                  <a:pt x="3114" y="402"/>
                  <a:pt x="3114" y="410"/>
                </a:cubicBezTo>
                <a:lnTo>
                  <a:pt x="3114" y="2265"/>
                </a:lnTo>
                <a:cubicBezTo>
                  <a:pt x="3084" y="2281"/>
                  <a:pt x="3058" y="2305"/>
                  <a:pt x="3039" y="2336"/>
                </a:cubicBezTo>
                <a:lnTo>
                  <a:pt x="2050" y="3943"/>
                </a:lnTo>
                <a:lnTo>
                  <a:pt x="1727" y="3418"/>
                </a:lnTo>
                <a:cubicBezTo>
                  <a:pt x="1690" y="3358"/>
                  <a:pt x="1626" y="3322"/>
                  <a:pt x="1556" y="3322"/>
                </a:cubicBezTo>
                <a:cubicBezTo>
                  <a:pt x="1486" y="3322"/>
                  <a:pt x="1422" y="3358"/>
                  <a:pt x="1385" y="3418"/>
                </a:cubicBezTo>
                <a:lnTo>
                  <a:pt x="40" y="5604"/>
                </a:lnTo>
                <a:cubicBezTo>
                  <a:pt x="2" y="5666"/>
                  <a:pt x="0" y="5744"/>
                  <a:pt x="35" y="5807"/>
                </a:cubicBezTo>
                <a:cubicBezTo>
                  <a:pt x="71" y="5871"/>
                  <a:pt x="138" y="5910"/>
                  <a:pt x="211" y="5910"/>
                </a:cubicBezTo>
                <a:lnTo>
                  <a:pt x="6209" y="5910"/>
                </a:lnTo>
                <a:cubicBezTo>
                  <a:pt x="6282" y="5910"/>
                  <a:pt x="6349" y="5871"/>
                  <a:pt x="6385" y="5807"/>
                </a:cubicBezTo>
                <a:cubicBezTo>
                  <a:pt x="6420" y="5744"/>
                  <a:pt x="6418" y="5666"/>
                  <a:pt x="6380" y="5604"/>
                </a:cubicBezTo>
                <a:close/>
                <a:moveTo>
                  <a:pt x="3304" y="518"/>
                </a:moveTo>
                <a:cubicBezTo>
                  <a:pt x="3608" y="601"/>
                  <a:pt x="3881" y="500"/>
                  <a:pt x="4146" y="401"/>
                </a:cubicBezTo>
                <a:cubicBezTo>
                  <a:pt x="4408" y="304"/>
                  <a:pt x="4657" y="212"/>
                  <a:pt x="4924" y="306"/>
                </a:cubicBezTo>
                <a:lnTo>
                  <a:pt x="4924" y="1218"/>
                </a:lnTo>
                <a:cubicBezTo>
                  <a:pt x="4619" y="1135"/>
                  <a:pt x="4346" y="1236"/>
                  <a:pt x="4081" y="1334"/>
                </a:cubicBezTo>
                <a:cubicBezTo>
                  <a:pt x="3819" y="1432"/>
                  <a:pt x="3571" y="1524"/>
                  <a:pt x="3304" y="1430"/>
                </a:cubicBezTo>
                <a:lnTo>
                  <a:pt x="3304" y="518"/>
                </a:lnTo>
                <a:close/>
                <a:moveTo>
                  <a:pt x="1176" y="5722"/>
                </a:moveTo>
                <a:lnTo>
                  <a:pt x="1498" y="5199"/>
                </a:lnTo>
                <a:cubicBezTo>
                  <a:pt x="1525" y="5154"/>
                  <a:pt x="1512" y="5097"/>
                  <a:pt x="1467" y="5069"/>
                </a:cubicBezTo>
                <a:cubicBezTo>
                  <a:pt x="1423" y="5042"/>
                  <a:pt x="1365" y="5056"/>
                  <a:pt x="1338" y="5100"/>
                </a:cubicBezTo>
                <a:lnTo>
                  <a:pt x="956" y="5722"/>
                </a:lnTo>
                <a:lnTo>
                  <a:pt x="211" y="5722"/>
                </a:lnTo>
                <a:cubicBezTo>
                  <a:pt x="208" y="5722"/>
                  <a:pt x="203" y="5722"/>
                  <a:pt x="199" y="5716"/>
                </a:cubicBezTo>
                <a:cubicBezTo>
                  <a:pt x="196" y="5709"/>
                  <a:pt x="199" y="5704"/>
                  <a:pt x="200" y="5703"/>
                </a:cubicBezTo>
                <a:lnTo>
                  <a:pt x="1545" y="3516"/>
                </a:lnTo>
                <a:cubicBezTo>
                  <a:pt x="1546" y="3515"/>
                  <a:pt x="1549" y="3510"/>
                  <a:pt x="1556" y="3510"/>
                </a:cubicBezTo>
                <a:cubicBezTo>
                  <a:pt x="1563" y="3510"/>
                  <a:pt x="1566" y="3515"/>
                  <a:pt x="1567" y="3516"/>
                </a:cubicBezTo>
                <a:lnTo>
                  <a:pt x="1940" y="4123"/>
                </a:lnTo>
                <a:lnTo>
                  <a:pt x="1567" y="4728"/>
                </a:lnTo>
                <a:cubicBezTo>
                  <a:pt x="1540" y="4772"/>
                  <a:pt x="1554" y="4830"/>
                  <a:pt x="1598" y="4857"/>
                </a:cubicBezTo>
                <a:cubicBezTo>
                  <a:pt x="1642" y="4884"/>
                  <a:pt x="1700" y="4871"/>
                  <a:pt x="1727" y="4826"/>
                </a:cubicBezTo>
                <a:lnTo>
                  <a:pt x="3199" y="2434"/>
                </a:lnTo>
                <a:cubicBezTo>
                  <a:pt x="3200" y="2433"/>
                  <a:pt x="3203" y="2428"/>
                  <a:pt x="3210" y="2428"/>
                </a:cubicBezTo>
                <a:cubicBezTo>
                  <a:pt x="3217" y="2428"/>
                  <a:pt x="3220" y="2433"/>
                  <a:pt x="3221" y="2434"/>
                </a:cubicBezTo>
                <a:lnTo>
                  <a:pt x="5244" y="5722"/>
                </a:lnTo>
                <a:lnTo>
                  <a:pt x="1176" y="5722"/>
                </a:lnTo>
                <a:close/>
              </a:path>
            </a:pathLst>
          </a:custGeom>
          <a:solidFill>
            <a:srgbClr val="B1C7F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34864D6D-2EF2-4A5D-860D-0B007EFEED06}"/>
              </a:ext>
            </a:extLst>
          </p:cNvPr>
          <p:cNvSpPr/>
          <p:nvPr/>
        </p:nvSpPr>
        <p:spPr>
          <a:xfrm>
            <a:off x="628200" y="3414507"/>
            <a:ext cx="3427900" cy="60148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>
              <a:spcAft>
                <a:spcPts val="600"/>
              </a:spcAft>
              <a:buClr>
                <a:schemeClr val="accent4"/>
              </a:buClr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атар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аҳола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ртиб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ол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инималлаштир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шунингдек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га қарши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амарал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мплаенс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изим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ъминла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съул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л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вф-хат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галари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8293637-ABDD-4B14-B88F-880BD0E7E3A9}"/>
              </a:ext>
            </a:extLst>
          </p:cNvPr>
          <p:cNvSpPr/>
          <p:nvPr/>
        </p:nvSpPr>
        <p:spPr>
          <a:xfrm>
            <a:off x="4389742" y="3446203"/>
            <a:ext cx="3528438" cy="60148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>
              <a:spcAft>
                <a:spcPts val="600"/>
              </a:spcAft>
              <a:buClr>
                <a:schemeClr val="accent4"/>
              </a:buClr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вф-ҳатар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ошқар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ички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азорат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амарал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малиётлар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жорий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ону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ужжатлар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ички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ужжатлар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иоя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лиш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фактлар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екширилиш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ъминла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узати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ор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B4EE72-CB0D-43FB-9600-3973C0A55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Комплаенс </a:t>
            </a:r>
            <a:r>
              <a:rPr lang="ru-RU" sz="2200" dirty="0" err="1"/>
              <a:t>бўлинманинг</a:t>
            </a:r>
            <a:r>
              <a:rPr lang="ru-RU" sz="2200" dirty="0"/>
              <a:t> </a:t>
            </a:r>
            <a:r>
              <a:rPr lang="ru-RU" sz="2200" dirty="0" err="1"/>
              <a:t>ўрни</a:t>
            </a:r>
            <a:r>
              <a:rPr lang="ru-RU" sz="2200" dirty="0"/>
              <a:t> </a:t>
            </a:r>
            <a:r>
              <a:rPr lang="ru-RU" sz="2200" dirty="0" err="1"/>
              <a:t>ва</a:t>
            </a:r>
            <a:r>
              <a:rPr lang="ru-RU" sz="2200" dirty="0"/>
              <a:t> роли: </a:t>
            </a:r>
            <a:br>
              <a:rPr lang="ru-RU" sz="2200" dirty="0"/>
            </a:br>
            <a:r>
              <a:rPr lang="ru-RU" sz="2200" dirty="0"/>
              <a:t>Ўзбекистон </a:t>
            </a:r>
            <a:r>
              <a:rPr lang="ru-RU" sz="2200" dirty="0" err="1"/>
              <a:t>Республикасида</a:t>
            </a:r>
            <a:r>
              <a:rPr lang="ru-RU" sz="2200" dirty="0"/>
              <a:t> комплаенс </a:t>
            </a:r>
            <a:r>
              <a:rPr lang="ru-RU" sz="2200" dirty="0" err="1"/>
              <a:t>функцияларини</a:t>
            </a:r>
            <a:r>
              <a:rPr lang="ru-RU" sz="2200" dirty="0"/>
              <a:t> </a:t>
            </a:r>
            <a:r>
              <a:rPr lang="ru-RU" sz="2200" dirty="0" err="1"/>
              <a:t>ташкил</a:t>
            </a:r>
            <a:r>
              <a:rPr lang="ru-RU" sz="2200" dirty="0"/>
              <a:t> </a:t>
            </a:r>
            <a:r>
              <a:rPr lang="ru-RU" sz="2200" dirty="0" err="1"/>
              <a:t>этиш</a:t>
            </a:r>
            <a:r>
              <a:rPr lang="ru-RU" sz="2200" dirty="0"/>
              <a:t> </a:t>
            </a:r>
            <a:r>
              <a:rPr lang="ru-RU" sz="2200" dirty="0" err="1"/>
              <a:t>амалиёти</a:t>
            </a:r>
            <a:r>
              <a:rPr lang="ru-RU" sz="2200" dirty="0"/>
              <a:t> (6/9)</a:t>
            </a:r>
            <a:endParaRPr lang="en-US" sz="2200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2491099-BEE8-4176-A8CF-23A9AB8687E2}"/>
              </a:ext>
            </a:extLst>
          </p:cNvPr>
          <p:cNvGrpSpPr/>
          <p:nvPr/>
        </p:nvGrpSpPr>
        <p:grpSpPr>
          <a:xfrm>
            <a:off x="-1" y="1282700"/>
            <a:ext cx="10185401" cy="1168454"/>
            <a:chOff x="-1" y="1282700"/>
            <a:chExt cx="9575801" cy="1292200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48A1050A-516E-4CC7-8533-B28CBD74DC88}"/>
                </a:ext>
              </a:extLst>
            </p:cNvPr>
            <p:cNvGrpSpPr/>
            <p:nvPr/>
          </p:nvGrpSpPr>
          <p:grpSpPr>
            <a:xfrm>
              <a:off x="-1" y="1282700"/>
              <a:ext cx="9575801" cy="1292200"/>
              <a:chOff x="-1" y="1138806"/>
              <a:chExt cx="9575801" cy="1463040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DF4228F-8CBA-4A8F-8141-36BB715019D8}"/>
                  </a:ext>
                </a:extLst>
              </p:cNvPr>
              <p:cNvSpPr/>
              <p:nvPr/>
            </p:nvSpPr>
            <p:spPr>
              <a:xfrm>
                <a:off x="-1" y="1138806"/>
                <a:ext cx="802433" cy="1463040"/>
              </a:xfrm>
              <a:prstGeom prst="rect">
                <a:avLst/>
              </a:prstGeom>
              <a:solidFill>
                <a:srgbClr val="CDF3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en-US" sz="900" dirty="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A904DDD6-CF9D-41DC-9D71-967D9EBE0DF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artisticBlur radius="3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7" t="25090" r="277" b="26127"/>
              <a:stretch/>
            </p:blipFill>
            <p:spPr>
              <a:xfrm>
                <a:off x="0" y="1138806"/>
                <a:ext cx="9575800" cy="1458253"/>
              </a:xfrm>
              <a:prstGeom prst="roundRect">
                <a:avLst>
                  <a:gd name="adj" fmla="val 50000"/>
                </a:avLst>
              </a:prstGeom>
            </p:spPr>
          </p:pic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B92940B-A4E4-48C8-9DAC-73DA6516DC3C}"/>
                </a:ext>
              </a:extLst>
            </p:cNvPr>
            <p:cNvSpPr txBox="1"/>
            <p:nvPr/>
          </p:nvSpPr>
          <p:spPr>
            <a:xfrm>
              <a:off x="416561" y="1364362"/>
              <a:ext cx="8562339" cy="1124648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Ўз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вазифалар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ажари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в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коррупцияга қарши комплаенс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изимининг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самарал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ишлашин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аъминлаш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мақсадид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комплаенс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ўлинмас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давлат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ташкилотининг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ошқа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функциялар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билан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ўзаро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ҳамкорлик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</a:rPr>
                <a:t>қилади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</a:rPr>
                <a:t>.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E2E1C76-CC27-43B8-BC30-05DF30234C9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38775" y="1123643"/>
            <a:ext cx="1560862" cy="1375966"/>
            <a:chOff x="6416" y="653"/>
            <a:chExt cx="1089" cy="960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D87B21D3-DFE1-4A4A-9B5F-8FAB23ECEBE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16" y="653"/>
              <a:ext cx="1089" cy="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B5CB770-A786-422A-951A-5525748D3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4" y="1377"/>
              <a:ext cx="1091" cy="238"/>
            </a:xfrm>
            <a:custGeom>
              <a:avLst/>
              <a:gdLst>
                <a:gd name="T0" fmla="*/ 363 w 454"/>
                <a:gd name="T1" fmla="*/ 0 h 99"/>
                <a:gd name="T2" fmla="*/ 281 w 454"/>
                <a:gd name="T3" fmla="*/ 31 h 99"/>
                <a:gd name="T4" fmla="*/ 281 w 454"/>
                <a:gd name="T5" fmla="*/ 29 h 99"/>
                <a:gd name="T6" fmla="*/ 192 w 454"/>
                <a:gd name="T7" fmla="*/ 55 h 99"/>
                <a:gd name="T8" fmla="*/ 100 w 454"/>
                <a:gd name="T9" fmla="*/ 36 h 99"/>
                <a:gd name="T10" fmla="*/ 0 w 454"/>
                <a:gd name="T11" fmla="*/ 67 h 99"/>
                <a:gd name="T12" fmla="*/ 100 w 454"/>
                <a:gd name="T13" fmla="*/ 99 h 99"/>
                <a:gd name="T14" fmla="*/ 200 w 454"/>
                <a:gd name="T15" fmla="*/ 69 h 99"/>
                <a:gd name="T16" fmla="*/ 289 w 454"/>
                <a:gd name="T17" fmla="*/ 50 h 99"/>
                <a:gd name="T18" fmla="*/ 363 w 454"/>
                <a:gd name="T19" fmla="*/ 63 h 99"/>
                <a:gd name="T20" fmla="*/ 454 w 454"/>
                <a:gd name="T21" fmla="*/ 31 h 99"/>
                <a:gd name="T22" fmla="*/ 363 w 454"/>
                <a:gd name="T2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4" h="99">
                  <a:moveTo>
                    <a:pt x="363" y="0"/>
                  </a:moveTo>
                  <a:cubicBezTo>
                    <a:pt x="313" y="0"/>
                    <a:pt x="281" y="14"/>
                    <a:pt x="281" y="31"/>
                  </a:cubicBezTo>
                  <a:cubicBezTo>
                    <a:pt x="281" y="29"/>
                    <a:pt x="281" y="29"/>
                    <a:pt x="281" y="29"/>
                  </a:cubicBezTo>
                  <a:cubicBezTo>
                    <a:pt x="192" y="55"/>
                    <a:pt x="192" y="55"/>
                    <a:pt x="192" y="55"/>
                  </a:cubicBezTo>
                  <a:cubicBezTo>
                    <a:pt x="176" y="44"/>
                    <a:pt x="141" y="36"/>
                    <a:pt x="100" y="36"/>
                  </a:cubicBezTo>
                  <a:cubicBezTo>
                    <a:pt x="45" y="36"/>
                    <a:pt x="0" y="50"/>
                    <a:pt x="0" y="67"/>
                  </a:cubicBezTo>
                  <a:cubicBezTo>
                    <a:pt x="0" y="85"/>
                    <a:pt x="45" y="99"/>
                    <a:pt x="100" y="99"/>
                  </a:cubicBezTo>
                  <a:cubicBezTo>
                    <a:pt x="153" y="99"/>
                    <a:pt x="197" y="86"/>
                    <a:pt x="200" y="69"/>
                  </a:cubicBezTo>
                  <a:cubicBezTo>
                    <a:pt x="289" y="50"/>
                    <a:pt x="289" y="50"/>
                    <a:pt x="289" y="50"/>
                  </a:cubicBezTo>
                  <a:cubicBezTo>
                    <a:pt x="305" y="59"/>
                    <a:pt x="330" y="63"/>
                    <a:pt x="363" y="63"/>
                  </a:cubicBezTo>
                  <a:cubicBezTo>
                    <a:pt x="413" y="63"/>
                    <a:pt x="454" y="49"/>
                    <a:pt x="454" y="31"/>
                  </a:cubicBezTo>
                  <a:cubicBezTo>
                    <a:pt x="454" y="14"/>
                    <a:pt x="413" y="0"/>
                    <a:pt x="363" y="0"/>
                  </a:cubicBezTo>
                </a:path>
              </a:pathLst>
            </a:custGeom>
            <a:solidFill>
              <a:srgbClr val="D4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Oval 6">
              <a:extLst>
                <a:ext uri="{FF2B5EF4-FFF2-40B4-BE49-F238E27FC236}">
                  <a16:creationId xmlns:a16="http://schemas.microsoft.com/office/drawing/2014/main" id="{6D5A6518-EB0E-45E8-A532-C23BFBD5D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6" y="1411"/>
              <a:ext cx="361" cy="96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656AE3C4-D277-4BE3-93C9-5A960FF301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6" y="1370"/>
              <a:ext cx="361" cy="89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Oval 8">
              <a:extLst>
                <a:ext uri="{FF2B5EF4-FFF2-40B4-BE49-F238E27FC236}">
                  <a16:creationId xmlns:a16="http://schemas.microsoft.com/office/drawing/2014/main" id="{2620FD89-225A-4810-BECA-EB6D562B5D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6" y="1324"/>
              <a:ext cx="361" cy="9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Oval 9">
              <a:extLst>
                <a:ext uri="{FF2B5EF4-FFF2-40B4-BE49-F238E27FC236}">
                  <a16:creationId xmlns:a16="http://schemas.microsoft.com/office/drawing/2014/main" id="{78943297-BCE7-4547-AD94-8D66C19216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5" y="1255"/>
              <a:ext cx="262" cy="69"/>
            </a:xfrm>
            <a:prstGeom prst="ellipse">
              <a:avLst/>
            </a:prstGeom>
            <a:solidFill>
              <a:srgbClr val="D4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10">
              <a:extLst>
                <a:ext uri="{FF2B5EF4-FFF2-40B4-BE49-F238E27FC236}">
                  <a16:creationId xmlns:a16="http://schemas.microsoft.com/office/drawing/2014/main" id="{330796C7-53A2-4370-BF95-182D601B7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4" y="1259"/>
              <a:ext cx="226" cy="61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77F7D4FA-1858-4142-BEB8-004806E9E2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4" y="1228"/>
              <a:ext cx="226" cy="60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92E9551-A2FA-4B99-98AB-4B442E52C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5" y="1252"/>
              <a:ext cx="125" cy="173"/>
            </a:xfrm>
            <a:custGeom>
              <a:avLst/>
              <a:gdLst>
                <a:gd name="T0" fmla="*/ 0 w 125"/>
                <a:gd name="T1" fmla="*/ 130 h 173"/>
                <a:gd name="T2" fmla="*/ 125 w 125"/>
                <a:gd name="T3" fmla="*/ 0 h 173"/>
                <a:gd name="T4" fmla="*/ 125 w 125"/>
                <a:gd name="T5" fmla="*/ 63 h 173"/>
                <a:gd name="T6" fmla="*/ 62 w 125"/>
                <a:gd name="T7" fmla="*/ 173 h 173"/>
                <a:gd name="T8" fmla="*/ 0 w 125"/>
                <a:gd name="T9" fmla="*/ 13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73">
                  <a:moveTo>
                    <a:pt x="0" y="130"/>
                  </a:moveTo>
                  <a:lnTo>
                    <a:pt x="125" y="0"/>
                  </a:lnTo>
                  <a:lnTo>
                    <a:pt x="125" y="63"/>
                  </a:lnTo>
                  <a:lnTo>
                    <a:pt x="62" y="173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3">
              <a:extLst>
                <a:ext uri="{FF2B5EF4-FFF2-40B4-BE49-F238E27FC236}">
                  <a16:creationId xmlns:a16="http://schemas.microsoft.com/office/drawing/2014/main" id="{C3C5A0DB-3F24-4E1E-801D-AEB2112D14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4" y="1197"/>
              <a:ext cx="226" cy="6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Oval 14">
              <a:extLst>
                <a:ext uri="{FF2B5EF4-FFF2-40B4-BE49-F238E27FC236}">
                  <a16:creationId xmlns:a16="http://schemas.microsoft.com/office/drawing/2014/main" id="{24576E08-23EB-4661-BDBF-228A5FFB1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4" y="1474"/>
              <a:ext cx="380" cy="12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0F485876-E2B8-4B50-B12D-7A2CCF88A4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4" y="1430"/>
              <a:ext cx="380" cy="10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6">
              <a:extLst>
                <a:ext uri="{FF2B5EF4-FFF2-40B4-BE49-F238E27FC236}">
                  <a16:creationId xmlns:a16="http://schemas.microsoft.com/office/drawing/2014/main" id="{E38A2A2C-A1DF-42AB-9093-97A4FBDB1E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4" y="1370"/>
              <a:ext cx="380" cy="1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3E0C6217-3190-4369-8FB3-2A343E2705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7" y="1339"/>
              <a:ext cx="301" cy="65"/>
            </a:xfrm>
            <a:prstGeom prst="ellipse">
              <a:avLst/>
            </a:pr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18">
              <a:extLst>
                <a:ext uri="{FF2B5EF4-FFF2-40B4-BE49-F238E27FC236}">
                  <a16:creationId xmlns:a16="http://schemas.microsoft.com/office/drawing/2014/main" id="{9AA55A00-C82C-4002-8C60-8884A9AEA6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1" y="1206"/>
              <a:ext cx="190" cy="44"/>
            </a:xfrm>
            <a:prstGeom prst="ellipse">
              <a:avLst/>
            </a:pr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19">
              <a:extLst>
                <a:ext uri="{FF2B5EF4-FFF2-40B4-BE49-F238E27FC236}">
                  <a16:creationId xmlns:a16="http://schemas.microsoft.com/office/drawing/2014/main" id="{BCD5E509-269B-4BAA-9592-08D35F3C5B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5" y="1389"/>
              <a:ext cx="318" cy="82"/>
            </a:xfrm>
            <a:prstGeom prst="ellipse">
              <a:avLst/>
            </a:pr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511839F3-EB1B-47F5-BF7F-0DA4FFED9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4" y="1389"/>
              <a:ext cx="279" cy="145"/>
            </a:xfrm>
            <a:custGeom>
              <a:avLst/>
              <a:gdLst>
                <a:gd name="T0" fmla="*/ 0 w 279"/>
                <a:gd name="T1" fmla="*/ 41 h 145"/>
                <a:gd name="T2" fmla="*/ 279 w 279"/>
                <a:gd name="T3" fmla="*/ 0 h 145"/>
                <a:gd name="T4" fmla="*/ 279 w 279"/>
                <a:gd name="T5" fmla="*/ 87 h 145"/>
                <a:gd name="T6" fmla="*/ 0 w 279"/>
                <a:gd name="T7" fmla="*/ 145 h 145"/>
                <a:gd name="T8" fmla="*/ 0 w 279"/>
                <a:gd name="T9" fmla="*/ 4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145">
                  <a:moveTo>
                    <a:pt x="0" y="41"/>
                  </a:moveTo>
                  <a:lnTo>
                    <a:pt x="279" y="0"/>
                  </a:lnTo>
                  <a:lnTo>
                    <a:pt x="279" y="87"/>
                  </a:lnTo>
                  <a:lnTo>
                    <a:pt x="0" y="145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D7144027-AE69-4A65-B69A-2ED482DA9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" y="1370"/>
              <a:ext cx="296" cy="60"/>
            </a:xfrm>
            <a:custGeom>
              <a:avLst/>
              <a:gdLst>
                <a:gd name="T0" fmla="*/ 17 w 296"/>
                <a:gd name="T1" fmla="*/ 60 h 60"/>
                <a:gd name="T2" fmla="*/ 296 w 296"/>
                <a:gd name="T3" fmla="*/ 19 h 60"/>
                <a:gd name="T4" fmla="*/ 279 w 296"/>
                <a:gd name="T5" fmla="*/ 0 h 60"/>
                <a:gd name="T6" fmla="*/ 0 w 296"/>
                <a:gd name="T7" fmla="*/ 39 h 60"/>
                <a:gd name="T8" fmla="*/ 17 w 296"/>
                <a:gd name="T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6" h="60">
                  <a:moveTo>
                    <a:pt x="17" y="60"/>
                  </a:moveTo>
                  <a:lnTo>
                    <a:pt x="296" y="19"/>
                  </a:lnTo>
                  <a:lnTo>
                    <a:pt x="279" y="0"/>
                  </a:lnTo>
                  <a:lnTo>
                    <a:pt x="0" y="39"/>
                  </a:lnTo>
                  <a:lnTo>
                    <a:pt x="17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AD1A75B6-7BEE-4362-A652-8D32B6DB8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9" y="1247"/>
              <a:ext cx="161" cy="135"/>
            </a:xfrm>
            <a:custGeom>
              <a:avLst/>
              <a:gdLst>
                <a:gd name="T0" fmla="*/ 161 w 161"/>
                <a:gd name="T1" fmla="*/ 5 h 135"/>
                <a:gd name="T2" fmla="*/ 139 w 161"/>
                <a:gd name="T3" fmla="*/ 0 h 135"/>
                <a:gd name="T4" fmla="*/ 0 w 161"/>
                <a:gd name="T5" fmla="*/ 130 h 135"/>
                <a:gd name="T6" fmla="*/ 36 w 161"/>
                <a:gd name="T7" fmla="*/ 135 h 135"/>
                <a:gd name="T8" fmla="*/ 161 w 161"/>
                <a:gd name="T9" fmla="*/ 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" h="135">
                  <a:moveTo>
                    <a:pt x="161" y="5"/>
                  </a:moveTo>
                  <a:lnTo>
                    <a:pt x="139" y="0"/>
                  </a:lnTo>
                  <a:lnTo>
                    <a:pt x="0" y="130"/>
                  </a:lnTo>
                  <a:lnTo>
                    <a:pt x="36" y="135"/>
                  </a:lnTo>
                  <a:lnTo>
                    <a:pt x="161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">
              <a:extLst>
                <a:ext uri="{FF2B5EF4-FFF2-40B4-BE49-F238E27FC236}">
                  <a16:creationId xmlns:a16="http://schemas.microsoft.com/office/drawing/2014/main" id="{C96E80C9-572C-401F-A099-1671861BA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9" y="805"/>
              <a:ext cx="41" cy="41"/>
            </a:xfrm>
            <a:custGeom>
              <a:avLst/>
              <a:gdLst>
                <a:gd name="T0" fmla="*/ 4 w 17"/>
                <a:gd name="T1" fmla="*/ 17 h 17"/>
                <a:gd name="T2" fmla="*/ 15 w 17"/>
                <a:gd name="T3" fmla="*/ 13 h 17"/>
                <a:gd name="T4" fmla="*/ 13 w 17"/>
                <a:gd name="T5" fmla="*/ 0 h 17"/>
                <a:gd name="T6" fmla="*/ 2 w 17"/>
                <a:gd name="T7" fmla="*/ 4 h 17"/>
                <a:gd name="T8" fmla="*/ 4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4" y="17"/>
                  </a:moveTo>
                  <a:cubicBezTo>
                    <a:pt x="6" y="17"/>
                    <a:pt x="12" y="15"/>
                    <a:pt x="15" y="13"/>
                  </a:cubicBezTo>
                  <a:cubicBezTo>
                    <a:pt x="17" y="10"/>
                    <a:pt x="13" y="0"/>
                    <a:pt x="13" y="0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0" y="16"/>
                    <a:pt x="4" y="17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4">
              <a:extLst>
                <a:ext uri="{FF2B5EF4-FFF2-40B4-BE49-F238E27FC236}">
                  <a16:creationId xmlns:a16="http://schemas.microsoft.com/office/drawing/2014/main" id="{1DBFB5D1-25A7-4FE2-B920-D0019A24E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" y="1129"/>
              <a:ext cx="53" cy="97"/>
            </a:xfrm>
            <a:custGeom>
              <a:avLst/>
              <a:gdLst>
                <a:gd name="T0" fmla="*/ 3 w 22"/>
                <a:gd name="T1" fmla="*/ 20 h 40"/>
                <a:gd name="T2" fmla="*/ 4 w 22"/>
                <a:gd name="T3" fmla="*/ 31 h 40"/>
                <a:gd name="T4" fmla="*/ 1 w 22"/>
                <a:gd name="T5" fmla="*/ 38 h 40"/>
                <a:gd name="T6" fmla="*/ 8 w 22"/>
                <a:gd name="T7" fmla="*/ 38 h 40"/>
                <a:gd name="T8" fmla="*/ 16 w 22"/>
                <a:gd name="T9" fmla="*/ 30 h 40"/>
                <a:gd name="T10" fmla="*/ 16 w 22"/>
                <a:gd name="T11" fmla="*/ 21 h 40"/>
                <a:gd name="T12" fmla="*/ 17 w 22"/>
                <a:gd name="T13" fmla="*/ 10 h 40"/>
                <a:gd name="T14" fmla="*/ 3 w 22"/>
                <a:gd name="T1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40">
                  <a:moveTo>
                    <a:pt x="3" y="20"/>
                  </a:moveTo>
                  <a:cubicBezTo>
                    <a:pt x="4" y="22"/>
                    <a:pt x="5" y="29"/>
                    <a:pt x="4" y="31"/>
                  </a:cubicBezTo>
                  <a:cubicBezTo>
                    <a:pt x="3" y="33"/>
                    <a:pt x="0" y="36"/>
                    <a:pt x="1" y="38"/>
                  </a:cubicBezTo>
                  <a:cubicBezTo>
                    <a:pt x="2" y="40"/>
                    <a:pt x="4" y="40"/>
                    <a:pt x="8" y="38"/>
                  </a:cubicBezTo>
                  <a:cubicBezTo>
                    <a:pt x="11" y="36"/>
                    <a:pt x="16" y="34"/>
                    <a:pt x="16" y="30"/>
                  </a:cubicBezTo>
                  <a:cubicBezTo>
                    <a:pt x="15" y="27"/>
                    <a:pt x="15" y="23"/>
                    <a:pt x="16" y="21"/>
                  </a:cubicBezTo>
                  <a:cubicBezTo>
                    <a:pt x="18" y="18"/>
                    <a:pt x="22" y="19"/>
                    <a:pt x="17" y="10"/>
                  </a:cubicBezTo>
                  <a:cubicBezTo>
                    <a:pt x="11" y="0"/>
                    <a:pt x="3" y="10"/>
                    <a:pt x="3" y="20"/>
                  </a:cubicBezTo>
                  <a:close/>
                </a:path>
              </a:pathLst>
            </a:custGeom>
            <a:solidFill>
              <a:srgbClr val="2A2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5">
              <a:extLst>
                <a:ext uri="{FF2B5EF4-FFF2-40B4-BE49-F238E27FC236}">
                  <a16:creationId xmlns:a16="http://schemas.microsoft.com/office/drawing/2014/main" id="{7217FC92-4220-44DA-85D9-B44E996DE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9" y="1161"/>
              <a:ext cx="26" cy="43"/>
            </a:xfrm>
            <a:custGeom>
              <a:avLst/>
              <a:gdLst>
                <a:gd name="T0" fmla="*/ 7 w 11"/>
                <a:gd name="T1" fmla="*/ 4 h 18"/>
                <a:gd name="T2" fmla="*/ 11 w 11"/>
                <a:gd name="T3" fmla="*/ 16 h 18"/>
                <a:gd name="T4" fmla="*/ 11 w 11"/>
                <a:gd name="T5" fmla="*/ 16 h 18"/>
                <a:gd name="T6" fmla="*/ 9 w 11"/>
                <a:gd name="T7" fmla="*/ 18 h 18"/>
                <a:gd name="T8" fmla="*/ 3 w 11"/>
                <a:gd name="T9" fmla="*/ 6 h 18"/>
                <a:gd name="T10" fmla="*/ 7 w 11"/>
                <a:gd name="T1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8">
                  <a:moveTo>
                    <a:pt x="7" y="4"/>
                  </a:moveTo>
                  <a:cubicBezTo>
                    <a:pt x="8" y="8"/>
                    <a:pt x="9" y="12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7" y="12"/>
                    <a:pt x="5" y="9"/>
                    <a:pt x="3" y="6"/>
                  </a:cubicBezTo>
                  <a:cubicBezTo>
                    <a:pt x="0" y="2"/>
                    <a:pt x="4" y="0"/>
                    <a:pt x="7" y="4"/>
                  </a:cubicBezTo>
                  <a:close/>
                </a:path>
              </a:pathLst>
            </a:custGeom>
            <a:solidFill>
              <a:srgbClr val="2A2A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6">
              <a:extLst>
                <a:ext uri="{FF2B5EF4-FFF2-40B4-BE49-F238E27FC236}">
                  <a16:creationId xmlns:a16="http://schemas.microsoft.com/office/drawing/2014/main" id="{9A54DAF6-06C5-4A13-ABCB-4AB5F1204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8" y="1158"/>
              <a:ext cx="65" cy="77"/>
            </a:xfrm>
            <a:custGeom>
              <a:avLst/>
              <a:gdLst>
                <a:gd name="T0" fmla="*/ 9 w 27"/>
                <a:gd name="T1" fmla="*/ 14 h 32"/>
                <a:gd name="T2" fmla="*/ 6 w 27"/>
                <a:gd name="T3" fmla="*/ 24 h 32"/>
                <a:gd name="T4" fmla="*/ 0 w 27"/>
                <a:gd name="T5" fmla="*/ 29 h 32"/>
                <a:gd name="T6" fmla="*/ 6 w 27"/>
                <a:gd name="T7" fmla="*/ 32 h 32"/>
                <a:gd name="T8" fmla="*/ 16 w 27"/>
                <a:gd name="T9" fmla="*/ 29 h 32"/>
                <a:gd name="T10" fmla="*/ 21 w 27"/>
                <a:gd name="T11" fmla="*/ 20 h 32"/>
                <a:gd name="T12" fmla="*/ 26 w 27"/>
                <a:gd name="T13" fmla="*/ 10 h 32"/>
                <a:gd name="T14" fmla="*/ 9 w 27"/>
                <a:gd name="T15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2">
                  <a:moveTo>
                    <a:pt x="9" y="14"/>
                  </a:moveTo>
                  <a:cubicBezTo>
                    <a:pt x="9" y="16"/>
                    <a:pt x="7" y="23"/>
                    <a:pt x="6" y="24"/>
                  </a:cubicBezTo>
                  <a:cubicBezTo>
                    <a:pt x="4" y="26"/>
                    <a:pt x="0" y="27"/>
                    <a:pt x="0" y="29"/>
                  </a:cubicBezTo>
                  <a:cubicBezTo>
                    <a:pt x="0" y="31"/>
                    <a:pt x="1" y="32"/>
                    <a:pt x="6" y="32"/>
                  </a:cubicBezTo>
                  <a:cubicBezTo>
                    <a:pt x="10" y="32"/>
                    <a:pt x="16" y="32"/>
                    <a:pt x="16" y="29"/>
                  </a:cubicBezTo>
                  <a:cubicBezTo>
                    <a:pt x="17" y="25"/>
                    <a:pt x="19" y="22"/>
                    <a:pt x="21" y="20"/>
                  </a:cubicBezTo>
                  <a:cubicBezTo>
                    <a:pt x="24" y="18"/>
                    <a:pt x="27" y="21"/>
                    <a:pt x="26" y="10"/>
                  </a:cubicBezTo>
                  <a:cubicBezTo>
                    <a:pt x="26" y="0"/>
                    <a:pt x="13" y="5"/>
                    <a:pt x="9" y="14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7">
              <a:extLst>
                <a:ext uri="{FF2B5EF4-FFF2-40B4-BE49-F238E27FC236}">
                  <a16:creationId xmlns:a16="http://schemas.microsoft.com/office/drawing/2014/main" id="{20A806D3-44FD-47FC-A351-026D8928D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4" y="1190"/>
              <a:ext cx="14" cy="43"/>
            </a:xfrm>
            <a:custGeom>
              <a:avLst/>
              <a:gdLst>
                <a:gd name="T0" fmla="*/ 6 w 6"/>
                <a:gd name="T1" fmla="*/ 5 h 18"/>
                <a:gd name="T2" fmla="*/ 5 w 6"/>
                <a:gd name="T3" fmla="*/ 18 h 18"/>
                <a:gd name="T4" fmla="*/ 5 w 6"/>
                <a:gd name="T5" fmla="*/ 18 h 18"/>
                <a:gd name="T6" fmla="*/ 2 w 6"/>
                <a:gd name="T7" fmla="*/ 18 h 18"/>
                <a:gd name="T8" fmla="*/ 2 w 6"/>
                <a:gd name="T9" fmla="*/ 5 h 18"/>
                <a:gd name="T10" fmla="*/ 6 w 6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8">
                  <a:moveTo>
                    <a:pt x="6" y="5"/>
                  </a:moveTo>
                  <a:cubicBezTo>
                    <a:pt x="5" y="9"/>
                    <a:pt x="4" y="13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2"/>
                    <a:pt x="3" y="9"/>
                    <a:pt x="2" y="5"/>
                  </a:cubicBezTo>
                  <a:cubicBezTo>
                    <a:pt x="0" y="0"/>
                    <a:pt x="5" y="0"/>
                    <a:pt x="6" y="5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8">
              <a:extLst>
                <a:ext uri="{FF2B5EF4-FFF2-40B4-BE49-F238E27FC236}">
                  <a16:creationId xmlns:a16="http://schemas.microsoft.com/office/drawing/2014/main" id="{EC987F2D-2866-44BA-89AF-A6BE05F6C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8" y="1170"/>
              <a:ext cx="65" cy="65"/>
            </a:xfrm>
            <a:custGeom>
              <a:avLst/>
              <a:gdLst>
                <a:gd name="T0" fmla="*/ 5 w 27"/>
                <a:gd name="T1" fmla="*/ 20 h 27"/>
                <a:gd name="T2" fmla="*/ 0 w 27"/>
                <a:gd name="T3" fmla="*/ 24 h 27"/>
                <a:gd name="T4" fmla="*/ 6 w 27"/>
                <a:gd name="T5" fmla="*/ 27 h 27"/>
                <a:gd name="T6" fmla="*/ 16 w 27"/>
                <a:gd name="T7" fmla="*/ 24 h 27"/>
                <a:gd name="T8" fmla="*/ 21 w 27"/>
                <a:gd name="T9" fmla="*/ 15 h 27"/>
                <a:gd name="T10" fmla="*/ 26 w 27"/>
                <a:gd name="T11" fmla="*/ 5 h 27"/>
                <a:gd name="T12" fmla="*/ 23 w 27"/>
                <a:gd name="T13" fmla="*/ 0 h 27"/>
                <a:gd name="T14" fmla="*/ 19 w 27"/>
                <a:gd name="T15" fmla="*/ 7 h 27"/>
                <a:gd name="T16" fmla="*/ 16 w 27"/>
                <a:gd name="T17" fmla="*/ 19 h 27"/>
                <a:gd name="T18" fmla="*/ 5 w 27"/>
                <a:gd name="T19" fmla="*/ 2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5" y="20"/>
                  </a:moveTo>
                  <a:cubicBezTo>
                    <a:pt x="3" y="21"/>
                    <a:pt x="0" y="22"/>
                    <a:pt x="0" y="24"/>
                  </a:cubicBezTo>
                  <a:cubicBezTo>
                    <a:pt x="0" y="26"/>
                    <a:pt x="1" y="27"/>
                    <a:pt x="6" y="27"/>
                  </a:cubicBezTo>
                  <a:cubicBezTo>
                    <a:pt x="10" y="27"/>
                    <a:pt x="16" y="27"/>
                    <a:pt x="16" y="24"/>
                  </a:cubicBezTo>
                  <a:cubicBezTo>
                    <a:pt x="17" y="20"/>
                    <a:pt x="19" y="17"/>
                    <a:pt x="21" y="15"/>
                  </a:cubicBezTo>
                  <a:cubicBezTo>
                    <a:pt x="24" y="13"/>
                    <a:pt x="27" y="16"/>
                    <a:pt x="26" y="5"/>
                  </a:cubicBezTo>
                  <a:cubicBezTo>
                    <a:pt x="26" y="2"/>
                    <a:pt x="25" y="0"/>
                    <a:pt x="23" y="0"/>
                  </a:cubicBezTo>
                  <a:cubicBezTo>
                    <a:pt x="20" y="2"/>
                    <a:pt x="19" y="6"/>
                    <a:pt x="19" y="7"/>
                  </a:cubicBezTo>
                  <a:cubicBezTo>
                    <a:pt x="19" y="10"/>
                    <a:pt x="19" y="14"/>
                    <a:pt x="16" y="19"/>
                  </a:cubicBezTo>
                  <a:cubicBezTo>
                    <a:pt x="13" y="23"/>
                    <a:pt x="8" y="21"/>
                    <a:pt x="5" y="20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9">
              <a:extLst>
                <a:ext uri="{FF2B5EF4-FFF2-40B4-BE49-F238E27FC236}">
                  <a16:creationId xmlns:a16="http://schemas.microsoft.com/office/drawing/2014/main" id="{9A418EBB-F79D-438D-8B80-EC117642D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4" y="648"/>
              <a:ext cx="110" cy="159"/>
            </a:xfrm>
            <a:custGeom>
              <a:avLst/>
              <a:gdLst>
                <a:gd name="T0" fmla="*/ 18 w 46"/>
                <a:gd name="T1" fmla="*/ 3 h 66"/>
                <a:gd name="T2" fmla="*/ 10 w 46"/>
                <a:gd name="T3" fmla="*/ 8 h 66"/>
                <a:gd name="T4" fmla="*/ 5 w 46"/>
                <a:gd name="T5" fmla="*/ 27 h 66"/>
                <a:gd name="T6" fmla="*/ 10 w 46"/>
                <a:gd name="T7" fmla="*/ 57 h 66"/>
                <a:gd name="T8" fmla="*/ 45 w 46"/>
                <a:gd name="T9" fmla="*/ 60 h 66"/>
                <a:gd name="T10" fmla="*/ 43 w 46"/>
                <a:gd name="T11" fmla="*/ 41 h 66"/>
                <a:gd name="T12" fmla="*/ 36 w 46"/>
                <a:gd name="T13" fmla="*/ 23 h 66"/>
                <a:gd name="T14" fmla="*/ 18 w 46"/>
                <a:gd name="T15" fmla="*/ 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66">
                  <a:moveTo>
                    <a:pt x="18" y="3"/>
                  </a:moveTo>
                  <a:cubicBezTo>
                    <a:pt x="16" y="3"/>
                    <a:pt x="11" y="4"/>
                    <a:pt x="10" y="8"/>
                  </a:cubicBezTo>
                  <a:cubicBezTo>
                    <a:pt x="8" y="13"/>
                    <a:pt x="6" y="15"/>
                    <a:pt x="5" y="27"/>
                  </a:cubicBezTo>
                  <a:cubicBezTo>
                    <a:pt x="5" y="40"/>
                    <a:pt x="0" y="55"/>
                    <a:pt x="10" y="57"/>
                  </a:cubicBezTo>
                  <a:cubicBezTo>
                    <a:pt x="19" y="58"/>
                    <a:pt x="46" y="66"/>
                    <a:pt x="45" y="60"/>
                  </a:cubicBezTo>
                  <a:cubicBezTo>
                    <a:pt x="45" y="53"/>
                    <a:pt x="46" y="44"/>
                    <a:pt x="43" y="41"/>
                  </a:cubicBezTo>
                  <a:cubicBezTo>
                    <a:pt x="41" y="37"/>
                    <a:pt x="37" y="31"/>
                    <a:pt x="36" y="23"/>
                  </a:cubicBezTo>
                  <a:cubicBezTo>
                    <a:pt x="36" y="15"/>
                    <a:pt x="29" y="0"/>
                    <a:pt x="18" y="3"/>
                  </a:cubicBezTo>
                  <a:close/>
                </a:path>
              </a:pathLst>
            </a:custGeom>
            <a:solidFill>
              <a:srgbClr val="9C65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0">
              <a:extLst>
                <a:ext uri="{FF2B5EF4-FFF2-40B4-BE49-F238E27FC236}">
                  <a16:creationId xmlns:a16="http://schemas.microsoft.com/office/drawing/2014/main" id="{BC4E33A2-1515-4B4A-AE83-70BE9ED33F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06" y="843"/>
              <a:ext cx="101" cy="356"/>
            </a:xfrm>
            <a:custGeom>
              <a:avLst/>
              <a:gdLst>
                <a:gd name="T0" fmla="*/ 20 w 42"/>
                <a:gd name="T1" fmla="*/ 146 h 148"/>
                <a:gd name="T2" fmla="*/ 28 w 42"/>
                <a:gd name="T3" fmla="*/ 148 h 148"/>
                <a:gd name="T4" fmla="*/ 36 w 42"/>
                <a:gd name="T5" fmla="*/ 146 h 148"/>
                <a:gd name="T6" fmla="*/ 38 w 42"/>
                <a:gd name="T7" fmla="*/ 116 h 148"/>
                <a:gd name="T8" fmla="*/ 38 w 42"/>
                <a:gd name="T9" fmla="*/ 75 h 148"/>
                <a:gd name="T10" fmla="*/ 38 w 42"/>
                <a:gd name="T11" fmla="*/ 28 h 148"/>
                <a:gd name="T12" fmla="*/ 21 w 42"/>
                <a:gd name="T13" fmla="*/ 0 h 148"/>
                <a:gd name="T14" fmla="*/ 20 w 42"/>
                <a:gd name="T15" fmla="*/ 0 h 148"/>
                <a:gd name="T16" fmla="*/ 20 w 42"/>
                <a:gd name="T17" fmla="*/ 72 h 148"/>
                <a:gd name="T18" fmla="*/ 21 w 42"/>
                <a:gd name="T19" fmla="*/ 69 h 148"/>
                <a:gd name="T20" fmla="*/ 23 w 42"/>
                <a:gd name="T21" fmla="*/ 94 h 148"/>
                <a:gd name="T22" fmla="*/ 22 w 42"/>
                <a:gd name="T23" fmla="*/ 97 h 148"/>
                <a:gd name="T24" fmla="*/ 20 w 42"/>
                <a:gd name="T25" fmla="*/ 91 h 148"/>
                <a:gd name="T26" fmla="*/ 20 w 42"/>
                <a:gd name="T27" fmla="*/ 146 h 148"/>
                <a:gd name="T28" fmla="*/ 5 w 42"/>
                <a:gd name="T29" fmla="*/ 29 h 148"/>
                <a:gd name="T30" fmla="*/ 0 w 42"/>
                <a:gd name="T31" fmla="*/ 71 h 148"/>
                <a:gd name="T32" fmla="*/ 6 w 42"/>
                <a:gd name="T33" fmla="*/ 100 h 148"/>
                <a:gd name="T34" fmla="*/ 18 w 42"/>
                <a:gd name="T35" fmla="*/ 141 h 148"/>
                <a:gd name="T36" fmla="*/ 19 w 42"/>
                <a:gd name="T37" fmla="*/ 141 h 148"/>
                <a:gd name="T38" fmla="*/ 18 w 42"/>
                <a:gd name="T39" fmla="*/ 145 h 148"/>
                <a:gd name="T40" fmla="*/ 20 w 42"/>
                <a:gd name="T41" fmla="*/ 146 h 148"/>
                <a:gd name="T42" fmla="*/ 20 w 42"/>
                <a:gd name="T43" fmla="*/ 91 h 148"/>
                <a:gd name="T44" fmla="*/ 17 w 42"/>
                <a:gd name="T45" fmla="*/ 85 h 148"/>
                <a:gd name="T46" fmla="*/ 18 w 42"/>
                <a:gd name="T47" fmla="*/ 79 h 148"/>
                <a:gd name="T48" fmla="*/ 20 w 42"/>
                <a:gd name="T49" fmla="*/ 72 h 148"/>
                <a:gd name="T50" fmla="*/ 20 w 42"/>
                <a:gd name="T51" fmla="*/ 0 h 148"/>
                <a:gd name="T52" fmla="*/ 12 w 42"/>
                <a:gd name="T53" fmla="*/ 1 h 148"/>
                <a:gd name="T54" fmla="*/ 5 w 42"/>
                <a:gd name="T55" fmla="*/ 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148">
                  <a:moveTo>
                    <a:pt x="20" y="146"/>
                  </a:moveTo>
                  <a:cubicBezTo>
                    <a:pt x="21" y="147"/>
                    <a:pt x="24" y="148"/>
                    <a:pt x="28" y="148"/>
                  </a:cubicBezTo>
                  <a:cubicBezTo>
                    <a:pt x="34" y="147"/>
                    <a:pt x="36" y="146"/>
                    <a:pt x="36" y="146"/>
                  </a:cubicBezTo>
                  <a:cubicBezTo>
                    <a:pt x="36" y="146"/>
                    <a:pt x="37" y="131"/>
                    <a:pt x="38" y="116"/>
                  </a:cubicBezTo>
                  <a:cubicBezTo>
                    <a:pt x="39" y="101"/>
                    <a:pt x="37" y="86"/>
                    <a:pt x="38" y="75"/>
                  </a:cubicBezTo>
                  <a:cubicBezTo>
                    <a:pt x="40" y="64"/>
                    <a:pt x="42" y="36"/>
                    <a:pt x="38" y="28"/>
                  </a:cubicBezTo>
                  <a:cubicBezTo>
                    <a:pt x="35" y="2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0"/>
                    <a:pt x="21" y="69"/>
                    <a:pt x="21" y="69"/>
                  </a:cubicBezTo>
                  <a:cubicBezTo>
                    <a:pt x="21" y="78"/>
                    <a:pt x="23" y="89"/>
                    <a:pt x="23" y="94"/>
                  </a:cubicBezTo>
                  <a:cubicBezTo>
                    <a:pt x="23" y="99"/>
                    <a:pt x="23" y="99"/>
                    <a:pt x="22" y="97"/>
                  </a:cubicBezTo>
                  <a:cubicBezTo>
                    <a:pt x="22" y="96"/>
                    <a:pt x="21" y="94"/>
                    <a:pt x="20" y="91"/>
                  </a:cubicBezTo>
                  <a:lnTo>
                    <a:pt x="20" y="146"/>
                  </a:lnTo>
                  <a:close/>
                  <a:moveTo>
                    <a:pt x="5" y="29"/>
                  </a:moveTo>
                  <a:cubicBezTo>
                    <a:pt x="3" y="37"/>
                    <a:pt x="0" y="57"/>
                    <a:pt x="0" y="71"/>
                  </a:cubicBezTo>
                  <a:cubicBezTo>
                    <a:pt x="0" y="85"/>
                    <a:pt x="1" y="85"/>
                    <a:pt x="6" y="100"/>
                  </a:cubicBezTo>
                  <a:cubicBezTo>
                    <a:pt x="11" y="115"/>
                    <a:pt x="18" y="141"/>
                    <a:pt x="18" y="141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18" y="145"/>
                    <a:pt x="19" y="146"/>
                    <a:pt x="20" y="146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88"/>
                    <a:pt x="18" y="85"/>
                    <a:pt x="17" y="85"/>
                  </a:cubicBezTo>
                  <a:cubicBezTo>
                    <a:pt x="16" y="84"/>
                    <a:pt x="18" y="81"/>
                    <a:pt x="18" y="79"/>
                  </a:cubicBezTo>
                  <a:cubicBezTo>
                    <a:pt x="18" y="78"/>
                    <a:pt x="19" y="74"/>
                    <a:pt x="20" y="72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0" y="17"/>
                    <a:pt x="5" y="29"/>
                  </a:cubicBezTo>
                  <a:close/>
                </a:path>
              </a:pathLst>
            </a:custGeom>
            <a:solidFill>
              <a:srgbClr val="722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1">
              <a:extLst>
                <a:ext uri="{FF2B5EF4-FFF2-40B4-BE49-F238E27FC236}">
                  <a16:creationId xmlns:a16="http://schemas.microsoft.com/office/drawing/2014/main" id="{2E3BF67B-2430-4723-924E-027C548302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5" y="908"/>
              <a:ext cx="60" cy="77"/>
            </a:xfrm>
            <a:custGeom>
              <a:avLst/>
              <a:gdLst>
                <a:gd name="T0" fmla="*/ 9 w 25"/>
                <a:gd name="T1" fmla="*/ 32 h 32"/>
                <a:gd name="T2" fmla="*/ 6 w 25"/>
                <a:gd name="T3" fmla="*/ 20 h 32"/>
                <a:gd name="T4" fmla="*/ 2 w 25"/>
                <a:gd name="T5" fmla="*/ 21 h 32"/>
                <a:gd name="T6" fmla="*/ 2 w 25"/>
                <a:gd name="T7" fmla="*/ 21 h 32"/>
                <a:gd name="T8" fmla="*/ 2 w 25"/>
                <a:gd name="T9" fmla="*/ 20 h 32"/>
                <a:gd name="T10" fmla="*/ 2 w 25"/>
                <a:gd name="T11" fmla="*/ 20 h 32"/>
                <a:gd name="T12" fmla="*/ 2 w 25"/>
                <a:gd name="T13" fmla="*/ 19 h 32"/>
                <a:gd name="T14" fmla="*/ 2 w 25"/>
                <a:gd name="T15" fmla="*/ 19 h 32"/>
                <a:gd name="T16" fmla="*/ 2 w 25"/>
                <a:gd name="T17" fmla="*/ 18 h 32"/>
                <a:gd name="T18" fmla="*/ 5 w 25"/>
                <a:gd name="T19" fmla="*/ 17 h 32"/>
                <a:gd name="T20" fmla="*/ 5 w 25"/>
                <a:gd name="T21" fmla="*/ 17 h 32"/>
                <a:gd name="T22" fmla="*/ 2 w 25"/>
                <a:gd name="T23" fmla="*/ 5 h 32"/>
                <a:gd name="T24" fmla="*/ 22 w 25"/>
                <a:gd name="T25" fmla="*/ 0 h 32"/>
                <a:gd name="T26" fmla="*/ 22 w 25"/>
                <a:gd name="T27" fmla="*/ 1 h 32"/>
                <a:gd name="T28" fmla="*/ 24 w 25"/>
                <a:gd name="T29" fmla="*/ 29 h 32"/>
                <a:gd name="T30" fmla="*/ 9 w 25"/>
                <a:gd name="T31" fmla="*/ 32 h 32"/>
                <a:gd name="T32" fmla="*/ 2 w 25"/>
                <a:gd name="T33" fmla="*/ 21 h 32"/>
                <a:gd name="T34" fmla="*/ 0 w 25"/>
                <a:gd name="T35" fmla="*/ 20 h 32"/>
                <a:gd name="T36" fmla="*/ 1 w 25"/>
                <a:gd name="T37" fmla="*/ 18 h 32"/>
                <a:gd name="T38" fmla="*/ 2 w 25"/>
                <a:gd name="T39" fmla="*/ 18 h 32"/>
                <a:gd name="T40" fmla="*/ 2 w 25"/>
                <a:gd name="T41" fmla="*/ 19 h 32"/>
                <a:gd name="T42" fmla="*/ 2 w 25"/>
                <a:gd name="T43" fmla="*/ 19 h 32"/>
                <a:gd name="T44" fmla="*/ 1 w 25"/>
                <a:gd name="T45" fmla="*/ 20 h 32"/>
                <a:gd name="T46" fmla="*/ 2 w 25"/>
                <a:gd name="T47" fmla="*/ 20 h 32"/>
                <a:gd name="T48" fmla="*/ 2 w 25"/>
                <a:gd name="T49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32">
                  <a:moveTo>
                    <a:pt x="9" y="32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1"/>
                    <a:pt x="22" y="1"/>
                  </a:cubicBezTo>
                  <a:cubicBezTo>
                    <a:pt x="25" y="6"/>
                    <a:pt x="25" y="18"/>
                    <a:pt x="24" y="29"/>
                  </a:cubicBezTo>
                  <a:lnTo>
                    <a:pt x="9" y="32"/>
                  </a:lnTo>
                  <a:close/>
                  <a:moveTo>
                    <a:pt x="2" y="21"/>
                  </a:moveTo>
                  <a:cubicBezTo>
                    <a:pt x="1" y="21"/>
                    <a:pt x="0" y="20"/>
                    <a:pt x="0" y="20"/>
                  </a:cubicBezTo>
                  <a:cubicBezTo>
                    <a:pt x="0" y="19"/>
                    <a:pt x="0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1" y="19"/>
                    <a:pt x="1" y="20"/>
                  </a:cubicBezTo>
                  <a:cubicBezTo>
                    <a:pt x="1" y="20"/>
                    <a:pt x="1" y="20"/>
                    <a:pt x="2" y="20"/>
                  </a:cubicBezTo>
                  <a:lnTo>
                    <a:pt x="2" y="21"/>
                  </a:ln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2">
              <a:extLst>
                <a:ext uri="{FF2B5EF4-FFF2-40B4-BE49-F238E27FC236}">
                  <a16:creationId xmlns:a16="http://schemas.microsoft.com/office/drawing/2014/main" id="{4002D958-878C-40A3-BD60-B03BEBB68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843"/>
              <a:ext cx="87" cy="144"/>
            </a:xfrm>
            <a:custGeom>
              <a:avLst/>
              <a:gdLst>
                <a:gd name="T0" fmla="*/ 0 w 36"/>
                <a:gd name="T1" fmla="*/ 29 h 60"/>
                <a:gd name="T2" fmla="*/ 0 w 36"/>
                <a:gd name="T3" fmla="*/ 32 h 60"/>
                <a:gd name="T4" fmla="*/ 5 w 36"/>
                <a:gd name="T5" fmla="*/ 35 h 60"/>
                <a:gd name="T6" fmla="*/ 7 w 36"/>
                <a:gd name="T7" fmla="*/ 20 h 60"/>
                <a:gd name="T8" fmla="*/ 8 w 36"/>
                <a:gd name="T9" fmla="*/ 23 h 60"/>
                <a:gd name="T10" fmla="*/ 10 w 36"/>
                <a:gd name="T11" fmla="*/ 32 h 60"/>
                <a:gd name="T12" fmla="*/ 18 w 36"/>
                <a:gd name="T13" fmla="*/ 34 h 60"/>
                <a:gd name="T14" fmla="*/ 31 w 36"/>
                <a:gd name="T15" fmla="*/ 33 h 60"/>
                <a:gd name="T16" fmla="*/ 31 w 36"/>
                <a:gd name="T17" fmla="*/ 43 h 60"/>
                <a:gd name="T18" fmla="*/ 30 w 36"/>
                <a:gd name="T19" fmla="*/ 50 h 60"/>
                <a:gd name="T20" fmla="*/ 30 w 36"/>
                <a:gd name="T21" fmla="*/ 56 h 60"/>
                <a:gd name="T22" fmla="*/ 30 w 36"/>
                <a:gd name="T23" fmla="*/ 59 h 60"/>
                <a:gd name="T24" fmla="*/ 35 w 36"/>
                <a:gd name="T25" fmla="*/ 58 h 60"/>
                <a:gd name="T26" fmla="*/ 33 w 36"/>
                <a:gd name="T27" fmla="*/ 28 h 60"/>
                <a:gd name="T28" fmla="*/ 16 w 36"/>
                <a:gd name="T29" fmla="*/ 0 h 60"/>
                <a:gd name="T30" fmla="*/ 7 w 36"/>
                <a:gd name="T31" fmla="*/ 1 h 60"/>
                <a:gd name="T32" fmla="*/ 0 w 36"/>
                <a:gd name="T33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60">
                  <a:moveTo>
                    <a:pt x="0" y="29"/>
                  </a:moveTo>
                  <a:cubicBezTo>
                    <a:pt x="0" y="30"/>
                    <a:pt x="0" y="31"/>
                    <a:pt x="0" y="32"/>
                  </a:cubicBezTo>
                  <a:cubicBezTo>
                    <a:pt x="1" y="34"/>
                    <a:pt x="4" y="36"/>
                    <a:pt x="5" y="35"/>
                  </a:cubicBezTo>
                  <a:cubicBezTo>
                    <a:pt x="6" y="33"/>
                    <a:pt x="7" y="22"/>
                    <a:pt x="7" y="20"/>
                  </a:cubicBezTo>
                  <a:cubicBezTo>
                    <a:pt x="7" y="18"/>
                    <a:pt x="8" y="20"/>
                    <a:pt x="8" y="23"/>
                  </a:cubicBezTo>
                  <a:cubicBezTo>
                    <a:pt x="8" y="26"/>
                    <a:pt x="8" y="30"/>
                    <a:pt x="10" y="32"/>
                  </a:cubicBezTo>
                  <a:cubicBezTo>
                    <a:pt x="12" y="35"/>
                    <a:pt x="13" y="35"/>
                    <a:pt x="18" y="34"/>
                  </a:cubicBezTo>
                  <a:cubicBezTo>
                    <a:pt x="23" y="33"/>
                    <a:pt x="31" y="31"/>
                    <a:pt x="31" y="33"/>
                  </a:cubicBezTo>
                  <a:cubicBezTo>
                    <a:pt x="30" y="35"/>
                    <a:pt x="31" y="41"/>
                    <a:pt x="31" y="43"/>
                  </a:cubicBezTo>
                  <a:cubicBezTo>
                    <a:pt x="30" y="45"/>
                    <a:pt x="29" y="48"/>
                    <a:pt x="30" y="50"/>
                  </a:cubicBezTo>
                  <a:cubicBezTo>
                    <a:pt x="30" y="52"/>
                    <a:pt x="30" y="54"/>
                    <a:pt x="30" y="56"/>
                  </a:cubicBezTo>
                  <a:cubicBezTo>
                    <a:pt x="29" y="57"/>
                    <a:pt x="28" y="60"/>
                    <a:pt x="30" y="59"/>
                  </a:cubicBezTo>
                  <a:cubicBezTo>
                    <a:pt x="32" y="59"/>
                    <a:pt x="33" y="58"/>
                    <a:pt x="35" y="58"/>
                  </a:cubicBezTo>
                  <a:cubicBezTo>
                    <a:pt x="36" y="46"/>
                    <a:pt x="36" y="33"/>
                    <a:pt x="33" y="28"/>
                  </a:cubicBezTo>
                  <a:cubicBezTo>
                    <a:pt x="30" y="20"/>
                    <a:pt x="16" y="0"/>
                    <a:pt x="16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5" y="17"/>
                    <a:pt x="0" y="29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3">
              <a:extLst>
                <a:ext uri="{FF2B5EF4-FFF2-40B4-BE49-F238E27FC236}">
                  <a16:creationId xmlns:a16="http://schemas.microsoft.com/office/drawing/2014/main" id="{83C10889-4451-44D9-B942-988C6DD7D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9" y="737"/>
              <a:ext cx="125" cy="188"/>
            </a:xfrm>
            <a:custGeom>
              <a:avLst/>
              <a:gdLst>
                <a:gd name="T0" fmla="*/ 10 w 52"/>
                <a:gd name="T1" fmla="*/ 24 h 78"/>
                <a:gd name="T2" fmla="*/ 7 w 52"/>
                <a:gd name="T3" fmla="*/ 39 h 78"/>
                <a:gd name="T4" fmla="*/ 8 w 52"/>
                <a:gd name="T5" fmla="*/ 49 h 78"/>
                <a:gd name="T6" fmla="*/ 2 w 52"/>
                <a:gd name="T7" fmla="*/ 72 h 78"/>
                <a:gd name="T8" fmla="*/ 2 w 52"/>
                <a:gd name="T9" fmla="*/ 75 h 78"/>
                <a:gd name="T10" fmla="*/ 8 w 52"/>
                <a:gd name="T11" fmla="*/ 72 h 78"/>
                <a:gd name="T12" fmla="*/ 10 w 52"/>
                <a:gd name="T13" fmla="*/ 60 h 78"/>
                <a:gd name="T14" fmla="*/ 13 w 52"/>
                <a:gd name="T15" fmla="*/ 46 h 78"/>
                <a:gd name="T16" fmla="*/ 12 w 52"/>
                <a:gd name="T17" fmla="*/ 64 h 78"/>
                <a:gd name="T18" fmla="*/ 17 w 52"/>
                <a:gd name="T19" fmla="*/ 77 h 78"/>
                <a:gd name="T20" fmla="*/ 35 w 52"/>
                <a:gd name="T21" fmla="*/ 75 h 78"/>
                <a:gd name="T22" fmla="*/ 40 w 52"/>
                <a:gd name="T23" fmla="*/ 70 h 78"/>
                <a:gd name="T24" fmla="*/ 36 w 52"/>
                <a:gd name="T25" fmla="*/ 51 h 78"/>
                <a:gd name="T26" fmla="*/ 40 w 52"/>
                <a:gd name="T27" fmla="*/ 34 h 78"/>
                <a:gd name="T28" fmla="*/ 47 w 52"/>
                <a:gd name="T29" fmla="*/ 6 h 78"/>
                <a:gd name="T30" fmla="*/ 35 w 52"/>
                <a:gd name="T31" fmla="*/ 0 h 78"/>
                <a:gd name="T32" fmla="*/ 17 w 52"/>
                <a:gd name="T33" fmla="*/ 6 h 78"/>
                <a:gd name="T34" fmla="*/ 10 w 52"/>
                <a:gd name="T35" fmla="*/ 2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2" h="78">
                  <a:moveTo>
                    <a:pt x="10" y="24"/>
                  </a:moveTo>
                  <a:cubicBezTo>
                    <a:pt x="8" y="27"/>
                    <a:pt x="5" y="30"/>
                    <a:pt x="7" y="39"/>
                  </a:cubicBezTo>
                  <a:cubicBezTo>
                    <a:pt x="10" y="48"/>
                    <a:pt x="8" y="47"/>
                    <a:pt x="8" y="49"/>
                  </a:cubicBezTo>
                  <a:cubicBezTo>
                    <a:pt x="7" y="51"/>
                    <a:pt x="3" y="69"/>
                    <a:pt x="2" y="72"/>
                  </a:cubicBezTo>
                  <a:cubicBezTo>
                    <a:pt x="1" y="74"/>
                    <a:pt x="0" y="74"/>
                    <a:pt x="2" y="75"/>
                  </a:cubicBezTo>
                  <a:cubicBezTo>
                    <a:pt x="4" y="76"/>
                    <a:pt x="7" y="78"/>
                    <a:pt x="8" y="72"/>
                  </a:cubicBezTo>
                  <a:cubicBezTo>
                    <a:pt x="9" y="67"/>
                    <a:pt x="9" y="67"/>
                    <a:pt x="10" y="60"/>
                  </a:cubicBezTo>
                  <a:cubicBezTo>
                    <a:pt x="12" y="54"/>
                    <a:pt x="13" y="46"/>
                    <a:pt x="13" y="46"/>
                  </a:cubicBezTo>
                  <a:cubicBezTo>
                    <a:pt x="13" y="46"/>
                    <a:pt x="12" y="57"/>
                    <a:pt x="12" y="64"/>
                  </a:cubicBezTo>
                  <a:cubicBezTo>
                    <a:pt x="13" y="70"/>
                    <a:pt x="12" y="77"/>
                    <a:pt x="17" y="77"/>
                  </a:cubicBezTo>
                  <a:cubicBezTo>
                    <a:pt x="23" y="77"/>
                    <a:pt x="31" y="76"/>
                    <a:pt x="35" y="75"/>
                  </a:cubicBezTo>
                  <a:cubicBezTo>
                    <a:pt x="39" y="75"/>
                    <a:pt x="42" y="75"/>
                    <a:pt x="40" y="70"/>
                  </a:cubicBezTo>
                  <a:cubicBezTo>
                    <a:pt x="39" y="65"/>
                    <a:pt x="35" y="57"/>
                    <a:pt x="36" y="51"/>
                  </a:cubicBezTo>
                  <a:cubicBezTo>
                    <a:pt x="38" y="44"/>
                    <a:pt x="36" y="46"/>
                    <a:pt x="40" y="34"/>
                  </a:cubicBezTo>
                  <a:cubicBezTo>
                    <a:pt x="43" y="23"/>
                    <a:pt x="52" y="9"/>
                    <a:pt x="47" y="6"/>
                  </a:cubicBezTo>
                  <a:cubicBezTo>
                    <a:pt x="42" y="4"/>
                    <a:pt x="36" y="1"/>
                    <a:pt x="35" y="0"/>
                  </a:cubicBezTo>
                  <a:cubicBezTo>
                    <a:pt x="33" y="0"/>
                    <a:pt x="20" y="4"/>
                    <a:pt x="17" y="6"/>
                  </a:cubicBezTo>
                  <a:cubicBezTo>
                    <a:pt x="10" y="10"/>
                    <a:pt x="16" y="15"/>
                    <a:pt x="10" y="24"/>
                  </a:cubicBezTo>
                  <a:close/>
                </a:path>
              </a:pathLst>
            </a:custGeom>
            <a:solidFill>
              <a:srgbClr val="722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4">
              <a:extLst>
                <a:ext uri="{FF2B5EF4-FFF2-40B4-BE49-F238E27FC236}">
                  <a16:creationId xmlns:a16="http://schemas.microsoft.com/office/drawing/2014/main" id="{0D5B8428-539B-4374-82FE-320485900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" y="747"/>
              <a:ext cx="58" cy="94"/>
            </a:xfrm>
            <a:custGeom>
              <a:avLst/>
              <a:gdLst>
                <a:gd name="T0" fmla="*/ 0 w 24"/>
                <a:gd name="T1" fmla="*/ 39 h 39"/>
                <a:gd name="T2" fmla="*/ 22 w 24"/>
                <a:gd name="T3" fmla="*/ 5 h 39"/>
                <a:gd name="T4" fmla="*/ 19 w 24"/>
                <a:gd name="T5" fmla="*/ 5 h 39"/>
                <a:gd name="T6" fmla="*/ 23 w 24"/>
                <a:gd name="T7" fmla="*/ 0 h 39"/>
                <a:gd name="T8" fmla="*/ 21 w 24"/>
                <a:gd name="T9" fmla="*/ 5 h 39"/>
                <a:gd name="T10" fmla="*/ 24 w 24"/>
                <a:gd name="T11" fmla="*/ 4 h 39"/>
                <a:gd name="T12" fmla="*/ 6 w 24"/>
                <a:gd name="T13" fmla="*/ 29 h 39"/>
                <a:gd name="T14" fmla="*/ 0 w 24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9">
                  <a:moveTo>
                    <a:pt x="0" y="39"/>
                  </a:moveTo>
                  <a:cubicBezTo>
                    <a:pt x="6" y="26"/>
                    <a:pt x="22" y="5"/>
                    <a:pt x="22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13" y="19"/>
                    <a:pt x="6" y="29"/>
                  </a:cubicBezTo>
                  <a:cubicBezTo>
                    <a:pt x="2" y="35"/>
                    <a:pt x="1" y="39"/>
                    <a:pt x="0" y="39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5">
              <a:extLst>
                <a:ext uri="{FF2B5EF4-FFF2-40B4-BE49-F238E27FC236}">
                  <a16:creationId xmlns:a16="http://schemas.microsoft.com/office/drawing/2014/main" id="{14327F87-6D92-4D10-8729-6F44AC2F7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754"/>
              <a:ext cx="37" cy="53"/>
            </a:xfrm>
            <a:custGeom>
              <a:avLst/>
              <a:gdLst>
                <a:gd name="T0" fmla="*/ 12 w 15"/>
                <a:gd name="T1" fmla="*/ 0 h 22"/>
                <a:gd name="T2" fmla="*/ 3 w 15"/>
                <a:gd name="T3" fmla="*/ 7 h 22"/>
                <a:gd name="T4" fmla="*/ 7 w 15"/>
                <a:gd name="T5" fmla="*/ 21 h 22"/>
                <a:gd name="T6" fmla="*/ 12 w 15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2">
                  <a:moveTo>
                    <a:pt x="12" y="0"/>
                  </a:moveTo>
                  <a:cubicBezTo>
                    <a:pt x="10" y="1"/>
                    <a:pt x="4" y="4"/>
                    <a:pt x="3" y="7"/>
                  </a:cubicBezTo>
                  <a:cubicBezTo>
                    <a:pt x="2" y="11"/>
                    <a:pt x="0" y="22"/>
                    <a:pt x="7" y="21"/>
                  </a:cubicBezTo>
                  <a:cubicBezTo>
                    <a:pt x="15" y="19"/>
                    <a:pt x="13" y="9"/>
                    <a:pt x="12" y="0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6">
              <a:extLst>
                <a:ext uri="{FF2B5EF4-FFF2-40B4-BE49-F238E27FC236}">
                  <a16:creationId xmlns:a16="http://schemas.microsoft.com/office/drawing/2014/main" id="{B09F3C68-F233-4EA2-BC31-495D02BD1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" y="713"/>
              <a:ext cx="25" cy="29"/>
            </a:xfrm>
            <a:custGeom>
              <a:avLst/>
              <a:gdLst>
                <a:gd name="T0" fmla="*/ 0 w 25"/>
                <a:gd name="T1" fmla="*/ 3 h 29"/>
                <a:gd name="T2" fmla="*/ 10 w 25"/>
                <a:gd name="T3" fmla="*/ 27 h 29"/>
                <a:gd name="T4" fmla="*/ 22 w 25"/>
                <a:gd name="T5" fmla="*/ 29 h 29"/>
                <a:gd name="T6" fmla="*/ 25 w 25"/>
                <a:gd name="T7" fmla="*/ 29 h 29"/>
                <a:gd name="T8" fmla="*/ 12 w 25"/>
                <a:gd name="T9" fmla="*/ 7 h 29"/>
                <a:gd name="T10" fmla="*/ 3 w 25"/>
                <a:gd name="T11" fmla="*/ 0 h 29"/>
                <a:gd name="T12" fmla="*/ 0 w 25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9">
                  <a:moveTo>
                    <a:pt x="0" y="3"/>
                  </a:moveTo>
                  <a:lnTo>
                    <a:pt x="10" y="27"/>
                  </a:lnTo>
                  <a:lnTo>
                    <a:pt x="22" y="29"/>
                  </a:lnTo>
                  <a:lnTo>
                    <a:pt x="25" y="29"/>
                  </a:lnTo>
                  <a:lnTo>
                    <a:pt x="12" y="7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7">
              <a:extLst>
                <a:ext uri="{FF2B5EF4-FFF2-40B4-BE49-F238E27FC236}">
                  <a16:creationId xmlns:a16="http://schemas.microsoft.com/office/drawing/2014/main" id="{8B66EE7A-7C08-4669-98E1-281DB691C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" y="713"/>
              <a:ext cx="25" cy="29"/>
            </a:xfrm>
            <a:custGeom>
              <a:avLst/>
              <a:gdLst>
                <a:gd name="T0" fmla="*/ 0 w 25"/>
                <a:gd name="T1" fmla="*/ 0 h 29"/>
                <a:gd name="T2" fmla="*/ 12 w 25"/>
                <a:gd name="T3" fmla="*/ 24 h 29"/>
                <a:gd name="T4" fmla="*/ 25 w 25"/>
                <a:gd name="T5" fmla="*/ 29 h 29"/>
                <a:gd name="T6" fmla="*/ 15 w 25"/>
                <a:gd name="T7" fmla="*/ 7 h 29"/>
                <a:gd name="T8" fmla="*/ 0 w 25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9">
                  <a:moveTo>
                    <a:pt x="0" y="0"/>
                  </a:moveTo>
                  <a:lnTo>
                    <a:pt x="12" y="24"/>
                  </a:lnTo>
                  <a:lnTo>
                    <a:pt x="25" y="29"/>
                  </a:lnTo>
                  <a:lnTo>
                    <a:pt x="15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8">
              <a:extLst>
                <a:ext uri="{FF2B5EF4-FFF2-40B4-BE49-F238E27FC236}">
                  <a16:creationId xmlns:a16="http://schemas.microsoft.com/office/drawing/2014/main" id="{BE97FDF1-5705-4C77-AE29-9C0C63CE6E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18" y="718"/>
              <a:ext cx="39" cy="58"/>
            </a:xfrm>
            <a:custGeom>
              <a:avLst/>
              <a:gdLst>
                <a:gd name="T0" fmla="*/ 7 w 16"/>
                <a:gd name="T1" fmla="*/ 0 h 24"/>
                <a:gd name="T2" fmla="*/ 9 w 16"/>
                <a:gd name="T3" fmla="*/ 0 h 24"/>
                <a:gd name="T4" fmla="*/ 15 w 16"/>
                <a:gd name="T5" fmla="*/ 6 h 24"/>
                <a:gd name="T6" fmla="*/ 15 w 16"/>
                <a:gd name="T7" fmla="*/ 9 h 24"/>
                <a:gd name="T8" fmla="*/ 13 w 16"/>
                <a:gd name="T9" fmla="*/ 7 h 24"/>
                <a:gd name="T10" fmla="*/ 10 w 16"/>
                <a:gd name="T11" fmla="*/ 6 h 24"/>
                <a:gd name="T12" fmla="*/ 9 w 16"/>
                <a:gd name="T13" fmla="*/ 8 h 24"/>
                <a:gd name="T14" fmla="*/ 9 w 16"/>
                <a:gd name="T15" fmla="*/ 14 h 24"/>
                <a:gd name="T16" fmla="*/ 7 w 16"/>
                <a:gd name="T17" fmla="*/ 17 h 24"/>
                <a:gd name="T18" fmla="*/ 7 w 16"/>
                <a:gd name="T19" fmla="*/ 3 h 24"/>
                <a:gd name="T20" fmla="*/ 8 w 16"/>
                <a:gd name="T21" fmla="*/ 2 h 24"/>
                <a:gd name="T22" fmla="*/ 7 w 16"/>
                <a:gd name="T23" fmla="*/ 2 h 24"/>
                <a:gd name="T24" fmla="*/ 7 w 16"/>
                <a:gd name="T25" fmla="*/ 0 h 24"/>
                <a:gd name="T26" fmla="*/ 0 w 16"/>
                <a:gd name="T27" fmla="*/ 21 h 24"/>
                <a:gd name="T28" fmla="*/ 2 w 16"/>
                <a:gd name="T29" fmla="*/ 12 h 24"/>
                <a:gd name="T30" fmla="*/ 3 w 16"/>
                <a:gd name="T31" fmla="*/ 5 h 24"/>
                <a:gd name="T32" fmla="*/ 6 w 16"/>
                <a:gd name="T33" fmla="*/ 0 h 24"/>
                <a:gd name="T34" fmla="*/ 7 w 16"/>
                <a:gd name="T35" fmla="*/ 0 h 24"/>
                <a:gd name="T36" fmla="*/ 7 w 16"/>
                <a:gd name="T37" fmla="*/ 2 h 24"/>
                <a:gd name="T38" fmla="*/ 6 w 16"/>
                <a:gd name="T39" fmla="*/ 4 h 24"/>
                <a:gd name="T40" fmla="*/ 7 w 16"/>
                <a:gd name="T41" fmla="*/ 3 h 24"/>
                <a:gd name="T42" fmla="*/ 7 w 16"/>
                <a:gd name="T43" fmla="*/ 17 h 24"/>
                <a:gd name="T44" fmla="*/ 5 w 16"/>
                <a:gd name="T45" fmla="*/ 22 h 24"/>
                <a:gd name="T46" fmla="*/ 0 w 16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24">
                  <a:moveTo>
                    <a:pt x="7" y="0"/>
                  </a:moveTo>
                  <a:cubicBezTo>
                    <a:pt x="8" y="0"/>
                    <a:pt x="9" y="0"/>
                    <a:pt x="9" y="0"/>
                  </a:cubicBezTo>
                  <a:cubicBezTo>
                    <a:pt x="10" y="1"/>
                    <a:pt x="14" y="4"/>
                    <a:pt x="15" y="6"/>
                  </a:cubicBezTo>
                  <a:cubicBezTo>
                    <a:pt x="16" y="8"/>
                    <a:pt x="16" y="9"/>
                    <a:pt x="15" y="9"/>
                  </a:cubicBezTo>
                  <a:cubicBezTo>
                    <a:pt x="14" y="9"/>
                    <a:pt x="14" y="8"/>
                    <a:pt x="13" y="7"/>
                  </a:cubicBezTo>
                  <a:cubicBezTo>
                    <a:pt x="12" y="7"/>
                    <a:pt x="11" y="6"/>
                    <a:pt x="10" y="6"/>
                  </a:cubicBezTo>
                  <a:cubicBezTo>
                    <a:pt x="9" y="6"/>
                    <a:pt x="9" y="6"/>
                    <a:pt x="9" y="8"/>
                  </a:cubicBezTo>
                  <a:cubicBezTo>
                    <a:pt x="9" y="10"/>
                    <a:pt x="10" y="13"/>
                    <a:pt x="9" y="14"/>
                  </a:cubicBezTo>
                  <a:cubicBezTo>
                    <a:pt x="8" y="15"/>
                    <a:pt x="8" y="16"/>
                    <a:pt x="7" y="1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0"/>
                  </a:lnTo>
                  <a:close/>
                  <a:moveTo>
                    <a:pt x="0" y="21"/>
                  </a:moveTo>
                  <a:cubicBezTo>
                    <a:pt x="1" y="19"/>
                    <a:pt x="2" y="15"/>
                    <a:pt x="2" y="12"/>
                  </a:cubicBezTo>
                  <a:cubicBezTo>
                    <a:pt x="2" y="9"/>
                    <a:pt x="2" y="7"/>
                    <a:pt x="3" y="5"/>
                  </a:cubicBezTo>
                  <a:cubicBezTo>
                    <a:pt x="4" y="3"/>
                    <a:pt x="5" y="0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9"/>
                    <a:pt x="5" y="21"/>
                    <a:pt x="5" y="22"/>
                  </a:cubicBezTo>
                  <a:cubicBezTo>
                    <a:pt x="4" y="24"/>
                    <a:pt x="0" y="24"/>
                    <a:pt x="0" y="21"/>
                  </a:cubicBezTo>
                  <a:close/>
                </a:path>
              </a:pathLst>
            </a:custGeom>
            <a:solidFill>
              <a:srgbClr val="ECB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39">
              <a:extLst>
                <a:ext uri="{FF2B5EF4-FFF2-40B4-BE49-F238E27FC236}">
                  <a16:creationId xmlns:a16="http://schemas.microsoft.com/office/drawing/2014/main" id="{1E72C1C2-CED6-4C84-9843-E07DE6005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" y="699"/>
              <a:ext cx="46" cy="96"/>
            </a:xfrm>
            <a:custGeom>
              <a:avLst/>
              <a:gdLst>
                <a:gd name="T0" fmla="*/ 8 w 19"/>
                <a:gd name="T1" fmla="*/ 14 h 40"/>
                <a:gd name="T2" fmla="*/ 6 w 19"/>
                <a:gd name="T3" fmla="*/ 25 h 40"/>
                <a:gd name="T4" fmla="*/ 1 w 19"/>
                <a:gd name="T5" fmla="*/ 40 h 40"/>
                <a:gd name="T6" fmla="*/ 19 w 19"/>
                <a:gd name="T7" fmla="*/ 14 h 40"/>
                <a:gd name="T8" fmla="*/ 17 w 19"/>
                <a:gd name="T9" fmla="*/ 3 h 40"/>
                <a:gd name="T10" fmla="*/ 8 w 19"/>
                <a:gd name="T11" fmla="*/ 1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40">
                  <a:moveTo>
                    <a:pt x="8" y="14"/>
                  </a:moveTo>
                  <a:cubicBezTo>
                    <a:pt x="9" y="16"/>
                    <a:pt x="9" y="21"/>
                    <a:pt x="6" y="25"/>
                  </a:cubicBezTo>
                  <a:cubicBezTo>
                    <a:pt x="4" y="28"/>
                    <a:pt x="0" y="36"/>
                    <a:pt x="1" y="40"/>
                  </a:cubicBezTo>
                  <a:cubicBezTo>
                    <a:pt x="1" y="40"/>
                    <a:pt x="15" y="24"/>
                    <a:pt x="19" y="14"/>
                  </a:cubicBezTo>
                  <a:cubicBezTo>
                    <a:pt x="17" y="10"/>
                    <a:pt x="17" y="6"/>
                    <a:pt x="17" y="3"/>
                  </a:cubicBezTo>
                  <a:cubicBezTo>
                    <a:pt x="17" y="0"/>
                    <a:pt x="5" y="12"/>
                    <a:pt x="8" y="14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0">
              <a:extLst>
                <a:ext uri="{FF2B5EF4-FFF2-40B4-BE49-F238E27FC236}">
                  <a16:creationId xmlns:a16="http://schemas.microsoft.com/office/drawing/2014/main" id="{375AC452-C69E-45B1-84A6-61A0E606E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" y="711"/>
              <a:ext cx="21" cy="26"/>
            </a:xfrm>
            <a:custGeom>
              <a:avLst/>
              <a:gdLst>
                <a:gd name="T0" fmla="*/ 0 w 9"/>
                <a:gd name="T1" fmla="*/ 11 h 11"/>
                <a:gd name="T2" fmla="*/ 5 w 9"/>
                <a:gd name="T3" fmla="*/ 7 h 11"/>
                <a:gd name="T4" fmla="*/ 9 w 9"/>
                <a:gd name="T5" fmla="*/ 0 h 11"/>
                <a:gd name="T6" fmla="*/ 6 w 9"/>
                <a:gd name="T7" fmla="*/ 7 h 11"/>
                <a:gd name="T8" fmla="*/ 0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0" y="11"/>
                  </a:moveTo>
                  <a:cubicBezTo>
                    <a:pt x="0" y="11"/>
                    <a:pt x="3" y="10"/>
                    <a:pt x="5" y="7"/>
                  </a:cubicBezTo>
                  <a:cubicBezTo>
                    <a:pt x="7" y="4"/>
                    <a:pt x="9" y="0"/>
                    <a:pt x="9" y="0"/>
                  </a:cubicBezTo>
                  <a:cubicBezTo>
                    <a:pt x="9" y="0"/>
                    <a:pt x="9" y="5"/>
                    <a:pt x="6" y="7"/>
                  </a:cubicBezTo>
                  <a:cubicBezTo>
                    <a:pt x="4" y="10"/>
                    <a:pt x="2" y="11"/>
                    <a:pt x="0" y="11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1">
              <a:extLst>
                <a:ext uri="{FF2B5EF4-FFF2-40B4-BE49-F238E27FC236}">
                  <a16:creationId xmlns:a16="http://schemas.microsoft.com/office/drawing/2014/main" id="{5B70A141-3D25-4853-8627-3FF696B4F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5" y="667"/>
              <a:ext cx="51" cy="70"/>
            </a:xfrm>
            <a:custGeom>
              <a:avLst/>
              <a:gdLst>
                <a:gd name="T0" fmla="*/ 0 w 21"/>
                <a:gd name="T1" fmla="*/ 14 h 29"/>
                <a:gd name="T2" fmla="*/ 5 w 21"/>
                <a:gd name="T3" fmla="*/ 25 h 29"/>
                <a:gd name="T4" fmla="*/ 9 w 21"/>
                <a:gd name="T5" fmla="*/ 29 h 29"/>
                <a:gd name="T6" fmla="*/ 16 w 21"/>
                <a:gd name="T7" fmla="*/ 24 h 29"/>
                <a:gd name="T8" fmla="*/ 20 w 21"/>
                <a:gd name="T9" fmla="*/ 14 h 29"/>
                <a:gd name="T10" fmla="*/ 10 w 21"/>
                <a:gd name="T11" fmla="*/ 2 h 29"/>
                <a:gd name="T12" fmla="*/ 0 w 21"/>
                <a:gd name="T13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29">
                  <a:moveTo>
                    <a:pt x="0" y="14"/>
                  </a:moveTo>
                  <a:cubicBezTo>
                    <a:pt x="0" y="16"/>
                    <a:pt x="1" y="21"/>
                    <a:pt x="5" y="25"/>
                  </a:cubicBezTo>
                  <a:cubicBezTo>
                    <a:pt x="8" y="28"/>
                    <a:pt x="8" y="29"/>
                    <a:pt x="9" y="29"/>
                  </a:cubicBezTo>
                  <a:cubicBezTo>
                    <a:pt x="11" y="29"/>
                    <a:pt x="14" y="28"/>
                    <a:pt x="16" y="24"/>
                  </a:cubicBezTo>
                  <a:cubicBezTo>
                    <a:pt x="19" y="20"/>
                    <a:pt x="21" y="19"/>
                    <a:pt x="20" y="14"/>
                  </a:cubicBezTo>
                  <a:cubicBezTo>
                    <a:pt x="19" y="9"/>
                    <a:pt x="15" y="0"/>
                    <a:pt x="10" y="2"/>
                  </a:cubicBezTo>
                  <a:cubicBezTo>
                    <a:pt x="1" y="5"/>
                    <a:pt x="0" y="6"/>
                    <a:pt x="0" y="14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2">
              <a:extLst>
                <a:ext uri="{FF2B5EF4-FFF2-40B4-BE49-F238E27FC236}">
                  <a16:creationId xmlns:a16="http://schemas.microsoft.com/office/drawing/2014/main" id="{D39B2C12-E04D-4AA7-AC67-CA4D86AF5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3" y="744"/>
              <a:ext cx="53" cy="92"/>
            </a:xfrm>
            <a:custGeom>
              <a:avLst/>
              <a:gdLst>
                <a:gd name="T0" fmla="*/ 6 w 22"/>
                <a:gd name="T1" fmla="*/ 11 h 38"/>
                <a:gd name="T2" fmla="*/ 2 w 22"/>
                <a:gd name="T3" fmla="*/ 20 h 38"/>
                <a:gd name="T4" fmla="*/ 1 w 22"/>
                <a:gd name="T5" fmla="*/ 32 h 38"/>
                <a:gd name="T6" fmla="*/ 3 w 22"/>
                <a:gd name="T7" fmla="*/ 38 h 38"/>
                <a:gd name="T8" fmla="*/ 5 w 22"/>
                <a:gd name="T9" fmla="*/ 31 h 38"/>
                <a:gd name="T10" fmla="*/ 10 w 22"/>
                <a:gd name="T11" fmla="*/ 17 h 38"/>
                <a:gd name="T12" fmla="*/ 19 w 22"/>
                <a:gd name="T13" fmla="*/ 4 h 38"/>
                <a:gd name="T14" fmla="*/ 19 w 22"/>
                <a:gd name="T15" fmla="*/ 2 h 38"/>
                <a:gd name="T16" fmla="*/ 15 w 22"/>
                <a:gd name="T17" fmla="*/ 6 h 38"/>
                <a:gd name="T18" fmla="*/ 11 w 22"/>
                <a:gd name="T19" fmla="*/ 9 h 38"/>
                <a:gd name="T20" fmla="*/ 8 w 22"/>
                <a:gd name="T21" fmla="*/ 11 h 38"/>
                <a:gd name="T22" fmla="*/ 7 w 22"/>
                <a:gd name="T23" fmla="*/ 13 h 38"/>
                <a:gd name="T24" fmla="*/ 6 w 22"/>
                <a:gd name="T25" fmla="*/ 10 h 38"/>
                <a:gd name="T26" fmla="*/ 6 w 22"/>
                <a:gd name="T27" fmla="*/ 1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8">
                  <a:moveTo>
                    <a:pt x="6" y="11"/>
                  </a:moveTo>
                  <a:cubicBezTo>
                    <a:pt x="5" y="13"/>
                    <a:pt x="3" y="18"/>
                    <a:pt x="2" y="20"/>
                  </a:cubicBezTo>
                  <a:cubicBezTo>
                    <a:pt x="1" y="22"/>
                    <a:pt x="0" y="28"/>
                    <a:pt x="1" y="32"/>
                  </a:cubicBezTo>
                  <a:cubicBezTo>
                    <a:pt x="2" y="35"/>
                    <a:pt x="3" y="38"/>
                    <a:pt x="3" y="38"/>
                  </a:cubicBezTo>
                  <a:cubicBezTo>
                    <a:pt x="3" y="38"/>
                    <a:pt x="4" y="35"/>
                    <a:pt x="5" y="31"/>
                  </a:cubicBezTo>
                  <a:cubicBezTo>
                    <a:pt x="5" y="27"/>
                    <a:pt x="7" y="21"/>
                    <a:pt x="10" y="17"/>
                  </a:cubicBezTo>
                  <a:cubicBezTo>
                    <a:pt x="13" y="13"/>
                    <a:pt x="16" y="8"/>
                    <a:pt x="19" y="4"/>
                  </a:cubicBezTo>
                  <a:cubicBezTo>
                    <a:pt x="22" y="0"/>
                    <a:pt x="19" y="2"/>
                    <a:pt x="19" y="2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3">
              <a:extLst>
                <a:ext uri="{FF2B5EF4-FFF2-40B4-BE49-F238E27FC236}">
                  <a16:creationId xmlns:a16="http://schemas.microsoft.com/office/drawing/2014/main" id="{7BC2E692-4499-4888-9510-3000564EB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7" y="752"/>
              <a:ext cx="34" cy="24"/>
            </a:xfrm>
            <a:custGeom>
              <a:avLst/>
              <a:gdLst>
                <a:gd name="T0" fmla="*/ 0 w 14"/>
                <a:gd name="T1" fmla="*/ 9 h 10"/>
                <a:gd name="T2" fmla="*/ 1 w 14"/>
                <a:gd name="T3" fmla="*/ 10 h 10"/>
                <a:gd name="T4" fmla="*/ 9 w 14"/>
                <a:gd name="T5" fmla="*/ 5 h 10"/>
                <a:gd name="T6" fmla="*/ 11 w 14"/>
                <a:gd name="T7" fmla="*/ 4 h 10"/>
                <a:gd name="T8" fmla="*/ 13 w 14"/>
                <a:gd name="T9" fmla="*/ 1 h 10"/>
                <a:gd name="T10" fmla="*/ 14 w 14"/>
                <a:gd name="T11" fmla="*/ 0 h 10"/>
                <a:gd name="T12" fmla="*/ 12 w 14"/>
                <a:gd name="T13" fmla="*/ 0 h 10"/>
                <a:gd name="T14" fmla="*/ 10 w 14"/>
                <a:gd name="T15" fmla="*/ 3 h 10"/>
                <a:gd name="T16" fmla="*/ 6 w 14"/>
                <a:gd name="T17" fmla="*/ 5 h 10"/>
                <a:gd name="T18" fmla="*/ 3 w 14"/>
                <a:gd name="T19" fmla="*/ 8 h 10"/>
                <a:gd name="T20" fmla="*/ 2 w 14"/>
                <a:gd name="T21" fmla="*/ 9 h 10"/>
                <a:gd name="T22" fmla="*/ 1 w 14"/>
                <a:gd name="T23" fmla="*/ 10 h 10"/>
                <a:gd name="T24" fmla="*/ 0 w 14"/>
                <a:gd name="T25" fmla="*/ 7 h 10"/>
                <a:gd name="T26" fmla="*/ 0 w 14"/>
                <a:gd name="T27" fmla="*/ 8 h 10"/>
                <a:gd name="T28" fmla="*/ 0 w 14"/>
                <a:gd name="T2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0">
                  <a:moveTo>
                    <a:pt x="0" y="9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6" y="6"/>
                    <a:pt x="9" y="5"/>
                  </a:cubicBezTo>
                  <a:cubicBezTo>
                    <a:pt x="10" y="5"/>
                    <a:pt x="10" y="5"/>
                    <a:pt x="11" y="4"/>
                  </a:cubicBezTo>
                  <a:cubicBezTo>
                    <a:pt x="12" y="3"/>
                    <a:pt x="12" y="2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4">
              <a:extLst>
                <a:ext uri="{FF2B5EF4-FFF2-40B4-BE49-F238E27FC236}">
                  <a16:creationId xmlns:a16="http://schemas.microsoft.com/office/drawing/2014/main" id="{3C058048-8579-40C9-A44A-F80D0F218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" y="723"/>
              <a:ext cx="50" cy="53"/>
            </a:xfrm>
            <a:custGeom>
              <a:avLst/>
              <a:gdLst>
                <a:gd name="T0" fmla="*/ 15 w 21"/>
                <a:gd name="T1" fmla="*/ 3 h 22"/>
                <a:gd name="T2" fmla="*/ 9 w 21"/>
                <a:gd name="T3" fmla="*/ 14 h 22"/>
                <a:gd name="T4" fmla="*/ 0 w 21"/>
                <a:gd name="T5" fmla="*/ 22 h 22"/>
                <a:gd name="T6" fmla="*/ 7 w 21"/>
                <a:gd name="T7" fmla="*/ 17 h 22"/>
                <a:gd name="T8" fmla="*/ 12 w 21"/>
                <a:gd name="T9" fmla="*/ 14 h 22"/>
                <a:gd name="T10" fmla="*/ 20 w 21"/>
                <a:gd name="T11" fmla="*/ 14 h 22"/>
                <a:gd name="T12" fmla="*/ 21 w 21"/>
                <a:gd name="T13" fmla="*/ 5 h 22"/>
                <a:gd name="T14" fmla="*/ 15 w 21"/>
                <a:gd name="T15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2">
                  <a:moveTo>
                    <a:pt x="15" y="3"/>
                  </a:moveTo>
                  <a:cubicBezTo>
                    <a:pt x="15" y="3"/>
                    <a:pt x="10" y="12"/>
                    <a:pt x="9" y="14"/>
                  </a:cubicBezTo>
                  <a:cubicBezTo>
                    <a:pt x="8" y="15"/>
                    <a:pt x="2" y="19"/>
                    <a:pt x="0" y="22"/>
                  </a:cubicBezTo>
                  <a:cubicBezTo>
                    <a:pt x="2" y="20"/>
                    <a:pt x="5" y="18"/>
                    <a:pt x="7" y="17"/>
                  </a:cubicBezTo>
                  <a:cubicBezTo>
                    <a:pt x="9" y="16"/>
                    <a:pt x="10" y="13"/>
                    <a:pt x="12" y="14"/>
                  </a:cubicBezTo>
                  <a:cubicBezTo>
                    <a:pt x="15" y="15"/>
                    <a:pt x="20" y="14"/>
                    <a:pt x="20" y="14"/>
                  </a:cubicBezTo>
                  <a:cubicBezTo>
                    <a:pt x="20" y="14"/>
                    <a:pt x="21" y="8"/>
                    <a:pt x="21" y="5"/>
                  </a:cubicBezTo>
                  <a:cubicBezTo>
                    <a:pt x="20" y="2"/>
                    <a:pt x="16" y="0"/>
                    <a:pt x="15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5">
              <a:extLst>
                <a:ext uri="{FF2B5EF4-FFF2-40B4-BE49-F238E27FC236}">
                  <a16:creationId xmlns:a16="http://schemas.microsoft.com/office/drawing/2014/main" id="{0423D803-01D1-4E96-A9A2-F56056C56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" y="773"/>
              <a:ext cx="22" cy="70"/>
            </a:xfrm>
            <a:custGeom>
              <a:avLst/>
              <a:gdLst>
                <a:gd name="T0" fmla="*/ 9 w 9"/>
                <a:gd name="T1" fmla="*/ 29 h 29"/>
                <a:gd name="T2" fmla="*/ 6 w 9"/>
                <a:gd name="T3" fmla="*/ 10 h 29"/>
                <a:gd name="T4" fmla="*/ 9 w 9"/>
                <a:gd name="T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9">
                  <a:moveTo>
                    <a:pt x="9" y="29"/>
                  </a:moveTo>
                  <a:cubicBezTo>
                    <a:pt x="9" y="29"/>
                    <a:pt x="4" y="21"/>
                    <a:pt x="6" y="10"/>
                  </a:cubicBezTo>
                  <a:cubicBezTo>
                    <a:pt x="7" y="0"/>
                    <a:pt x="0" y="20"/>
                    <a:pt x="9" y="29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6">
              <a:extLst>
                <a:ext uri="{FF2B5EF4-FFF2-40B4-BE49-F238E27FC236}">
                  <a16:creationId xmlns:a16="http://schemas.microsoft.com/office/drawing/2014/main" id="{82BF20A5-DA30-4978-9DB7-390F7CD9A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0" y="764"/>
              <a:ext cx="45" cy="84"/>
            </a:xfrm>
            <a:custGeom>
              <a:avLst/>
              <a:gdLst>
                <a:gd name="T0" fmla="*/ 9 w 19"/>
                <a:gd name="T1" fmla="*/ 0 h 35"/>
                <a:gd name="T2" fmla="*/ 16 w 19"/>
                <a:gd name="T3" fmla="*/ 1 h 35"/>
                <a:gd name="T4" fmla="*/ 19 w 19"/>
                <a:gd name="T5" fmla="*/ 1 h 35"/>
                <a:gd name="T6" fmla="*/ 17 w 19"/>
                <a:gd name="T7" fmla="*/ 16 h 35"/>
                <a:gd name="T8" fmla="*/ 7 w 19"/>
                <a:gd name="T9" fmla="*/ 34 h 35"/>
                <a:gd name="T10" fmla="*/ 2 w 19"/>
                <a:gd name="T11" fmla="*/ 24 h 35"/>
                <a:gd name="T12" fmla="*/ 9 w 19"/>
                <a:gd name="T1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5">
                  <a:moveTo>
                    <a:pt x="9" y="0"/>
                  </a:moveTo>
                  <a:cubicBezTo>
                    <a:pt x="9" y="0"/>
                    <a:pt x="13" y="1"/>
                    <a:pt x="16" y="1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19" y="1"/>
                    <a:pt x="18" y="10"/>
                    <a:pt x="17" y="16"/>
                  </a:cubicBezTo>
                  <a:cubicBezTo>
                    <a:pt x="15" y="23"/>
                    <a:pt x="14" y="35"/>
                    <a:pt x="7" y="34"/>
                  </a:cubicBezTo>
                  <a:cubicBezTo>
                    <a:pt x="4" y="33"/>
                    <a:pt x="0" y="30"/>
                    <a:pt x="2" y="24"/>
                  </a:cubicBezTo>
                  <a:cubicBezTo>
                    <a:pt x="4" y="15"/>
                    <a:pt x="9" y="4"/>
                    <a:pt x="9" y="0"/>
                  </a:cubicBezTo>
                  <a:close/>
                </a:path>
              </a:pathLst>
            </a:custGeom>
            <a:solidFill>
              <a:srgbClr val="722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7">
              <a:extLst>
                <a:ext uri="{FF2B5EF4-FFF2-40B4-BE49-F238E27FC236}">
                  <a16:creationId xmlns:a16="http://schemas.microsoft.com/office/drawing/2014/main" id="{426C77B5-02B0-4B8D-ADB1-27BC404979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1" y="939"/>
              <a:ext cx="46" cy="243"/>
            </a:xfrm>
            <a:custGeom>
              <a:avLst/>
              <a:gdLst>
                <a:gd name="T0" fmla="*/ 15 w 19"/>
                <a:gd name="T1" fmla="*/ 29 h 101"/>
                <a:gd name="T2" fmla="*/ 15 w 19"/>
                <a:gd name="T3" fmla="*/ 29 h 101"/>
                <a:gd name="T4" fmla="*/ 15 w 19"/>
                <a:gd name="T5" fmla="*/ 91 h 101"/>
                <a:gd name="T6" fmla="*/ 15 w 19"/>
                <a:gd name="T7" fmla="*/ 88 h 101"/>
                <a:gd name="T8" fmla="*/ 15 w 19"/>
                <a:gd name="T9" fmla="*/ 86 h 101"/>
                <a:gd name="T10" fmla="*/ 16 w 19"/>
                <a:gd name="T11" fmla="*/ 77 h 101"/>
                <a:gd name="T12" fmla="*/ 15 w 19"/>
                <a:gd name="T13" fmla="*/ 68 h 101"/>
                <a:gd name="T14" fmla="*/ 16 w 19"/>
                <a:gd name="T15" fmla="*/ 57 h 101"/>
                <a:gd name="T16" fmla="*/ 18 w 19"/>
                <a:gd name="T17" fmla="*/ 68 h 101"/>
                <a:gd name="T18" fmla="*/ 15 w 19"/>
                <a:gd name="T19" fmla="*/ 96 h 101"/>
                <a:gd name="T20" fmla="*/ 15 w 19"/>
                <a:gd name="T21" fmla="*/ 29 h 101"/>
                <a:gd name="T22" fmla="*/ 15 w 19"/>
                <a:gd name="T23" fmla="*/ 30 h 101"/>
                <a:gd name="T24" fmla="*/ 15 w 19"/>
                <a:gd name="T25" fmla="*/ 29 h 101"/>
                <a:gd name="T26" fmla="*/ 15 w 19"/>
                <a:gd name="T27" fmla="*/ 68 h 101"/>
                <a:gd name="T28" fmla="*/ 9 w 19"/>
                <a:gd name="T29" fmla="*/ 56 h 101"/>
                <a:gd name="T30" fmla="*/ 10 w 19"/>
                <a:gd name="T31" fmla="*/ 51 h 101"/>
                <a:gd name="T32" fmla="*/ 10 w 19"/>
                <a:gd name="T33" fmla="*/ 45 h 101"/>
                <a:gd name="T34" fmla="*/ 11 w 19"/>
                <a:gd name="T35" fmla="*/ 37 h 101"/>
                <a:gd name="T36" fmla="*/ 7 w 19"/>
                <a:gd name="T37" fmla="*/ 29 h 101"/>
                <a:gd name="T38" fmla="*/ 8 w 19"/>
                <a:gd name="T39" fmla="*/ 24 h 101"/>
                <a:gd name="T40" fmla="*/ 8 w 19"/>
                <a:gd name="T41" fmla="*/ 21 h 101"/>
                <a:gd name="T42" fmla="*/ 8 w 19"/>
                <a:gd name="T43" fmla="*/ 19 h 101"/>
                <a:gd name="T44" fmla="*/ 8 w 19"/>
                <a:gd name="T45" fmla="*/ 16 h 101"/>
                <a:gd name="T46" fmla="*/ 8 w 19"/>
                <a:gd name="T47" fmla="*/ 11 h 101"/>
                <a:gd name="T48" fmla="*/ 4 w 19"/>
                <a:gd name="T49" fmla="*/ 5 h 101"/>
                <a:gd name="T50" fmla="*/ 8 w 19"/>
                <a:gd name="T51" fmla="*/ 2 h 101"/>
                <a:gd name="T52" fmla="*/ 13 w 19"/>
                <a:gd name="T53" fmla="*/ 18 h 101"/>
                <a:gd name="T54" fmla="*/ 12 w 19"/>
                <a:gd name="T55" fmla="*/ 39 h 101"/>
                <a:gd name="T56" fmla="*/ 15 w 19"/>
                <a:gd name="T57" fmla="*/ 53 h 101"/>
                <a:gd name="T58" fmla="*/ 15 w 19"/>
                <a:gd name="T59" fmla="*/ 88 h 101"/>
                <a:gd name="T60" fmla="*/ 15 w 19"/>
                <a:gd name="T61" fmla="*/ 85 h 101"/>
                <a:gd name="T62" fmla="*/ 11 w 19"/>
                <a:gd name="T63" fmla="*/ 92 h 101"/>
                <a:gd name="T64" fmla="*/ 15 w 19"/>
                <a:gd name="T65" fmla="*/ 9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" h="101">
                  <a:moveTo>
                    <a:pt x="15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15" y="29"/>
                  </a:lnTo>
                  <a:close/>
                  <a:moveTo>
                    <a:pt x="15" y="97"/>
                  </a:move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0"/>
                    <a:pt x="15" y="89"/>
                    <a:pt x="15" y="88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5" y="85"/>
                    <a:pt x="15" y="85"/>
                    <a:pt x="15" y="86"/>
                  </a:cubicBezTo>
                  <a:cubicBezTo>
                    <a:pt x="17" y="88"/>
                    <a:pt x="18" y="82"/>
                    <a:pt x="17" y="80"/>
                  </a:cubicBezTo>
                  <a:cubicBezTo>
                    <a:pt x="15" y="78"/>
                    <a:pt x="14" y="75"/>
                    <a:pt x="16" y="77"/>
                  </a:cubicBezTo>
                  <a:cubicBezTo>
                    <a:pt x="17" y="78"/>
                    <a:pt x="18" y="76"/>
                    <a:pt x="17" y="73"/>
                  </a:cubicBezTo>
                  <a:cubicBezTo>
                    <a:pt x="16" y="71"/>
                    <a:pt x="15" y="70"/>
                    <a:pt x="15" y="68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5"/>
                    <a:pt x="16" y="56"/>
                    <a:pt x="16" y="57"/>
                  </a:cubicBezTo>
                  <a:cubicBezTo>
                    <a:pt x="16" y="58"/>
                    <a:pt x="17" y="58"/>
                    <a:pt x="17" y="58"/>
                  </a:cubicBezTo>
                  <a:cubicBezTo>
                    <a:pt x="17" y="61"/>
                    <a:pt x="18" y="64"/>
                    <a:pt x="18" y="68"/>
                  </a:cubicBezTo>
                  <a:cubicBezTo>
                    <a:pt x="19" y="73"/>
                    <a:pt x="19" y="76"/>
                    <a:pt x="19" y="82"/>
                  </a:cubicBezTo>
                  <a:cubicBezTo>
                    <a:pt x="18" y="88"/>
                    <a:pt x="17" y="93"/>
                    <a:pt x="15" y="96"/>
                  </a:cubicBezTo>
                  <a:lnTo>
                    <a:pt x="15" y="97"/>
                  </a:lnTo>
                  <a:close/>
                  <a:moveTo>
                    <a:pt x="15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15" y="29"/>
                  </a:lnTo>
                  <a:close/>
                  <a:moveTo>
                    <a:pt x="15" y="53"/>
                  </a:moveTo>
                  <a:cubicBezTo>
                    <a:pt x="15" y="68"/>
                    <a:pt x="15" y="68"/>
                    <a:pt x="15" y="68"/>
                  </a:cubicBezTo>
                  <a:cubicBezTo>
                    <a:pt x="14" y="66"/>
                    <a:pt x="12" y="63"/>
                    <a:pt x="13" y="60"/>
                  </a:cubicBezTo>
                  <a:cubicBezTo>
                    <a:pt x="14" y="54"/>
                    <a:pt x="14" y="56"/>
                    <a:pt x="9" y="56"/>
                  </a:cubicBezTo>
                  <a:cubicBezTo>
                    <a:pt x="5" y="56"/>
                    <a:pt x="10" y="54"/>
                    <a:pt x="12" y="53"/>
                  </a:cubicBezTo>
                  <a:cubicBezTo>
                    <a:pt x="14" y="51"/>
                    <a:pt x="13" y="51"/>
                    <a:pt x="10" y="51"/>
                  </a:cubicBezTo>
                  <a:cubicBezTo>
                    <a:pt x="8" y="51"/>
                    <a:pt x="7" y="48"/>
                    <a:pt x="9" y="48"/>
                  </a:cubicBezTo>
                  <a:cubicBezTo>
                    <a:pt x="11" y="48"/>
                    <a:pt x="12" y="47"/>
                    <a:pt x="10" y="45"/>
                  </a:cubicBezTo>
                  <a:cubicBezTo>
                    <a:pt x="9" y="44"/>
                    <a:pt x="9" y="43"/>
                    <a:pt x="10" y="42"/>
                  </a:cubicBezTo>
                  <a:cubicBezTo>
                    <a:pt x="11" y="41"/>
                    <a:pt x="13" y="37"/>
                    <a:pt x="11" y="37"/>
                  </a:cubicBezTo>
                  <a:cubicBezTo>
                    <a:pt x="10" y="38"/>
                    <a:pt x="10" y="37"/>
                    <a:pt x="12" y="33"/>
                  </a:cubicBezTo>
                  <a:cubicBezTo>
                    <a:pt x="14" y="29"/>
                    <a:pt x="9" y="29"/>
                    <a:pt x="7" y="29"/>
                  </a:cubicBezTo>
                  <a:cubicBezTo>
                    <a:pt x="4" y="30"/>
                    <a:pt x="4" y="30"/>
                    <a:pt x="6" y="28"/>
                  </a:cubicBezTo>
                  <a:cubicBezTo>
                    <a:pt x="8" y="27"/>
                    <a:pt x="11" y="23"/>
                    <a:pt x="8" y="24"/>
                  </a:cubicBezTo>
                  <a:cubicBezTo>
                    <a:pt x="6" y="25"/>
                    <a:pt x="5" y="25"/>
                    <a:pt x="6" y="24"/>
                  </a:cubicBezTo>
                  <a:cubicBezTo>
                    <a:pt x="7" y="23"/>
                    <a:pt x="10" y="22"/>
                    <a:pt x="8" y="21"/>
                  </a:cubicBezTo>
                  <a:cubicBezTo>
                    <a:pt x="7" y="21"/>
                    <a:pt x="6" y="21"/>
                    <a:pt x="8" y="20"/>
                  </a:cubicBezTo>
                  <a:cubicBezTo>
                    <a:pt x="9" y="20"/>
                    <a:pt x="11" y="19"/>
                    <a:pt x="8" y="19"/>
                  </a:cubicBezTo>
                  <a:cubicBezTo>
                    <a:pt x="6" y="19"/>
                    <a:pt x="8" y="18"/>
                    <a:pt x="10" y="17"/>
                  </a:cubicBezTo>
                  <a:cubicBezTo>
                    <a:pt x="11" y="17"/>
                    <a:pt x="9" y="15"/>
                    <a:pt x="8" y="16"/>
                  </a:cubicBezTo>
                  <a:cubicBezTo>
                    <a:pt x="7" y="16"/>
                    <a:pt x="9" y="14"/>
                    <a:pt x="10" y="14"/>
                  </a:cubicBezTo>
                  <a:cubicBezTo>
                    <a:pt x="11" y="13"/>
                    <a:pt x="10" y="11"/>
                    <a:pt x="8" y="11"/>
                  </a:cubicBezTo>
                  <a:cubicBezTo>
                    <a:pt x="6" y="11"/>
                    <a:pt x="10" y="10"/>
                    <a:pt x="11" y="9"/>
                  </a:cubicBezTo>
                  <a:cubicBezTo>
                    <a:pt x="11" y="8"/>
                    <a:pt x="7" y="6"/>
                    <a:pt x="4" y="5"/>
                  </a:cubicBezTo>
                  <a:cubicBezTo>
                    <a:pt x="0" y="3"/>
                    <a:pt x="5" y="4"/>
                    <a:pt x="8" y="5"/>
                  </a:cubicBezTo>
                  <a:cubicBezTo>
                    <a:pt x="11" y="6"/>
                    <a:pt x="9" y="5"/>
                    <a:pt x="8" y="2"/>
                  </a:cubicBezTo>
                  <a:cubicBezTo>
                    <a:pt x="6" y="0"/>
                    <a:pt x="12" y="6"/>
                    <a:pt x="12" y="7"/>
                  </a:cubicBezTo>
                  <a:cubicBezTo>
                    <a:pt x="12" y="9"/>
                    <a:pt x="12" y="12"/>
                    <a:pt x="13" y="18"/>
                  </a:cubicBezTo>
                  <a:cubicBezTo>
                    <a:pt x="14" y="24"/>
                    <a:pt x="14" y="27"/>
                    <a:pt x="15" y="29"/>
                  </a:cubicBezTo>
                  <a:cubicBezTo>
                    <a:pt x="15" y="30"/>
                    <a:pt x="12" y="37"/>
                    <a:pt x="12" y="39"/>
                  </a:cubicBezTo>
                  <a:cubicBezTo>
                    <a:pt x="12" y="41"/>
                    <a:pt x="10" y="44"/>
                    <a:pt x="11" y="45"/>
                  </a:cubicBezTo>
                  <a:cubicBezTo>
                    <a:pt x="12" y="46"/>
                    <a:pt x="13" y="50"/>
                    <a:pt x="15" y="53"/>
                  </a:cubicBezTo>
                  <a:close/>
                  <a:moveTo>
                    <a:pt x="15" y="85"/>
                  </a:moveTo>
                  <a:cubicBezTo>
                    <a:pt x="15" y="88"/>
                    <a:pt x="15" y="88"/>
                    <a:pt x="15" y="88"/>
                  </a:cubicBezTo>
                  <a:cubicBezTo>
                    <a:pt x="14" y="85"/>
                    <a:pt x="10" y="81"/>
                    <a:pt x="7" y="76"/>
                  </a:cubicBezTo>
                  <a:cubicBezTo>
                    <a:pt x="3" y="70"/>
                    <a:pt x="12" y="81"/>
                    <a:pt x="15" y="85"/>
                  </a:cubicBezTo>
                  <a:close/>
                  <a:moveTo>
                    <a:pt x="15" y="91"/>
                  </a:moveTo>
                  <a:cubicBezTo>
                    <a:pt x="13" y="93"/>
                    <a:pt x="9" y="88"/>
                    <a:pt x="11" y="92"/>
                  </a:cubicBezTo>
                  <a:cubicBezTo>
                    <a:pt x="13" y="96"/>
                    <a:pt x="13" y="101"/>
                    <a:pt x="13" y="101"/>
                  </a:cubicBezTo>
                  <a:cubicBezTo>
                    <a:pt x="13" y="101"/>
                    <a:pt x="13" y="101"/>
                    <a:pt x="15" y="97"/>
                  </a:cubicBezTo>
                  <a:lnTo>
                    <a:pt x="15" y="91"/>
                  </a:ln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8">
              <a:extLst>
                <a:ext uri="{FF2B5EF4-FFF2-40B4-BE49-F238E27FC236}">
                  <a16:creationId xmlns:a16="http://schemas.microsoft.com/office/drawing/2014/main" id="{30A9552A-24BA-4C63-8C23-EEACBA011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2" y="891"/>
              <a:ext cx="111" cy="92"/>
            </a:xfrm>
            <a:custGeom>
              <a:avLst/>
              <a:gdLst>
                <a:gd name="T0" fmla="*/ 15 w 111"/>
                <a:gd name="T1" fmla="*/ 92 h 92"/>
                <a:gd name="T2" fmla="*/ 0 w 111"/>
                <a:gd name="T3" fmla="*/ 24 h 92"/>
                <a:gd name="T4" fmla="*/ 96 w 111"/>
                <a:gd name="T5" fmla="*/ 0 h 92"/>
                <a:gd name="T6" fmla="*/ 111 w 111"/>
                <a:gd name="T7" fmla="*/ 70 h 92"/>
                <a:gd name="T8" fmla="*/ 15 w 111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92">
                  <a:moveTo>
                    <a:pt x="15" y="92"/>
                  </a:moveTo>
                  <a:lnTo>
                    <a:pt x="0" y="24"/>
                  </a:lnTo>
                  <a:lnTo>
                    <a:pt x="96" y="0"/>
                  </a:lnTo>
                  <a:lnTo>
                    <a:pt x="111" y="70"/>
                  </a:lnTo>
                  <a:lnTo>
                    <a:pt x="15" y="92"/>
                  </a:lnTo>
                  <a:close/>
                </a:path>
              </a:pathLst>
            </a:custGeom>
            <a:solidFill>
              <a:srgbClr val="5D6F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49">
              <a:extLst>
                <a:ext uri="{FF2B5EF4-FFF2-40B4-BE49-F238E27FC236}">
                  <a16:creationId xmlns:a16="http://schemas.microsoft.com/office/drawing/2014/main" id="{70DFCF0F-02E3-4D40-8659-A15ADB44E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7" y="896"/>
              <a:ext cx="103" cy="82"/>
            </a:xfrm>
            <a:custGeom>
              <a:avLst/>
              <a:gdLst>
                <a:gd name="T0" fmla="*/ 14 w 103"/>
                <a:gd name="T1" fmla="*/ 82 h 82"/>
                <a:gd name="T2" fmla="*/ 0 w 103"/>
                <a:gd name="T3" fmla="*/ 19 h 82"/>
                <a:gd name="T4" fmla="*/ 89 w 103"/>
                <a:gd name="T5" fmla="*/ 0 h 82"/>
                <a:gd name="T6" fmla="*/ 103 w 103"/>
                <a:gd name="T7" fmla="*/ 63 h 82"/>
                <a:gd name="T8" fmla="*/ 14 w 103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82">
                  <a:moveTo>
                    <a:pt x="14" y="82"/>
                  </a:moveTo>
                  <a:lnTo>
                    <a:pt x="0" y="19"/>
                  </a:lnTo>
                  <a:lnTo>
                    <a:pt x="89" y="0"/>
                  </a:lnTo>
                  <a:lnTo>
                    <a:pt x="103" y="63"/>
                  </a:lnTo>
                  <a:lnTo>
                    <a:pt x="14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0">
              <a:extLst>
                <a:ext uri="{FF2B5EF4-FFF2-40B4-BE49-F238E27FC236}">
                  <a16:creationId xmlns:a16="http://schemas.microsoft.com/office/drawing/2014/main" id="{2E949275-51AA-40C6-9FE9-F8D166EA8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" y="935"/>
              <a:ext cx="9" cy="24"/>
            </a:xfrm>
            <a:custGeom>
              <a:avLst/>
              <a:gdLst>
                <a:gd name="T0" fmla="*/ 5 w 9"/>
                <a:gd name="T1" fmla="*/ 24 h 24"/>
                <a:gd name="T2" fmla="*/ 0 w 9"/>
                <a:gd name="T3" fmla="*/ 0 h 24"/>
                <a:gd name="T4" fmla="*/ 2 w 9"/>
                <a:gd name="T5" fmla="*/ 0 h 24"/>
                <a:gd name="T6" fmla="*/ 9 w 9"/>
                <a:gd name="T7" fmla="*/ 24 h 24"/>
                <a:gd name="T8" fmla="*/ 5 w 9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4">
                  <a:moveTo>
                    <a:pt x="5" y="24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9" y="24"/>
                  </a:lnTo>
                  <a:lnTo>
                    <a:pt x="5" y="24"/>
                  </a:ln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1">
              <a:extLst>
                <a:ext uri="{FF2B5EF4-FFF2-40B4-BE49-F238E27FC236}">
                  <a16:creationId xmlns:a16="http://schemas.microsoft.com/office/drawing/2014/main" id="{1C05297D-8E5F-4BC8-9B23-A94317459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7" y="935"/>
              <a:ext cx="10" cy="26"/>
            </a:xfrm>
            <a:custGeom>
              <a:avLst/>
              <a:gdLst>
                <a:gd name="T0" fmla="*/ 3 w 4"/>
                <a:gd name="T1" fmla="*/ 10 h 11"/>
                <a:gd name="T2" fmla="*/ 2 w 4"/>
                <a:gd name="T3" fmla="*/ 7 h 11"/>
                <a:gd name="T4" fmla="*/ 1 w 4"/>
                <a:gd name="T5" fmla="*/ 7 h 11"/>
                <a:gd name="T6" fmla="*/ 0 w 4"/>
                <a:gd name="T7" fmla="*/ 4 h 11"/>
                <a:gd name="T8" fmla="*/ 1 w 4"/>
                <a:gd name="T9" fmla="*/ 4 h 11"/>
                <a:gd name="T10" fmla="*/ 1 w 4"/>
                <a:gd name="T11" fmla="*/ 1 h 11"/>
                <a:gd name="T12" fmla="*/ 1 w 4"/>
                <a:gd name="T13" fmla="*/ 0 h 11"/>
                <a:gd name="T14" fmla="*/ 2 w 4"/>
                <a:gd name="T15" fmla="*/ 0 h 11"/>
                <a:gd name="T16" fmla="*/ 4 w 4"/>
                <a:gd name="T17" fmla="*/ 10 h 11"/>
                <a:gd name="T18" fmla="*/ 4 w 4"/>
                <a:gd name="T19" fmla="*/ 10 h 11"/>
                <a:gd name="T20" fmla="*/ 3 w 4"/>
                <a:gd name="T2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11">
                  <a:moveTo>
                    <a:pt x="3" y="10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1"/>
                    <a:pt x="3" y="10"/>
                    <a:pt x="3" y="10"/>
                  </a:cubicBezTo>
                  <a:close/>
                </a:path>
              </a:pathLst>
            </a:custGeom>
            <a:solidFill>
              <a:srgbClr val="9DB7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52">
              <a:extLst>
                <a:ext uri="{FF2B5EF4-FFF2-40B4-BE49-F238E27FC236}">
                  <a16:creationId xmlns:a16="http://schemas.microsoft.com/office/drawing/2014/main" id="{29E2B146-4653-46DB-8B04-9EF2249A8A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5" y="935"/>
              <a:ext cx="26" cy="26"/>
            </a:xfrm>
            <a:custGeom>
              <a:avLst/>
              <a:gdLst>
                <a:gd name="T0" fmla="*/ 7 w 11"/>
                <a:gd name="T1" fmla="*/ 10 h 11"/>
                <a:gd name="T2" fmla="*/ 7 w 11"/>
                <a:gd name="T3" fmla="*/ 7 h 11"/>
                <a:gd name="T4" fmla="*/ 2 w 11"/>
                <a:gd name="T5" fmla="*/ 8 h 11"/>
                <a:gd name="T6" fmla="*/ 2 w 11"/>
                <a:gd name="T7" fmla="*/ 8 h 11"/>
                <a:gd name="T8" fmla="*/ 2 w 11"/>
                <a:gd name="T9" fmla="*/ 7 h 11"/>
                <a:gd name="T10" fmla="*/ 2 w 11"/>
                <a:gd name="T11" fmla="*/ 7 h 11"/>
                <a:gd name="T12" fmla="*/ 3 w 11"/>
                <a:gd name="T13" fmla="*/ 7 h 11"/>
                <a:gd name="T14" fmla="*/ 2 w 11"/>
                <a:gd name="T15" fmla="*/ 6 h 11"/>
                <a:gd name="T16" fmla="*/ 2 w 11"/>
                <a:gd name="T17" fmla="*/ 5 h 11"/>
                <a:gd name="T18" fmla="*/ 6 w 11"/>
                <a:gd name="T19" fmla="*/ 4 h 11"/>
                <a:gd name="T20" fmla="*/ 6 w 11"/>
                <a:gd name="T21" fmla="*/ 1 h 11"/>
                <a:gd name="T22" fmla="*/ 6 w 11"/>
                <a:gd name="T23" fmla="*/ 0 h 11"/>
                <a:gd name="T24" fmla="*/ 8 w 11"/>
                <a:gd name="T25" fmla="*/ 0 h 11"/>
                <a:gd name="T26" fmla="*/ 11 w 11"/>
                <a:gd name="T27" fmla="*/ 10 h 11"/>
                <a:gd name="T28" fmla="*/ 9 w 11"/>
                <a:gd name="T29" fmla="*/ 11 h 11"/>
                <a:gd name="T30" fmla="*/ 7 w 11"/>
                <a:gd name="T31" fmla="*/ 10 h 11"/>
                <a:gd name="T32" fmla="*/ 2 w 11"/>
                <a:gd name="T33" fmla="*/ 8 h 11"/>
                <a:gd name="T34" fmla="*/ 0 w 11"/>
                <a:gd name="T35" fmla="*/ 7 h 11"/>
                <a:gd name="T36" fmla="*/ 2 w 11"/>
                <a:gd name="T37" fmla="*/ 5 h 11"/>
                <a:gd name="T38" fmla="*/ 2 w 11"/>
                <a:gd name="T39" fmla="*/ 5 h 11"/>
                <a:gd name="T40" fmla="*/ 2 w 11"/>
                <a:gd name="T41" fmla="*/ 6 h 11"/>
                <a:gd name="T42" fmla="*/ 2 w 11"/>
                <a:gd name="T43" fmla="*/ 6 h 11"/>
                <a:gd name="T44" fmla="*/ 1 w 11"/>
                <a:gd name="T45" fmla="*/ 7 h 11"/>
                <a:gd name="T46" fmla="*/ 2 w 11"/>
                <a:gd name="T47" fmla="*/ 7 h 11"/>
                <a:gd name="T48" fmla="*/ 2 w 11"/>
                <a:gd name="T4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" h="11">
                  <a:moveTo>
                    <a:pt x="7" y="10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0"/>
                    <a:pt x="7" y="10"/>
                  </a:cubicBezTo>
                  <a:close/>
                  <a:moveTo>
                    <a:pt x="2" y="8"/>
                  </a:moveTo>
                  <a:cubicBezTo>
                    <a:pt x="1" y="8"/>
                    <a:pt x="1" y="8"/>
                    <a:pt x="0" y="7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6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2" y="8"/>
                  </a:lnTo>
                  <a:close/>
                </a:path>
              </a:pathLst>
            </a:custGeom>
            <a:solidFill>
              <a:srgbClr val="EAAB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3">
              <a:extLst>
                <a:ext uri="{FF2B5EF4-FFF2-40B4-BE49-F238E27FC236}">
                  <a16:creationId xmlns:a16="http://schemas.microsoft.com/office/drawing/2014/main" id="{35C7833F-904B-4276-B446-25A788A28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8" y="930"/>
              <a:ext cx="29" cy="55"/>
            </a:xfrm>
            <a:custGeom>
              <a:avLst/>
              <a:gdLst>
                <a:gd name="T0" fmla="*/ 3 w 12"/>
                <a:gd name="T1" fmla="*/ 4 h 23"/>
                <a:gd name="T2" fmla="*/ 1 w 12"/>
                <a:gd name="T3" fmla="*/ 12 h 23"/>
                <a:gd name="T4" fmla="*/ 1 w 12"/>
                <a:gd name="T5" fmla="*/ 18 h 23"/>
                <a:gd name="T6" fmla="*/ 2 w 12"/>
                <a:gd name="T7" fmla="*/ 20 h 23"/>
                <a:gd name="T8" fmla="*/ 1 w 12"/>
                <a:gd name="T9" fmla="*/ 22 h 23"/>
                <a:gd name="T10" fmla="*/ 3 w 12"/>
                <a:gd name="T11" fmla="*/ 21 h 23"/>
                <a:gd name="T12" fmla="*/ 6 w 12"/>
                <a:gd name="T13" fmla="*/ 21 h 23"/>
                <a:gd name="T14" fmla="*/ 7 w 12"/>
                <a:gd name="T15" fmla="*/ 20 h 23"/>
                <a:gd name="T16" fmla="*/ 9 w 12"/>
                <a:gd name="T17" fmla="*/ 20 h 23"/>
                <a:gd name="T18" fmla="*/ 10 w 12"/>
                <a:gd name="T19" fmla="*/ 19 h 23"/>
                <a:gd name="T20" fmla="*/ 12 w 12"/>
                <a:gd name="T21" fmla="*/ 17 h 23"/>
                <a:gd name="T22" fmla="*/ 12 w 12"/>
                <a:gd name="T23" fmla="*/ 9 h 23"/>
                <a:gd name="T24" fmla="*/ 12 w 12"/>
                <a:gd name="T25" fmla="*/ 2 h 23"/>
                <a:gd name="T26" fmla="*/ 3 w 12"/>
                <a:gd name="T2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3">
                  <a:moveTo>
                    <a:pt x="3" y="4"/>
                  </a:moveTo>
                  <a:cubicBezTo>
                    <a:pt x="3" y="6"/>
                    <a:pt x="1" y="9"/>
                    <a:pt x="1" y="12"/>
                  </a:cubicBezTo>
                  <a:cubicBezTo>
                    <a:pt x="1" y="14"/>
                    <a:pt x="1" y="18"/>
                    <a:pt x="1" y="18"/>
                  </a:cubicBezTo>
                  <a:cubicBezTo>
                    <a:pt x="1" y="19"/>
                    <a:pt x="2" y="20"/>
                    <a:pt x="2" y="20"/>
                  </a:cubicBezTo>
                  <a:cubicBezTo>
                    <a:pt x="2" y="20"/>
                    <a:pt x="0" y="21"/>
                    <a:pt x="1" y="22"/>
                  </a:cubicBezTo>
                  <a:cubicBezTo>
                    <a:pt x="2" y="23"/>
                    <a:pt x="3" y="21"/>
                    <a:pt x="3" y="21"/>
                  </a:cubicBezTo>
                  <a:cubicBezTo>
                    <a:pt x="3" y="21"/>
                    <a:pt x="5" y="22"/>
                    <a:pt x="6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9" y="20"/>
                    <a:pt x="9" y="20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2" y="19"/>
                    <a:pt x="12" y="17"/>
                  </a:cubicBezTo>
                  <a:cubicBezTo>
                    <a:pt x="12" y="16"/>
                    <a:pt x="12" y="12"/>
                    <a:pt x="12" y="9"/>
                  </a:cubicBezTo>
                  <a:cubicBezTo>
                    <a:pt x="11" y="6"/>
                    <a:pt x="12" y="4"/>
                    <a:pt x="12" y="2"/>
                  </a:cubicBezTo>
                  <a:cubicBezTo>
                    <a:pt x="12" y="1"/>
                    <a:pt x="5" y="0"/>
                    <a:pt x="3" y="4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4">
              <a:extLst>
                <a:ext uri="{FF2B5EF4-FFF2-40B4-BE49-F238E27FC236}">
                  <a16:creationId xmlns:a16="http://schemas.microsoft.com/office/drawing/2014/main" id="{EA8CBB06-4E12-4719-A531-070A5D66C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" y="963"/>
              <a:ext cx="5" cy="17"/>
            </a:xfrm>
            <a:custGeom>
              <a:avLst/>
              <a:gdLst>
                <a:gd name="T0" fmla="*/ 0 w 2"/>
                <a:gd name="T1" fmla="*/ 7 h 7"/>
                <a:gd name="T2" fmla="*/ 2 w 2"/>
                <a:gd name="T3" fmla="*/ 2 h 7"/>
                <a:gd name="T4" fmla="*/ 2 w 2"/>
                <a:gd name="T5" fmla="*/ 2 h 7"/>
                <a:gd name="T6" fmla="*/ 0 w 2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7">
                  <a:moveTo>
                    <a:pt x="0" y="7"/>
                  </a:moveTo>
                  <a:cubicBezTo>
                    <a:pt x="0" y="7"/>
                    <a:pt x="2" y="4"/>
                    <a:pt x="2" y="2"/>
                  </a:cubicBezTo>
                  <a:cubicBezTo>
                    <a:pt x="2" y="0"/>
                    <a:pt x="2" y="1"/>
                    <a:pt x="2" y="2"/>
                  </a:cubicBezTo>
                  <a:cubicBezTo>
                    <a:pt x="2" y="4"/>
                    <a:pt x="1" y="7"/>
                    <a:pt x="0" y="7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5">
              <a:extLst>
                <a:ext uri="{FF2B5EF4-FFF2-40B4-BE49-F238E27FC236}">
                  <a16:creationId xmlns:a16="http://schemas.microsoft.com/office/drawing/2014/main" id="{41D803B1-0642-4A37-85DA-02B424CB6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" y="966"/>
              <a:ext cx="5" cy="12"/>
            </a:xfrm>
            <a:custGeom>
              <a:avLst/>
              <a:gdLst>
                <a:gd name="T0" fmla="*/ 0 w 2"/>
                <a:gd name="T1" fmla="*/ 5 h 5"/>
                <a:gd name="T2" fmla="*/ 1 w 2"/>
                <a:gd name="T3" fmla="*/ 0 h 5"/>
                <a:gd name="T4" fmla="*/ 0 w 2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cubicBezTo>
                    <a:pt x="1" y="4"/>
                    <a:pt x="1" y="1"/>
                    <a:pt x="1" y="0"/>
                  </a:cubicBezTo>
                  <a:cubicBezTo>
                    <a:pt x="2" y="0"/>
                    <a:pt x="1" y="4"/>
                    <a:pt x="0" y="5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6">
              <a:extLst>
                <a:ext uri="{FF2B5EF4-FFF2-40B4-BE49-F238E27FC236}">
                  <a16:creationId xmlns:a16="http://schemas.microsoft.com/office/drawing/2014/main" id="{74BEDF2B-DFAF-482D-9645-5A8D85C07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2" y="963"/>
              <a:ext cx="3" cy="12"/>
            </a:xfrm>
            <a:custGeom>
              <a:avLst/>
              <a:gdLst>
                <a:gd name="T0" fmla="*/ 0 w 1"/>
                <a:gd name="T1" fmla="*/ 5 h 5"/>
                <a:gd name="T2" fmla="*/ 0 w 1"/>
                <a:gd name="T3" fmla="*/ 1 h 5"/>
                <a:gd name="T4" fmla="*/ 0 w 1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cubicBezTo>
                    <a:pt x="0" y="4"/>
                    <a:pt x="0" y="1"/>
                    <a:pt x="0" y="1"/>
                  </a:cubicBezTo>
                  <a:cubicBezTo>
                    <a:pt x="1" y="0"/>
                    <a:pt x="1" y="4"/>
                    <a:pt x="0" y="5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7">
              <a:extLst>
                <a:ext uri="{FF2B5EF4-FFF2-40B4-BE49-F238E27FC236}">
                  <a16:creationId xmlns:a16="http://schemas.microsoft.com/office/drawing/2014/main" id="{ACD946AA-7B42-4A4E-BC2F-BB50E9487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3" y="951"/>
              <a:ext cx="5" cy="27"/>
            </a:xfrm>
            <a:custGeom>
              <a:avLst/>
              <a:gdLst>
                <a:gd name="T0" fmla="*/ 0 w 2"/>
                <a:gd name="T1" fmla="*/ 11 h 11"/>
                <a:gd name="T2" fmla="*/ 1 w 2"/>
                <a:gd name="T3" fmla="*/ 6 h 11"/>
                <a:gd name="T4" fmla="*/ 1 w 2"/>
                <a:gd name="T5" fmla="*/ 0 h 11"/>
                <a:gd name="T6" fmla="*/ 1 w 2"/>
                <a:gd name="T7" fmla="*/ 6 h 11"/>
                <a:gd name="T8" fmla="*/ 0 w 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1">
                  <a:moveTo>
                    <a:pt x="0" y="11"/>
                  </a:moveTo>
                  <a:cubicBezTo>
                    <a:pt x="0" y="10"/>
                    <a:pt x="1" y="8"/>
                    <a:pt x="1" y="6"/>
                  </a:cubicBezTo>
                  <a:cubicBezTo>
                    <a:pt x="1" y="5"/>
                    <a:pt x="2" y="0"/>
                    <a:pt x="1" y="0"/>
                  </a:cubicBezTo>
                  <a:cubicBezTo>
                    <a:pt x="0" y="1"/>
                    <a:pt x="1" y="4"/>
                    <a:pt x="1" y="6"/>
                  </a:cubicBezTo>
                  <a:cubicBezTo>
                    <a:pt x="1" y="7"/>
                    <a:pt x="0" y="10"/>
                    <a:pt x="0" y="11"/>
                  </a:cubicBezTo>
                  <a:close/>
                </a:path>
              </a:pathLst>
            </a:custGeom>
            <a:solidFill>
              <a:srgbClr val="C79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8">
              <a:extLst>
                <a:ext uri="{FF2B5EF4-FFF2-40B4-BE49-F238E27FC236}">
                  <a16:creationId xmlns:a16="http://schemas.microsoft.com/office/drawing/2014/main" id="{79911C57-52E8-480A-B9D9-DFB69424F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" y="858"/>
              <a:ext cx="39" cy="16"/>
            </a:xfrm>
            <a:custGeom>
              <a:avLst/>
              <a:gdLst>
                <a:gd name="T0" fmla="*/ 0 w 16"/>
                <a:gd name="T1" fmla="*/ 0 h 7"/>
                <a:gd name="T2" fmla="*/ 2 w 16"/>
                <a:gd name="T3" fmla="*/ 6 h 7"/>
                <a:gd name="T4" fmla="*/ 8 w 16"/>
                <a:gd name="T5" fmla="*/ 6 h 7"/>
                <a:gd name="T6" fmla="*/ 14 w 16"/>
                <a:gd name="T7" fmla="*/ 6 h 7"/>
                <a:gd name="T8" fmla="*/ 16 w 16"/>
                <a:gd name="T9" fmla="*/ 4 h 7"/>
                <a:gd name="T10" fmla="*/ 14 w 16"/>
                <a:gd name="T11" fmla="*/ 7 h 7"/>
                <a:gd name="T12" fmla="*/ 8 w 16"/>
                <a:gd name="T13" fmla="*/ 7 h 7"/>
                <a:gd name="T14" fmla="*/ 2 w 16"/>
                <a:gd name="T15" fmla="*/ 6 h 7"/>
                <a:gd name="T16" fmla="*/ 0 w 16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7">
                  <a:moveTo>
                    <a:pt x="0" y="0"/>
                  </a:moveTo>
                  <a:cubicBezTo>
                    <a:pt x="0" y="2"/>
                    <a:pt x="0" y="5"/>
                    <a:pt x="2" y="6"/>
                  </a:cubicBezTo>
                  <a:cubicBezTo>
                    <a:pt x="3" y="6"/>
                    <a:pt x="5" y="7"/>
                    <a:pt x="8" y="6"/>
                  </a:cubicBezTo>
                  <a:cubicBezTo>
                    <a:pt x="11" y="6"/>
                    <a:pt x="13" y="6"/>
                    <a:pt x="14" y="6"/>
                  </a:cubicBezTo>
                  <a:cubicBezTo>
                    <a:pt x="15" y="5"/>
                    <a:pt x="16" y="4"/>
                    <a:pt x="16" y="4"/>
                  </a:cubicBezTo>
                  <a:cubicBezTo>
                    <a:pt x="16" y="4"/>
                    <a:pt x="15" y="6"/>
                    <a:pt x="14" y="7"/>
                  </a:cubicBezTo>
                  <a:cubicBezTo>
                    <a:pt x="14" y="7"/>
                    <a:pt x="9" y="7"/>
                    <a:pt x="8" y="7"/>
                  </a:cubicBezTo>
                  <a:cubicBezTo>
                    <a:pt x="6" y="7"/>
                    <a:pt x="2" y="7"/>
                    <a:pt x="2" y="6"/>
                  </a:cubicBezTo>
                  <a:cubicBezTo>
                    <a:pt x="1" y="6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9">
              <a:extLst>
                <a:ext uri="{FF2B5EF4-FFF2-40B4-BE49-F238E27FC236}">
                  <a16:creationId xmlns:a16="http://schemas.microsoft.com/office/drawing/2014/main" id="{6F55B022-9E8F-42EF-B6A6-653A6ACA8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2" y="766"/>
              <a:ext cx="33" cy="77"/>
            </a:xfrm>
            <a:custGeom>
              <a:avLst/>
              <a:gdLst>
                <a:gd name="T0" fmla="*/ 8 w 14"/>
                <a:gd name="T1" fmla="*/ 0 h 32"/>
                <a:gd name="T2" fmla="*/ 11 w 14"/>
                <a:gd name="T3" fmla="*/ 0 h 32"/>
                <a:gd name="T4" fmla="*/ 14 w 14"/>
                <a:gd name="T5" fmla="*/ 0 h 32"/>
                <a:gd name="T6" fmla="*/ 12 w 14"/>
                <a:gd name="T7" fmla="*/ 15 h 32"/>
                <a:gd name="T8" fmla="*/ 6 w 14"/>
                <a:gd name="T9" fmla="*/ 31 h 32"/>
                <a:gd name="T10" fmla="*/ 4 w 14"/>
                <a:gd name="T11" fmla="*/ 30 h 32"/>
                <a:gd name="T12" fmla="*/ 3 w 14"/>
                <a:gd name="T13" fmla="*/ 28 h 32"/>
                <a:gd name="T14" fmla="*/ 6 w 14"/>
                <a:gd name="T15" fmla="*/ 22 h 32"/>
                <a:gd name="T16" fmla="*/ 3 w 14"/>
                <a:gd name="T17" fmla="*/ 22 h 32"/>
                <a:gd name="T18" fmla="*/ 10 w 14"/>
                <a:gd name="T19" fmla="*/ 11 h 32"/>
                <a:gd name="T20" fmla="*/ 4 w 14"/>
                <a:gd name="T21" fmla="*/ 16 h 32"/>
                <a:gd name="T22" fmla="*/ 8 w 14"/>
                <a:gd name="T23" fmla="*/ 7 h 32"/>
                <a:gd name="T24" fmla="*/ 8 w 14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32">
                  <a:moveTo>
                    <a:pt x="8" y="0"/>
                  </a:moveTo>
                  <a:cubicBezTo>
                    <a:pt x="9" y="0"/>
                    <a:pt x="10" y="0"/>
                    <a:pt x="11" y="0"/>
                  </a:cubicBezTo>
                  <a:cubicBezTo>
                    <a:pt x="13" y="1"/>
                    <a:pt x="14" y="0"/>
                    <a:pt x="14" y="0"/>
                  </a:cubicBezTo>
                  <a:cubicBezTo>
                    <a:pt x="14" y="0"/>
                    <a:pt x="13" y="9"/>
                    <a:pt x="12" y="15"/>
                  </a:cubicBezTo>
                  <a:cubicBezTo>
                    <a:pt x="10" y="20"/>
                    <a:pt x="9" y="28"/>
                    <a:pt x="6" y="31"/>
                  </a:cubicBezTo>
                  <a:cubicBezTo>
                    <a:pt x="5" y="31"/>
                    <a:pt x="5" y="30"/>
                    <a:pt x="4" y="30"/>
                  </a:cubicBezTo>
                  <a:cubicBezTo>
                    <a:pt x="2" y="32"/>
                    <a:pt x="6" y="26"/>
                    <a:pt x="3" y="28"/>
                  </a:cubicBezTo>
                  <a:cubicBezTo>
                    <a:pt x="1" y="30"/>
                    <a:pt x="5" y="24"/>
                    <a:pt x="6" y="22"/>
                  </a:cubicBezTo>
                  <a:cubicBezTo>
                    <a:pt x="7" y="20"/>
                    <a:pt x="6" y="20"/>
                    <a:pt x="3" y="22"/>
                  </a:cubicBezTo>
                  <a:cubicBezTo>
                    <a:pt x="0" y="24"/>
                    <a:pt x="9" y="14"/>
                    <a:pt x="10" y="11"/>
                  </a:cubicBezTo>
                  <a:cubicBezTo>
                    <a:pt x="12" y="8"/>
                    <a:pt x="6" y="13"/>
                    <a:pt x="4" y="16"/>
                  </a:cubicBezTo>
                  <a:cubicBezTo>
                    <a:pt x="2" y="20"/>
                    <a:pt x="7" y="10"/>
                    <a:pt x="8" y="7"/>
                  </a:cubicBezTo>
                  <a:cubicBezTo>
                    <a:pt x="9" y="4"/>
                    <a:pt x="9" y="1"/>
                    <a:pt x="8" y="0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0">
              <a:extLst>
                <a:ext uri="{FF2B5EF4-FFF2-40B4-BE49-F238E27FC236}">
                  <a16:creationId xmlns:a16="http://schemas.microsoft.com/office/drawing/2014/main" id="{D21039A8-D7C4-4DB1-B4EB-5F7024372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4" y="756"/>
              <a:ext cx="65" cy="159"/>
            </a:xfrm>
            <a:custGeom>
              <a:avLst/>
              <a:gdLst>
                <a:gd name="T0" fmla="*/ 17 w 27"/>
                <a:gd name="T1" fmla="*/ 66 h 66"/>
                <a:gd name="T2" fmla="*/ 17 w 27"/>
                <a:gd name="T3" fmla="*/ 62 h 66"/>
                <a:gd name="T4" fmla="*/ 13 w 27"/>
                <a:gd name="T5" fmla="*/ 43 h 66"/>
                <a:gd name="T6" fmla="*/ 17 w 27"/>
                <a:gd name="T7" fmla="*/ 27 h 66"/>
                <a:gd name="T8" fmla="*/ 25 w 27"/>
                <a:gd name="T9" fmla="*/ 0 h 66"/>
                <a:gd name="T10" fmla="*/ 19 w 27"/>
                <a:gd name="T11" fmla="*/ 0 h 66"/>
                <a:gd name="T12" fmla="*/ 14 w 27"/>
                <a:gd name="T13" fmla="*/ 15 h 66"/>
                <a:gd name="T14" fmla="*/ 10 w 27"/>
                <a:gd name="T15" fmla="*/ 21 h 66"/>
                <a:gd name="T16" fmla="*/ 9 w 27"/>
                <a:gd name="T17" fmla="*/ 27 h 66"/>
                <a:gd name="T18" fmla="*/ 4 w 27"/>
                <a:gd name="T19" fmla="*/ 30 h 66"/>
                <a:gd name="T20" fmla="*/ 9 w 27"/>
                <a:gd name="T21" fmla="*/ 37 h 66"/>
                <a:gd name="T22" fmla="*/ 12 w 27"/>
                <a:gd name="T23" fmla="*/ 42 h 66"/>
                <a:gd name="T24" fmla="*/ 12 w 27"/>
                <a:gd name="T25" fmla="*/ 50 h 66"/>
                <a:gd name="T26" fmla="*/ 14 w 27"/>
                <a:gd name="T27" fmla="*/ 56 h 66"/>
                <a:gd name="T28" fmla="*/ 13 w 27"/>
                <a:gd name="T29" fmla="*/ 64 h 66"/>
                <a:gd name="T30" fmla="*/ 17 w 27"/>
                <a:gd name="T3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" h="66">
                  <a:moveTo>
                    <a:pt x="17" y="66"/>
                  </a:moveTo>
                  <a:cubicBezTo>
                    <a:pt x="18" y="65"/>
                    <a:pt x="18" y="64"/>
                    <a:pt x="17" y="62"/>
                  </a:cubicBezTo>
                  <a:cubicBezTo>
                    <a:pt x="16" y="57"/>
                    <a:pt x="12" y="50"/>
                    <a:pt x="13" y="43"/>
                  </a:cubicBezTo>
                  <a:cubicBezTo>
                    <a:pt x="15" y="36"/>
                    <a:pt x="13" y="38"/>
                    <a:pt x="17" y="27"/>
                  </a:cubicBezTo>
                  <a:cubicBezTo>
                    <a:pt x="20" y="17"/>
                    <a:pt x="27" y="4"/>
                    <a:pt x="25" y="0"/>
                  </a:cubicBezTo>
                  <a:cubicBezTo>
                    <a:pt x="23" y="0"/>
                    <a:pt x="22" y="0"/>
                    <a:pt x="19" y="0"/>
                  </a:cubicBezTo>
                  <a:cubicBezTo>
                    <a:pt x="17" y="3"/>
                    <a:pt x="14" y="11"/>
                    <a:pt x="14" y="15"/>
                  </a:cubicBezTo>
                  <a:cubicBezTo>
                    <a:pt x="14" y="18"/>
                    <a:pt x="8" y="20"/>
                    <a:pt x="10" y="21"/>
                  </a:cubicBezTo>
                  <a:cubicBezTo>
                    <a:pt x="12" y="22"/>
                    <a:pt x="7" y="25"/>
                    <a:pt x="9" y="27"/>
                  </a:cubicBezTo>
                  <a:cubicBezTo>
                    <a:pt x="10" y="28"/>
                    <a:pt x="0" y="28"/>
                    <a:pt x="4" y="30"/>
                  </a:cubicBezTo>
                  <a:cubicBezTo>
                    <a:pt x="8" y="32"/>
                    <a:pt x="8" y="36"/>
                    <a:pt x="9" y="37"/>
                  </a:cubicBezTo>
                  <a:cubicBezTo>
                    <a:pt x="11" y="38"/>
                    <a:pt x="10" y="41"/>
                    <a:pt x="12" y="42"/>
                  </a:cubicBezTo>
                  <a:cubicBezTo>
                    <a:pt x="13" y="43"/>
                    <a:pt x="13" y="48"/>
                    <a:pt x="12" y="50"/>
                  </a:cubicBezTo>
                  <a:cubicBezTo>
                    <a:pt x="12" y="53"/>
                    <a:pt x="13" y="54"/>
                    <a:pt x="14" y="56"/>
                  </a:cubicBezTo>
                  <a:cubicBezTo>
                    <a:pt x="15" y="57"/>
                    <a:pt x="12" y="63"/>
                    <a:pt x="13" y="64"/>
                  </a:cubicBezTo>
                  <a:cubicBezTo>
                    <a:pt x="14" y="66"/>
                    <a:pt x="18" y="64"/>
                    <a:pt x="17" y="66"/>
                  </a:cubicBezTo>
                  <a:close/>
                </a:path>
              </a:pathLst>
            </a:custGeom>
            <a:solidFill>
              <a:srgbClr val="3921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1">
              <a:extLst>
                <a:ext uri="{FF2B5EF4-FFF2-40B4-BE49-F238E27FC236}">
                  <a16:creationId xmlns:a16="http://schemas.microsoft.com/office/drawing/2014/main" id="{F5B8FE71-153B-4FCC-B734-D93768C4B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8" y="631"/>
              <a:ext cx="77" cy="118"/>
            </a:xfrm>
            <a:custGeom>
              <a:avLst/>
              <a:gdLst>
                <a:gd name="T0" fmla="*/ 0 w 32"/>
                <a:gd name="T1" fmla="*/ 19 h 49"/>
                <a:gd name="T2" fmla="*/ 17 w 32"/>
                <a:gd name="T3" fmla="*/ 35 h 49"/>
                <a:gd name="T4" fmla="*/ 24 w 32"/>
                <a:gd name="T5" fmla="*/ 47 h 49"/>
                <a:gd name="T6" fmla="*/ 32 w 32"/>
                <a:gd name="T7" fmla="*/ 49 h 49"/>
                <a:gd name="T8" fmla="*/ 24 w 32"/>
                <a:gd name="T9" fmla="*/ 34 h 49"/>
                <a:gd name="T10" fmla="*/ 0 w 32"/>
                <a:gd name="T11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49">
                  <a:moveTo>
                    <a:pt x="0" y="19"/>
                  </a:moveTo>
                  <a:cubicBezTo>
                    <a:pt x="6" y="17"/>
                    <a:pt x="14" y="24"/>
                    <a:pt x="17" y="35"/>
                  </a:cubicBezTo>
                  <a:cubicBezTo>
                    <a:pt x="18" y="40"/>
                    <a:pt x="20" y="46"/>
                    <a:pt x="24" y="47"/>
                  </a:cubicBezTo>
                  <a:cubicBezTo>
                    <a:pt x="27" y="48"/>
                    <a:pt x="32" y="49"/>
                    <a:pt x="32" y="49"/>
                  </a:cubicBezTo>
                  <a:cubicBezTo>
                    <a:pt x="32" y="49"/>
                    <a:pt x="27" y="43"/>
                    <a:pt x="24" y="34"/>
                  </a:cubicBezTo>
                  <a:cubicBezTo>
                    <a:pt x="21" y="25"/>
                    <a:pt x="14" y="0"/>
                    <a:pt x="0" y="19"/>
                  </a:cubicBezTo>
                  <a:close/>
                </a:path>
              </a:pathLst>
            </a:custGeom>
            <a:solidFill>
              <a:srgbClr val="9C65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2">
              <a:extLst>
                <a:ext uri="{FF2B5EF4-FFF2-40B4-BE49-F238E27FC236}">
                  <a16:creationId xmlns:a16="http://schemas.microsoft.com/office/drawing/2014/main" id="{90735B5F-8643-412C-8C83-CD5E780C3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3" y="752"/>
              <a:ext cx="41" cy="195"/>
            </a:xfrm>
            <a:custGeom>
              <a:avLst/>
              <a:gdLst>
                <a:gd name="T0" fmla="*/ 11 w 17"/>
                <a:gd name="T1" fmla="*/ 1 h 81"/>
                <a:gd name="T2" fmla="*/ 14 w 17"/>
                <a:gd name="T3" fmla="*/ 10 h 81"/>
                <a:gd name="T4" fmla="*/ 16 w 17"/>
                <a:gd name="T5" fmla="*/ 32 h 81"/>
                <a:gd name="T6" fmla="*/ 13 w 17"/>
                <a:gd name="T7" fmla="*/ 70 h 81"/>
                <a:gd name="T8" fmla="*/ 11 w 17"/>
                <a:gd name="T9" fmla="*/ 81 h 81"/>
                <a:gd name="T10" fmla="*/ 0 w 17"/>
                <a:gd name="T11" fmla="*/ 79 h 81"/>
                <a:gd name="T12" fmla="*/ 2 w 17"/>
                <a:gd name="T13" fmla="*/ 60 h 81"/>
                <a:gd name="T14" fmla="*/ 4 w 17"/>
                <a:gd name="T15" fmla="*/ 31 h 81"/>
                <a:gd name="T16" fmla="*/ 11 w 17"/>
                <a:gd name="T17" fmla="*/ 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81">
                  <a:moveTo>
                    <a:pt x="11" y="1"/>
                  </a:moveTo>
                  <a:cubicBezTo>
                    <a:pt x="16" y="1"/>
                    <a:pt x="15" y="4"/>
                    <a:pt x="14" y="10"/>
                  </a:cubicBezTo>
                  <a:cubicBezTo>
                    <a:pt x="13" y="16"/>
                    <a:pt x="17" y="17"/>
                    <a:pt x="16" y="32"/>
                  </a:cubicBezTo>
                  <a:cubicBezTo>
                    <a:pt x="15" y="47"/>
                    <a:pt x="14" y="62"/>
                    <a:pt x="13" y="70"/>
                  </a:cubicBezTo>
                  <a:cubicBezTo>
                    <a:pt x="12" y="78"/>
                    <a:pt x="11" y="81"/>
                    <a:pt x="11" y="81"/>
                  </a:cubicBezTo>
                  <a:cubicBezTo>
                    <a:pt x="10" y="79"/>
                    <a:pt x="3" y="77"/>
                    <a:pt x="0" y="79"/>
                  </a:cubicBezTo>
                  <a:cubicBezTo>
                    <a:pt x="0" y="79"/>
                    <a:pt x="0" y="73"/>
                    <a:pt x="2" y="60"/>
                  </a:cubicBezTo>
                  <a:cubicBezTo>
                    <a:pt x="5" y="47"/>
                    <a:pt x="4" y="41"/>
                    <a:pt x="4" y="31"/>
                  </a:cubicBezTo>
                  <a:cubicBezTo>
                    <a:pt x="3" y="22"/>
                    <a:pt x="2" y="0"/>
                    <a:pt x="11" y="1"/>
                  </a:cubicBezTo>
                  <a:close/>
                </a:path>
              </a:pathLst>
            </a:custGeom>
            <a:solidFill>
              <a:srgbClr val="722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3">
              <a:extLst>
                <a:ext uri="{FF2B5EF4-FFF2-40B4-BE49-F238E27FC236}">
                  <a16:creationId xmlns:a16="http://schemas.microsoft.com/office/drawing/2014/main" id="{A04F2253-61BE-4129-BA6B-867D4C0BB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0" y="735"/>
              <a:ext cx="24" cy="41"/>
            </a:xfrm>
            <a:custGeom>
              <a:avLst/>
              <a:gdLst>
                <a:gd name="T0" fmla="*/ 4 w 10"/>
                <a:gd name="T1" fmla="*/ 17 h 17"/>
                <a:gd name="T2" fmla="*/ 0 w 10"/>
                <a:gd name="T3" fmla="*/ 13 h 17"/>
                <a:gd name="T4" fmla="*/ 9 w 10"/>
                <a:gd name="T5" fmla="*/ 1 h 17"/>
                <a:gd name="T6" fmla="*/ 9 w 10"/>
                <a:gd name="T7" fmla="*/ 0 h 17"/>
                <a:gd name="T8" fmla="*/ 7 w 10"/>
                <a:gd name="T9" fmla="*/ 10 h 17"/>
                <a:gd name="T10" fmla="*/ 4 w 10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7">
                  <a:moveTo>
                    <a:pt x="4" y="17"/>
                  </a:moveTo>
                  <a:cubicBezTo>
                    <a:pt x="3" y="15"/>
                    <a:pt x="2" y="13"/>
                    <a:pt x="0" y="13"/>
                  </a:cubicBezTo>
                  <a:cubicBezTo>
                    <a:pt x="0" y="12"/>
                    <a:pt x="5" y="6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3"/>
                    <a:pt x="9" y="7"/>
                    <a:pt x="7" y="10"/>
                  </a:cubicBezTo>
                  <a:cubicBezTo>
                    <a:pt x="6" y="12"/>
                    <a:pt x="5" y="14"/>
                    <a:pt x="4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4">
              <a:extLst>
                <a:ext uri="{FF2B5EF4-FFF2-40B4-BE49-F238E27FC236}">
                  <a16:creationId xmlns:a16="http://schemas.microsoft.com/office/drawing/2014/main" id="{EED12795-BB62-4C44-9A9D-1884C2B7E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7" y="1067"/>
              <a:ext cx="34" cy="67"/>
            </a:xfrm>
            <a:custGeom>
              <a:avLst/>
              <a:gdLst>
                <a:gd name="T0" fmla="*/ 4 w 14"/>
                <a:gd name="T1" fmla="*/ 5 h 28"/>
                <a:gd name="T2" fmla="*/ 3 w 14"/>
                <a:gd name="T3" fmla="*/ 11 h 28"/>
                <a:gd name="T4" fmla="*/ 3 w 14"/>
                <a:gd name="T5" fmla="*/ 19 h 28"/>
                <a:gd name="T6" fmla="*/ 4 w 14"/>
                <a:gd name="T7" fmla="*/ 22 h 28"/>
                <a:gd name="T8" fmla="*/ 6 w 14"/>
                <a:gd name="T9" fmla="*/ 17 h 28"/>
                <a:gd name="T10" fmla="*/ 7 w 14"/>
                <a:gd name="T11" fmla="*/ 13 h 28"/>
                <a:gd name="T12" fmla="*/ 7 w 14"/>
                <a:gd name="T13" fmla="*/ 19 h 28"/>
                <a:gd name="T14" fmla="*/ 5 w 14"/>
                <a:gd name="T15" fmla="*/ 23 h 28"/>
                <a:gd name="T16" fmla="*/ 0 w 14"/>
                <a:gd name="T17" fmla="*/ 26 h 28"/>
                <a:gd name="T18" fmla="*/ 5 w 14"/>
                <a:gd name="T19" fmla="*/ 26 h 28"/>
                <a:gd name="T20" fmla="*/ 10 w 14"/>
                <a:gd name="T21" fmla="*/ 22 h 28"/>
                <a:gd name="T22" fmla="*/ 13 w 14"/>
                <a:gd name="T23" fmla="*/ 14 h 28"/>
                <a:gd name="T24" fmla="*/ 13 w 14"/>
                <a:gd name="T25" fmla="*/ 3 h 28"/>
                <a:gd name="T26" fmla="*/ 4 w 14"/>
                <a:gd name="T27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28">
                  <a:moveTo>
                    <a:pt x="4" y="5"/>
                  </a:moveTo>
                  <a:cubicBezTo>
                    <a:pt x="3" y="6"/>
                    <a:pt x="3" y="10"/>
                    <a:pt x="3" y="11"/>
                  </a:cubicBezTo>
                  <a:cubicBezTo>
                    <a:pt x="3" y="13"/>
                    <a:pt x="3" y="17"/>
                    <a:pt x="3" y="19"/>
                  </a:cubicBezTo>
                  <a:cubicBezTo>
                    <a:pt x="2" y="21"/>
                    <a:pt x="2" y="22"/>
                    <a:pt x="4" y="22"/>
                  </a:cubicBezTo>
                  <a:cubicBezTo>
                    <a:pt x="5" y="22"/>
                    <a:pt x="6" y="21"/>
                    <a:pt x="6" y="17"/>
                  </a:cubicBezTo>
                  <a:cubicBezTo>
                    <a:pt x="6" y="13"/>
                    <a:pt x="7" y="12"/>
                    <a:pt x="7" y="13"/>
                  </a:cubicBezTo>
                  <a:cubicBezTo>
                    <a:pt x="8" y="14"/>
                    <a:pt x="8" y="18"/>
                    <a:pt x="7" y="19"/>
                  </a:cubicBezTo>
                  <a:cubicBezTo>
                    <a:pt x="7" y="21"/>
                    <a:pt x="6" y="22"/>
                    <a:pt x="5" y="23"/>
                  </a:cubicBezTo>
                  <a:cubicBezTo>
                    <a:pt x="4" y="24"/>
                    <a:pt x="0" y="25"/>
                    <a:pt x="0" y="26"/>
                  </a:cubicBezTo>
                  <a:cubicBezTo>
                    <a:pt x="0" y="28"/>
                    <a:pt x="3" y="27"/>
                    <a:pt x="5" y="26"/>
                  </a:cubicBezTo>
                  <a:cubicBezTo>
                    <a:pt x="7" y="25"/>
                    <a:pt x="9" y="26"/>
                    <a:pt x="10" y="22"/>
                  </a:cubicBezTo>
                  <a:cubicBezTo>
                    <a:pt x="12" y="19"/>
                    <a:pt x="14" y="16"/>
                    <a:pt x="13" y="14"/>
                  </a:cubicBezTo>
                  <a:cubicBezTo>
                    <a:pt x="13" y="13"/>
                    <a:pt x="12" y="6"/>
                    <a:pt x="13" y="3"/>
                  </a:cubicBezTo>
                  <a:cubicBezTo>
                    <a:pt x="14" y="0"/>
                    <a:pt x="5" y="1"/>
                    <a:pt x="4" y="5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5">
              <a:extLst>
                <a:ext uri="{FF2B5EF4-FFF2-40B4-BE49-F238E27FC236}">
                  <a16:creationId xmlns:a16="http://schemas.microsoft.com/office/drawing/2014/main" id="{914D6A61-EE65-4A2B-9BDB-97D954CD4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" y="1064"/>
              <a:ext cx="27" cy="17"/>
            </a:xfrm>
            <a:custGeom>
              <a:avLst/>
              <a:gdLst>
                <a:gd name="T0" fmla="*/ 11 w 11"/>
                <a:gd name="T1" fmla="*/ 3 h 7"/>
                <a:gd name="T2" fmla="*/ 11 w 11"/>
                <a:gd name="T3" fmla="*/ 6 h 7"/>
                <a:gd name="T4" fmla="*/ 6 w 11"/>
                <a:gd name="T5" fmla="*/ 5 h 7"/>
                <a:gd name="T6" fmla="*/ 0 w 11"/>
                <a:gd name="T7" fmla="*/ 7 h 7"/>
                <a:gd name="T8" fmla="*/ 0 w 11"/>
                <a:gd name="T9" fmla="*/ 3 h 7"/>
                <a:gd name="T10" fmla="*/ 11 w 11"/>
                <a:gd name="T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3"/>
                  </a:move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8" y="5"/>
                    <a:pt x="6" y="5"/>
                  </a:cubicBezTo>
                  <a:cubicBezTo>
                    <a:pt x="4" y="5"/>
                    <a:pt x="0" y="7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8" y="0"/>
                    <a:pt x="11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6">
              <a:extLst>
                <a:ext uri="{FF2B5EF4-FFF2-40B4-BE49-F238E27FC236}">
                  <a16:creationId xmlns:a16="http://schemas.microsoft.com/office/drawing/2014/main" id="{43137A7A-FD5E-4E4F-823B-54F3F2FF5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4" y="843"/>
              <a:ext cx="69" cy="238"/>
            </a:xfrm>
            <a:custGeom>
              <a:avLst/>
              <a:gdLst>
                <a:gd name="T0" fmla="*/ 8 w 29"/>
                <a:gd name="T1" fmla="*/ 0 h 99"/>
                <a:gd name="T2" fmla="*/ 16 w 29"/>
                <a:gd name="T3" fmla="*/ 12 h 99"/>
                <a:gd name="T4" fmla="*/ 21 w 29"/>
                <a:gd name="T5" fmla="*/ 44 h 99"/>
                <a:gd name="T6" fmla="*/ 26 w 29"/>
                <a:gd name="T7" fmla="*/ 61 h 99"/>
                <a:gd name="T8" fmla="*/ 27 w 29"/>
                <a:gd name="T9" fmla="*/ 78 h 99"/>
                <a:gd name="T10" fmla="*/ 28 w 29"/>
                <a:gd name="T11" fmla="*/ 91 h 99"/>
                <a:gd name="T12" fmla="*/ 27 w 29"/>
                <a:gd name="T13" fmla="*/ 95 h 99"/>
                <a:gd name="T14" fmla="*/ 22 w 29"/>
                <a:gd name="T15" fmla="*/ 95 h 99"/>
                <a:gd name="T16" fmla="*/ 17 w 29"/>
                <a:gd name="T17" fmla="*/ 98 h 99"/>
                <a:gd name="T18" fmla="*/ 16 w 29"/>
                <a:gd name="T19" fmla="*/ 93 h 99"/>
                <a:gd name="T20" fmla="*/ 14 w 29"/>
                <a:gd name="T21" fmla="*/ 82 h 99"/>
                <a:gd name="T22" fmla="*/ 12 w 29"/>
                <a:gd name="T23" fmla="*/ 73 h 99"/>
                <a:gd name="T24" fmla="*/ 9 w 29"/>
                <a:gd name="T25" fmla="*/ 64 h 99"/>
                <a:gd name="T26" fmla="*/ 6 w 29"/>
                <a:gd name="T27" fmla="*/ 45 h 99"/>
                <a:gd name="T28" fmla="*/ 8 w 29"/>
                <a:gd name="T2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99">
                  <a:moveTo>
                    <a:pt x="8" y="0"/>
                  </a:moveTo>
                  <a:cubicBezTo>
                    <a:pt x="13" y="0"/>
                    <a:pt x="15" y="0"/>
                    <a:pt x="16" y="12"/>
                  </a:cubicBezTo>
                  <a:cubicBezTo>
                    <a:pt x="18" y="25"/>
                    <a:pt x="21" y="40"/>
                    <a:pt x="21" y="44"/>
                  </a:cubicBezTo>
                  <a:cubicBezTo>
                    <a:pt x="22" y="49"/>
                    <a:pt x="26" y="54"/>
                    <a:pt x="26" y="61"/>
                  </a:cubicBezTo>
                  <a:cubicBezTo>
                    <a:pt x="25" y="67"/>
                    <a:pt x="27" y="74"/>
                    <a:pt x="27" y="78"/>
                  </a:cubicBezTo>
                  <a:cubicBezTo>
                    <a:pt x="27" y="82"/>
                    <a:pt x="27" y="86"/>
                    <a:pt x="28" y="91"/>
                  </a:cubicBezTo>
                  <a:cubicBezTo>
                    <a:pt x="28" y="96"/>
                    <a:pt x="29" y="96"/>
                    <a:pt x="27" y="95"/>
                  </a:cubicBezTo>
                  <a:cubicBezTo>
                    <a:pt x="26" y="95"/>
                    <a:pt x="24" y="95"/>
                    <a:pt x="22" y="95"/>
                  </a:cubicBezTo>
                  <a:cubicBezTo>
                    <a:pt x="20" y="96"/>
                    <a:pt x="18" y="97"/>
                    <a:pt x="17" y="98"/>
                  </a:cubicBezTo>
                  <a:cubicBezTo>
                    <a:pt x="16" y="99"/>
                    <a:pt x="16" y="98"/>
                    <a:pt x="16" y="93"/>
                  </a:cubicBezTo>
                  <a:cubicBezTo>
                    <a:pt x="16" y="89"/>
                    <a:pt x="16" y="85"/>
                    <a:pt x="14" y="82"/>
                  </a:cubicBezTo>
                  <a:cubicBezTo>
                    <a:pt x="13" y="80"/>
                    <a:pt x="12" y="76"/>
                    <a:pt x="12" y="73"/>
                  </a:cubicBezTo>
                  <a:cubicBezTo>
                    <a:pt x="12" y="69"/>
                    <a:pt x="12" y="70"/>
                    <a:pt x="9" y="64"/>
                  </a:cubicBezTo>
                  <a:cubicBezTo>
                    <a:pt x="7" y="58"/>
                    <a:pt x="9" y="54"/>
                    <a:pt x="6" y="45"/>
                  </a:cubicBezTo>
                  <a:cubicBezTo>
                    <a:pt x="3" y="36"/>
                    <a:pt x="0" y="0"/>
                    <a:pt x="8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67">
              <a:extLst>
                <a:ext uri="{FF2B5EF4-FFF2-40B4-BE49-F238E27FC236}">
                  <a16:creationId xmlns:a16="http://schemas.microsoft.com/office/drawing/2014/main" id="{7CD3975E-76CD-4CCA-A301-0DF366C4D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" y="947"/>
              <a:ext cx="41" cy="127"/>
            </a:xfrm>
            <a:custGeom>
              <a:avLst/>
              <a:gdLst>
                <a:gd name="T0" fmla="*/ 13 w 17"/>
                <a:gd name="T1" fmla="*/ 53 h 53"/>
                <a:gd name="T2" fmla="*/ 5 w 17"/>
                <a:gd name="T3" fmla="*/ 30 h 53"/>
                <a:gd name="T4" fmla="*/ 2 w 17"/>
                <a:gd name="T5" fmla="*/ 21 h 53"/>
                <a:gd name="T6" fmla="*/ 3 w 17"/>
                <a:gd name="T7" fmla="*/ 1 h 53"/>
                <a:gd name="T8" fmla="*/ 4 w 17"/>
                <a:gd name="T9" fmla="*/ 0 h 53"/>
                <a:gd name="T10" fmla="*/ 10 w 17"/>
                <a:gd name="T11" fmla="*/ 12 h 53"/>
                <a:gd name="T12" fmla="*/ 9 w 17"/>
                <a:gd name="T13" fmla="*/ 16 h 53"/>
                <a:gd name="T14" fmla="*/ 9 w 17"/>
                <a:gd name="T15" fmla="*/ 18 h 53"/>
                <a:gd name="T16" fmla="*/ 9 w 17"/>
                <a:gd name="T17" fmla="*/ 21 h 53"/>
                <a:gd name="T18" fmla="*/ 11 w 17"/>
                <a:gd name="T19" fmla="*/ 30 h 53"/>
                <a:gd name="T20" fmla="*/ 13 w 17"/>
                <a:gd name="T21" fmla="*/ 38 h 53"/>
                <a:gd name="T22" fmla="*/ 13 w 17"/>
                <a:gd name="T2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53">
                  <a:moveTo>
                    <a:pt x="13" y="53"/>
                  </a:moveTo>
                  <a:cubicBezTo>
                    <a:pt x="12" y="51"/>
                    <a:pt x="5" y="33"/>
                    <a:pt x="5" y="30"/>
                  </a:cubicBezTo>
                  <a:cubicBezTo>
                    <a:pt x="5" y="26"/>
                    <a:pt x="5" y="27"/>
                    <a:pt x="2" y="21"/>
                  </a:cubicBezTo>
                  <a:cubicBezTo>
                    <a:pt x="0" y="15"/>
                    <a:pt x="0" y="10"/>
                    <a:pt x="3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6"/>
                    <a:pt x="7" y="12"/>
                    <a:pt x="10" y="12"/>
                  </a:cubicBezTo>
                  <a:cubicBezTo>
                    <a:pt x="13" y="12"/>
                    <a:pt x="14" y="16"/>
                    <a:pt x="9" y="16"/>
                  </a:cubicBezTo>
                  <a:cubicBezTo>
                    <a:pt x="5" y="15"/>
                    <a:pt x="7" y="17"/>
                    <a:pt x="9" y="18"/>
                  </a:cubicBezTo>
                  <a:cubicBezTo>
                    <a:pt x="11" y="18"/>
                    <a:pt x="12" y="20"/>
                    <a:pt x="9" y="21"/>
                  </a:cubicBezTo>
                  <a:cubicBezTo>
                    <a:pt x="7" y="21"/>
                    <a:pt x="6" y="26"/>
                    <a:pt x="11" y="30"/>
                  </a:cubicBezTo>
                  <a:cubicBezTo>
                    <a:pt x="15" y="33"/>
                    <a:pt x="17" y="39"/>
                    <a:pt x="13" y="38"/>
                  </a:cubicBezTo>
                  <a:cubicBezTo>
                    <a:pt x="10" y="37"/>
                    <a:pt x="13" y="50"/>
                    <a:pt x="13" y="53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68">
              <a:extLst>
                <a:ext uri="{FF2B5EF4-FFF2-40B4-BE49-F238E27FC236}">
                  <a16:creationId xmlns:a16="http://schemas.microsoft.com/office/drawing/2014/main" id="{3AD7BEF5-56F8-4F3C-A87B-F2FDFFE71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1" y="1397"/>
              <a:ext cx="46" cy="60"/>
            </a:xfrm>
            <a:custGeom>
              <a:avLst/>
              <a:gdLst>
                <a:gd name="T0" fmla="*/ 4 w 19"/>
                <a:gd name="T1" fmla="*/ 6 h 25"/>
                <a:gd name="T2" fmla="*/ 3 w 19"/>
                <a:gd name="T3" fmla="*/ 12 h 25"/>
                <a:gd name="T4" fmla="*/ 1 w 19"/>
                <a:gd name="T5" fmla="*/ 20 h 25"/>
                <a:gd name="T6" fmla="*/ 11 w 19"/>
                <a:gd name="T7" fmla="*/ 25 h 25"/>
                <a:gd name="T8" fmla="*/ 19 w 19"/>
                <a:gd name="T9" fmla="*/ 21 h 25"/>
                <a:gd name="T10" fmla="*/ 17 w 19"/>
                <a:gd name="T11" fmla="*/ 11 h 25"/>
                <a:gd name="T12" fmla="*/ 17 w 19"/>
                <a:gd name="T13" fmla="*/ 1 h 25"/>
                <a:gd name="T14" fmla="*/ 4 w 19"/>
                <a:gd name="T15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5">
                  <a:moveTo>
                    <a:pt x="4" y="6"/>
                  </a:moveTo>
                  <a:cubicBezTo>
                    <a:pt x="4" y="7"/>
                    <a:pt x="3" y="10"/>
                    <a:pt x="3" y="12"/>
                  </a:cubicBezTo>
                  <a:cubicBezTo>
                    <a:pt x="2" y="14"/>
                    <a:pt x="0" y="18"/>
                    <a:pt x="1" y="20"/>
                  </a:cubicBezTo>
                  <a:cubicBezTo>
                    <a:pt x="1" y="22"/>
                    <a:pt x="6" y="25"/>
                    <a:pt x="11" y="25"/>
                  </a:cubicBezTo>
                  <a:cubicBezTo>
                    <a:pt x="16" y="25"/>
                    <a:pt x="19" y="23"/>
                    <a:pt x="19" y="21"/>
                  </a:cubicBezTo>
                  <a:cubicBezTo>
                    <a:pt x="18" y="18"/>
                    <a:pt x="17" y="14"/>
                    <a:pt x="17" y="11"/>
                  </a:cubicBezTo>
                  <a:cubicBezTo>
                    <a:pt x="17" y="7"/>
                    <a:pt x="17" y="3"/>
                    <a:pt x="17" y="1"/>
                  </a:cubicBezTo>
                  <a:cubicBezTo>
                    <a:pt x="17" y="0"/>
                    <a:pt x="5" y="1"/>
                    <a:pt x="4" y="6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69">
              <a:extLst>
                <a:ext uri="{FF2B5EF4-FFF2-40B4-BE49-F238E27FC236}">
                  <a16:creationId xmlns:a16="http://schemas.microsoft.com/office/drawing/2014/main" id="{4CB65FFA-7580-4B5D-AD5D-A61B4B213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" y="1375"/>
              <a:ext cx="92" cy="65"/>
            </a:xfrm>
            <a:custGeom>
              <a:avLst/>
              <a:gdLst>
                <a:gd name="T0" fmla="*/ 3 w 38"/>
                <a:gd name="T1" fmla="*/ 4 h 27"/>
                <a:gd name="T2" fmla="*/ 0 w 38"/>
                <a:gd name="T3" fmla="*/ 13 h 27"/>
                <a:gd name="T4" fmla="*/ 3 w 38"/>
                <a:gd name="T5" fmla="*/ 16 h 27"/>
                <a:gd name="T6" fmla="*/ 8 w 38"/>
                <a:gd name="T7" fmla="*/ 18 h 27"/>
                <a:gd name="T8" fmla="*/ 9 w 38"/>
                <a:gd name="T9" fmla="*/ 15 h 27"/>
                <a:gd name="T10" fmla="*/ 14 w 38"/>
                <a:gd name="T11" fmla="*/ 20 h 27"/>
                <a:gd name="T12" fmla="*/ 23 w 38"/>
                <a:gd name="T13" fmla="*/ 26 h 27"/>
                <a:gd name="T14" fmla="*/ 36 w 38"/>
                <a:gd name="T15" fmla="*/ 27 h 27"/>
                <a:gd name="T16" fmla="*/ 36 w 38"/>
                <a:gd name="T17" fmla="*/ 24 h 27"/>
                <a:gd name="T18" fmla="*/ 25 w 38"/>
                <a:gd name="T19" fmla="*/ 18 h 27"/>
                <a:gd name="T20" fmla="*/ 23 w 38"/>
                <a:gd name="T21" fmla="*/ 7 h 27"/>
                <a:gd name="T22" fmla="*/ 3 w 38"/>
                <a:gd name="T23" fmla="*/ 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27">
                  <a:moveTo>
                    <a:pt x="3" y="4"/>
                  </a:moveTo>
                  <a:cubicBezTo>
                    <a:pt x="2" y="6"/>
                    <a:pt x="0" y="11"/>
                    <a:pt x="0" y="13"/>
                  </a:cubicBezTo>
                  <a:cubicBezTo>
                    <a:pt x="0" y="14"/>
                    <a:pt x="1" y="14"/>
                    <a:pt x="3" y="16"/>
                  </a:cubicBezTo>
                  <a:cubicBezTo>
                    <a:pt x="6" y="17"/>
                    <a:pt x="8" y="18"/>
                    <a:pt x="8" y="18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2" y="18"/>
                    <a:pt x="14" y="20"/>
                  </a:cubicBezTo>
                  <a:cubicBezTo>
                    <a:pt x="15" y="22"/>
                    <a:pt x="18" y="26"/>
                    <a:pt x="23" y="26"/>
                  </a:cubicBezTo>
                  <a:cubicBezTo>
                    <a:pt x="27" y="27"/>
                    <a:pt x="35" y="27"/>
                    <a:pt x="36" y="27"/>
                  </a:cubicBezTo>
                  <a:cubicBezTo>
                    <a:pt x="38" y="27"/>
                    <a:pt x="38" y="25"/>
                    <a:pt x="36" y="24"/>
                  </a:cubicBezTo>
                  <a:cubicBezTo>
                    <a:pt x="35" y="23"/>
                    <a:pt x="26" y="20"/>
                    <a:pt x="25" y="18"/>
                  </a:cubicBezTo>
                  <a:cubicBezTo>
                    <a:pt x="24" y="16"/>
                    <a:pt x="23" y="10"/>
                    <a:pt x="23" y="7"/>
                  </a:cubicBezTo>
                  <a:cubicBezTo>
                    <a:pt x="23" y="4"/>
                    <a:pt x="10" y="0"/>
                    <a:pt x="3" y="4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B89F2904-9835-48D3-A7D5-B768B3407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" y="761"/>
              <a:ext cx="57" cy="94"/>
            </a:xfrm>
            <a:custGeom>
              <a:avLst/>
              <a:gdLst>
                <a:gd name="T0" fmla="*/ 18 w 24"/>
                <a:gd name="T1" fmla="*/ 10 h 39"/>
                <a:gd name="T2" fmla="*/ 22 w 24"/>
                <a:gd name="T3" fmla="*/ 29 h 39"/>
                <a:gd name="T4" fmla="*/ 1 w 24"/>
                <a:gd name="T5" fmla="*/ 39 h 39"/>
                <a:gd name="T6" fmla="*/ 1 w 24"/>
                <a:gd name="T7" fmla="*/ 20 h 39"/>
                <a:gd name="T8" fmla="*/ 18 w 24"/>
                <a:gd name="T9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9">
                  <a:moveTo>
                    <a:pt x="18" y="10"/>
                  </a:moveTo>
                  <a:cubicBezTo>
                    <a:pt x="18" y="16"/>
                    <a:pt x="19" y="23"/>
                    <a:pt x="22" y="29"/>
                  </a:cubicBezTo>
                  <a:cubicBezTo>
                    <a:pt x="24" y="34"/>
                    <a:pt x="1" y="39"/>
                    <a:pt x="1" y="39"/>
                  </a:cubicBezTo>
                  <a:cubicBezTo>
                    <a:pt x="1" y="39"/>
                    <a:pt x="2" y="28"/>
                    <a:pt x="1" y="20"/>
                  </a:cubicBezTo>
                  <a:cubicBezTo>
                    <a:pt x="0" y="12"/>
                    <a:pt x="14" y="0"/>
                    <a:pt x="18" y="10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71">
              <a:extLst>
                <a:ext uri="{FF2B5EF4-FFF2-40B4-BE49-F238E27FC236}">
                  <a16:creationId xmlns:a16="http://schemas.microsoft.com/office/drawing/2014/main" id="{1AC475AA-F470-4250-B298-3EFAD94AE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747"/>
              <a:ext cx="72" cy="86"/>
            </a:xfrm>
            <a:custGeom>
              <a:avLst/>
              <a:gdLst>
                <a:gd name="T0" fmla="*/ 2 w 30"/>
                <a:gd name="T1" fmla="*/ 7 h 36"/>
                <a:gd name="T2" fmla="*/ 10 w 30"/>
                <a:gd name="T3" fmla="*/ 27 h 36"/>
                <a:gd name="T4" fmla="*/ 18 w 30"/>
                <a:gd name="T5" fmla="*/ 34 h 36"/>
                <a:gd name="T6" fmla="*/ 28 w 30"/>
                <a:gd name="T7" fmla="*/ 21 h 36"/>
                <a:gd name="T8" fmla="*/ 29 w 30"/>
                <a:gd name="T9" fmla="*/ 13 h 36"/>
                <a:gd name="T10" fmla="*/ 28 w 30"/>
                <a:gd name="T11" fmla="*/ 9 h 36"/>
                <a:gd name="T12" fmla="*/ 25 w 30"/>
                <a:gd name="T13" fmla="*/ 10 h 36"/>
                <a:gd name="T14" fmla="*/ 13 w 30"/>
                <a:gd name="T15" fmla="*/ 1 h 36"/>
                <a:gd name="T16" fmla="*/ 4 w 30"/>
                <a:gd name="T17" fmla="*/ 3 h 36"/>
                <a:gd name="T18" fmla="*/ 2 w 30"/>
                <a:gd name="T19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6">
                  <a:moveTo>
                    <a:pt x="2" y="7"/>
                  </a:moveTo>
                  <a:cubicBezTo>
                    <a:pt x="2" y="13"/>
                    <a:pt x="8" y="23"/>
                    <a:pt x="10" y="27"/>
                  </a:cubicBezTo>
                  <a:cubicBezTo>
                    <a:pt x="11" y="31"/>
                    <a:pt x="14" y="36"/>
                    <a:pt x="18" y="34"/>
                  </a:cubicBezTo>
                  <a:cubicBezTo>
                    <a:pt x="23" y="32"/>
                    <a:pt x="29" y="27"/>
                    <a:pt x="28" y="21"/>
                  </a:cubicBezTo>
                  <a:cubicBezTo>
                    <a:pt x="27" y="16"/>
                    <a:pt x="28" y="17"/>
                    <a:pt x="29" y="13"/>
                  </a:cubicBezTo>
                  <a:cubicBezTo>
                    <a:pt x="29" y="9"/>
                    <a:pt x="30" y="7"/>
                    <a:pt x="28" y="9"/>
                  </a:cubicBezTo>
                  <a:cubicBezTo>
                    <a:pt x="26" y="11"/>
                    <a:pt x="29" y="21"/>
                    <a:pt x="25" y="10"/>
                  </a:cubicBezTo>
                  <a:cubicBezTo>
                    <a:pt x="22" y="0"/>
                    <a:pt x="16" y="0"/>
                    <a:pt x="13" y="1"/>
                  </a:cubicBezTo>
                  <a:cubicBezTo>
                    <a:pt x="9" y="2"/>
                    <a:pt x="7" y="4"/>
                    <a:pt x="4" y="3"/>
                  </a:cubicBezTo>
                  <a:cubicBezTo>
                    <a:pt x="2" y="3"/>
                    <a:pt x="0" y="5"/>
                    <a:pt x="2" y="7"/>
                  </a:cubicBezTo>
                  <a:close/>
                </a:path>
              </a:pathLst>
            </a:custGeom>
            <a:solidFill>
              <a:srgbClr val="D6A0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2">
              <a:extLst>
                <a:ext uri="{FF2B5EF4-FFF2-40B4-BE49-F238E27FC236}">
                  <a16:creationId xmlns:a16="http://schemas.microsoft.com/office/drawing/2014/main" id="{A1388093-CFBE-4F17-9FD2-76A709665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0" y="1007"/>
              <a:ext cx="169" cy="406"/>
            </a:xfrm>
            <a:custGeom>
              <a:avLst/>
              <a:gdLst>
                <a:gd name="T0" fmla="*/ 16 w 70"/>
                <a:gd name="T1" fmla="*/ 5 h 169"/>
                <a:gd name="T2" fmla="*/ 43 w 70"/>
                <a:gd name="T3" fmla="*/ 3 h 169"/>
                <a:gd name="T4" fmla="*/ 59 w 70"/>
                <a:gd name="T5" fmla="*/ 35 h 169"/>
                <a:gd name="T6" fmla="*/ 65 w 70"/>
                <a:gd name="T7" fmla="*/ 70 h 169"/>
                <a:gd name="T8" fmla="*/ 68 w 70"/>
                <a:gd name="T9" fmla="*/ 96 h 169"/>
                <a:gd name="T10" fmla="*/ 58 w 70"/>
                <a:gd name="T11" fmla="*/ 155 h 169"/>
                <a:gd name="T12" fmla="*/ 47 w 70"/>
                <a:gd name="T13" fmla="*/ 161 h 169"/>
                <a:gd name="T14" fmla="*/ 35 w 70"/>
                <a:gd name="T15" fmla="*/ 155 h 169"/>
                <a:gd name="T16" fmla="*/ 42 w 70"/>
                <a:gd name="T17" fmla="*/ 134 h 169"/>
                <a:gd name="T18" fmla="*/ 47 w 70"/>
                <a:gd name="T19" fmla="*/ 101 h 169"/>
                <a:gd name="T20" fmla="*/ 43 w 70"/>
                <a:gd name="T21" fmla="*/ 72 h 169"/>
                <a:gd name="T22" fmla="*/ 33 w 70"/>
                <a:gd name="T23" fmla="*/ 50 h 169"/>
                <a:gd name="T24" fmla="*/ 28 w 70"/>
                <a:gd name="T25" fmla="*/ 57 h 169"/>
                <a:gd name="T26" fmla="*/ 26 w 70"/>
                <a:gd name="T27" fmla="*/ 105 h 169"/>
                <a:gd name="T28" fmla="*/ 28 w 70"/>
                <a:gd name="T29" fmla="*/ 133 h 169"/>
                <a:gd name="T30" fmla="*/ 32 w 70"/>
                <a:gd name="T31" fmla="*/ 158 h 169"/>
                <a:gd name="T32" fmla="*/ 29 w 70"/>
                <a:gd name="T33" fmla="*/ 168 h 169"/>
                <a:gd name="T34" fmla="*/ 17 w 70"/>
                <a:gd name="T35" fmla="*/ 169 h 169"/>
                <a:gd name="T36" fmla="*/ 9 w 70"/>
                <a:gd name="T37" fmla="*/ 149 h 169"/>
                <a:gd name="T38" fmla="*/ 7 w 70"/>
                <a:gd name="T39" fmla="*/ 117 h 169"/>
                <a:gd name="T40" fmla="*/ 5 w 70"/>
                <a:gd name="T41" fmla="*/ 72 h 169"/>
                <a:gd name="T42" fmla="*/ 2 w 70"/>
                <a:gd name="T43" fmla="*/ 25 h 169"/>
                <a:gd name="T44" fmla="*/ 16 w 70"/>
                <a:gd name="T45" fmla="*/ 5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" h="169">
                  <a:moveTo>
                    <a:pt x="16" y="5"/>
                  </a:moveTo>
                  <a:cubicBezTo>
                    <a:pt x="21" y="5"/>
                    <a:pt x="37" y="6"/>
                    <a:pt x="43" y="3"/>
                  </a:cubicBezTo>
                  <a:cubicBezTo>
                    <a:pt x="49" y="0"/>
                    <a:pt x="54" y="22"/>
                    <a:pt x="59" y="35"/>
                  </a:cubicBezTo>
                  <a:cubicBezTo>
                    <a:pt x="63" y="48"/>
                    <a:pt x="62" y="59"/>
                    <a:pt x="65" y="70"/>
                  </a:cubicBezTo>
                  <a:cubicBezTo>
                    <a:pt x="68" y="81"/>
                    <a:pt x="70" y="84"/>
                    <a:pt x="68" y="96"/>
                  </a:cubicBezTo>
                  <a:cubicBezTo>
                    <a:pt x="66" y="109"/>
                    <a:pt x="58" y="147"/>
                    <a:pt x="58" y="155"/>
                  </a:cubicBezTo>
                  <a:cubicBezTo>
                    <a:pt x="57" y="162"/>
                    <a:pt x="58" y="163"/>
                    <a:pt x="47" y="161"/>
                  </a:cubicBezTo>
                  <a:cubicBezTo>
                    <a:pt x="36" y="159"/>
                    <a:pt x="32" y="159"/>
                    <a:pt x="35" y="155"/>
                  </a:cubicBezTo>
                  <a:cubicBezTo>
                    <a:pt x="39" y="151"/>
                    <a:pt x="40" y="147"/>
                    <a:pt x="42" y="134"/>
                  </a:cubicBezTo>
                  <a:cubicBezTo>
                    <a:pt x="44" y="122"/>
                    <a:pt x="45" y="109"/>
                    <a:pt x="47" y="101"/>
                  </a:cubicBezTo>
                  <a:cubicBezTo>
                    <a:pt x="49" y="93"/>
                    <a:pt x="47" y="84"/>
                    <a:pt x="43" y="72"/>
                  </a:cubicBezTo>
                  <a:cubicBezTo>
                    <a:pt x="39" y="60"/>
                    <a:pt x="34" y="52"/>
                    <a:pt x="33" y="50"/>
                  </a:cubicBezTo>
                  <a:cubicBezTo>
                    <a:pt x="32" y="47"/>
                    <a:pt x="29" y="54"/>
                    <a:pt x="28" y="57"/>
                  </a:cubicBezTo>
                  <a:cubicBezTo>
                    <a:pt x="28" y="60"/>
                    <a:pt x="28" y="98"/>
                    <a:pt x="26" y="105"/>
                  </a:cubicBezTo>
                  <a:cubicBezTo>
                    <a:pt x="25" y="111"/>
                    <a:pt x="29" y="127"/>
                    <a:pt x="28" y="133"/>
                  </a:cubicBezTo>
                  <a:cubicBezTo>
                    <a:pt x="27" y="140"/>
                    <a:pt x="32" y="153"/>
                    <a:pt x="32" y="158"/>
                  </a:cubicBezTo>
                  <a:cubicBezTo>
                    <a:pt x="31" y="163"/>
                    <a:pt x="32" y="168"/>
                    <a:pt x="29" y="168"/>
                  </a:cubicBezTo>
                  <a:cubicBezTo>
                    <a:pt x="26" y="168"/>
                    <a:pt x="19" y="169"/>
                    <a:pt x="17" y="169"/>
                  </a:cubicBezTo>
                  <a:cubicBezTo>
                    <a:pt x="14" y="169"/>
                    <a:pt x="11" y="156"/>
                    <a:pt x="9" y="149"/>
                  </a:cubicBezTo>
                  <a:cubicBezTo>
                    <a:pt x="7" y="142"/>
                    <a:pt x="8" y="132"/>
                    <a:pt x="7" y="117"/>
                  </a:cubicBezTo>
                  <a:cubicBezTo>
                    <a:pt x="5" y="103"/>
                    <a:pt x="7" y="87"/>
                    <a:pt x="5" y="72"/>
                  </a:cubicBezTo>
                  <a:cubicBezTo>
                    <a:pt x="3" y="58"/>
                    <a:pt x="0" y="42"/>
                    <a:pt x="2" y="25"/>
                  </a:cubicBezTo>
                  <a:cubicBezTo>
                    <a:pt x="4" y="8"/>
                    <a:pt x="3" y="2"/>
                    <a:pt x="16" y="5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73">
              <a:extLst>
                <a:ext uri="{FF2B5EF4-FFF2-40B4-BE49-F238E27FC236}">
                  <a16:creationId xmlns:a16="http://schemas.microsoft.com/office/drawing/2014/main" id="{0E542EC2-5F41-4509-8011-ABFD7E9D9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821"/>
              <a:ext cx="120" cy="215"/>
            </a:xfrm>
            <a:custGeom>
              <a:avLst/>
              <a:gdLst>
                <a:gd name="T0" fmla="*/ 10 w 50"/>
                <a:gd name="T1" fmla="*/ 4 h 89"/>
                <a:gd name="T2" fmla="*/ 20 w 50"/>
                <a:gd name="T3" fmla="*/ 7 h 89"/>
                <a:gd name="T4" fmla="*/ 26 w 50"/>
                <a:gd name="T5" fmla="*/ 7 h 89"/>
                <a:gd name="T6" fmla="*/ 32 w 50"/>
                <a:gd name="T7" fmla="*/ 0 h 89"/>
                <a:gd name="T8" fmla="*/ 43 w 50"/>
                <a:gd name="T9" fmla="*/ 9 h 89"/>
                <a:gd name="T10" fmla="*/ 50 w 50"/>
                <a:gd name="T11" fmla="*/ 83 h 89"/>
                <a:gd name="T12" fmla="*/ 13 w 50"/>
                <a:gd name="T13" fmla="*/ 89 h 89"/>
                <a:gd name="T14" fmla="*/ 10 w 50"/>
                <a:gd name="T15" fmla="*/ 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89">
                  <a:moveTo>
                    <a:pt x="10" y="4"/>
                  </a:moveTo>
                  <a:cubicBezTo>
                    <a:pt x="20" y="7"/>
                    <a:pt x="20" y="7"/>
                    <a:pt x="20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0" y="23"/>
                    <a:pt x="1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74">
              <a:extLst>
                <a:ext uri="{FF2B5EF4-FFF2-40B4-BE49-F238E27FC236}">
                  <a16:creationId xmlns:a16="http://schemas.microsoft.com/office/drawing/2014/main" id="{C3C41098-7BEB-40AF-8DE8-2711E2BED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" y="821"/>
              <a:ext cx="31" cy="41"/>
            </a:xfrm>
            <a:custGeom>
              <a:avLst/>
              <a:gdLst>
                <a:gd name="T0" fmla="*/ 2 w 13"/>
                <a:gd name="T1" fmla="*/ 0 h 17"/>
                <a:gd name="T2" fmla="*/ 0 w 13"/>
                <a:gd name="T3" fmla="*/ 4 h 17"/>
                <a:gd name="T4" fmla="*/ 5 w 13"/>
                <a:gd name="T5" fmla="*/ 17 h 17"/>
                <a:gd name="T6" fmla="*/ 13 w 13"/>
                <a:gd name="T7" fmla="*/ 6 h 17"/>
                <a:gd name="T8" fmla="*/ 2 w 1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2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5" y="5"/>
                    <a:pt x="2" y="0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75">
              <a:extLst>
                <a:ext uri="{FF2B5EF4-FFF2-40B4-BE49-F238E27FC236}">
                  <a16:creationId xmlns:a16="http://schemas.microsoft.com/office/drawing/2014/main" id="{A365A88B-BD4E-4AA7-BF5A-2C69FC942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" y="812"/>
              <a:ext cx="29" cy="48"/>
            </a:xfrm>
            <a:custGeom>
              <a:avLst/>
              <a:gdLst>
                <a:gd name="T0" fmla="*/ 0 w 12"/>
                <a:gd name="T1" fmla="*/ 9 h 20"/>
                <a:gd name="T2" fmla="*/ 12 w 12"/>
                <a:gd name="T3" fmla="*/ 20 h 20"/>
                <a:gd name="T4" fmla="*/ 8 w 12"/>
                <a:gd name="T5" fmla="*/ 3 h 20"/>
                <a:gd name="T6" fmla="*/ 6 w 12"/>
                <a:gd name="T7" fmla="*/ 0 h 20"/>
                <a:gd name="T8" fmla="*/ 0 w 12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0">
                  <a:moveTo>
                    <a:pt x="0" y="9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7"/>
                    <a:pt x="0" y="9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76">
              <a:extLst>
                <a:ext uri="{FF2B5EF4-FFF2-40B4-BE49-F238E27FC236}">
                  <a16:creationId xmlns:a16="http://schemas.microsoft.com/office/drawing/2014/main" id="{4B194C7A-C1B5-4BA4-B56F-24B4A2451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" y="1009"/>
              <a:ext cx="113" cy="27"/>
            </a:xfrm>
            <a:custGeom>
              <a:avLst/>
              <a:gdLst>
                <a:gd name="T0" fmla="*/ 14 w 47"/>
                <a:gd name="T1" fmla="*/ 3 h 11"/>
                <a:gd name="T2" fmla="*/ 41 w 47"/>
                <a:gd name="T3" fmla="*/ 2 h 11"/>
                <a:gd name="T4" fmla="*/ 47 w 47"/>
                <a:gd name="T5" fmla="*/ 6 h 11"/>
                <a:gd name="T6" fmla="*/ 0 w 47"/>
                <a:gd name="T7" fmla="*/ 7 h 11"/>
                <a:gd name="T8" fmla="*/ 14 w 47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1">
                  <a:moveTo>
                    <a:pt x="14" y="3"/>
                  </a:moveTo>
                  <a:cubicBezTo>
                    <a:pt x="19" y="4"/>
                    <a:pt x="37" y="4"/>
                    <a:pt x="41" y="2"/>
                  </a:cubicBezTo>
                  <a:cubicBezTo>
                    <a:pt x="45" y="0"/>
                    <a:pt x="45" y="3"/>
                    <a:pt x="47" y="6"/>
                  </a:cubicBezTo>
                  <a:cubicBezTo>
                    <a:pt x="35" y="11"/>
                    <a:pt x="9" y="10"/>
                    <a:pt x="0" y="7"/>
                  </a:cubicBezTo>
                  <a:cubicBezTo>
                    <a:pt x="2" y="4"/>
                    <a:pt x="8" y="2"/>
                    <a:pt x="14" y="3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77">
              <a:extLst>
                <a:ext uri="{FF2B5EF4-FFF2-40B4-BE49-F238E27FC236}">
                  <a16:creationId xmlns:a16="http://schemas.microsoft.com/office/drawing/2014/main" id="{54CDCBC1-0C57-46E6-9441-798DA6074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" y="718"/>
              <a:ext cx="79" cy="77"/>
            </a:xfrm>
            <a:custGeom>
              <a:avLst/>
              <a:gdLst>
                <a:gd name="T0" fmla="*/ 4 w 33"/>
                <a:gd name="T1" fmla="*/ 23 h 32"/>
                <a:gd name="T2" fmla="*/ 5 w 33"/>
                <a:gd name="T3" fmla="*/ 7 h 32"/>
                <a:gd name="T4" fmla="*/ 16 w 33"/>
                <a:gd name="T5" fmla="*/ 0 h 32"/>
                <a:gd name="T6" fmla="*/ 28 w 33"/>
                <a:gd name="T7" fmla="*/ 6 h 32"/>
                <a:gd name="T8" fmla="*/ 31 w 33"/>
                <a:gd name="T9" fmla="*/ 27 h 32"/>
                <a:gd name="T10" fmla="*/ 4 w 33"/>
                <a:gd name="T11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2">
                  <a:moveTo>
                    <a:pt x="4" y="23"/>
                  </a:moveTo>
                  <a:cubicBezTo>
                    <a:pt x="2" y="18"/>
                    <a:pt x="0" y="11"/>
                    <a:pt x="5" y="7"/>
                  </a:cubicBezTo>
                  <a:cubicBezTo>
                    <a:pt x="9" y="2"/>
                    <a:pt x="12" y="0"/>
                    <a:pt x="16" y="0"/>
                  </a:cubicBezTo>
                  <a:cubicBezTo>
                    <a:pt x="20" y="0"/>
                    <a:pt x="26" y="0"/>
                    <a:pt x="28" y="6"/>
                  </a:cubicBezTo>
                  <a:cubicBezTo>
                    <a:pt x="31" y="13"/>
                    <a:pt x="33" y="22"/>
                    <a:pt x="31" y="27"/>
                  </a:cubicBezTo>
                  <a:cubicBezTo>
                    <a:pt x="28" y="32"/>
                    <a:pt x="11" y="32"/>
                    <a:pt x="4" y="23"/>
                  </a:cubicBezTo>
                  <a:close/>
                </a:path>
              </a:pathLst>
            </a:custGeom>
            <a:solidFill>
              <a:srgbClr val="AA7A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78">
              <a:extLst>
                <a:ext uri="{FF2B5EF4-FFF2-40B4-BE49-F238E27FC236}">
                  <a16:creationId xmlns:a16="http://schemas.microsoft.com/office/drawing/2014/main" id="{2C074E37-BDFF-4F4C-A18F-DD3532DA4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744"/>
              <a:ext cx="77" cy="87"/>
            </a:xfrm>
            <a:custGeom>
              <a:avLst/>
              <a:gdLst>
                <a:gd name="T0" fmla="*/ 2 w 32"/>
                <a:gd name="T1" fmla="*/ 8 h 36"/>
                <a:gd name="T2" fmla="*/ 8 w 32"/>
                <a:gd name="T3" fmla="*/ 27 h 36"/>
                <a:gd name="T4" fmla="*/ 18 w 32"/>
                <a:gd name="T5" fmla="*/ 34 h 36"/>
                <a:gd name="T6" fmla="*/ 27 w 32"/>
                <a:gd name="T7" fmla="*/ 23 h 36"/>
                <a:gd name="T8" fmla="*/ 32 w 32"/>
                <a:gd name="T9" fmla="*/ 13 h 36"/>
                <a:gd name="T10" fmla="*/ 28 w 32"/>
                <a:gd name="T11" fmla="*/ 9 h 36"/>
                <a:gd name="T12" fmla="*/ 25 w 32"/>
                <a:gd name="T13" fmla="*/ 10 h 36"/>
                <a:gd name="T14" fmla="*/ 13 w 32"/>
                <a:gd name="T15" fmla="*/ 1 h 36"/>
                <a:gd name="T16" fmla="*/ 4 w 32"/>
                <a:gd name="T17" fmla="*/ 4 h 36"/>
                <a:gd name="T18" fmla="*/ 2 w 32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6">
                  <a:moveTo>
                    <a:pt x="2" y="8"/>
                  </a:moveTo>
                  <a:cubicBezTo>
                    <a:pt x="2" y="14"/>
                    <a:pt x="7" y="23"/>
                    <a:pt x="8" y="27"/>
                  </a:cubicBezTo>
                  <a:cubicBezTo>
                    <a:pt x="10" y="31"/>
                    <a:pt x="14" y="36"/>
                    <a:pt x="18" y="34"/>
                  </a:cubicBezTo>
                  <a:cubicBezTo>
                    <a:pt x="22" y="32"/>
                    <a:pt x="26" y="27"/>
                    <a:pt x="27" y="23"/>
                  </a:cubicBezTo>
                  <a:cubicBezTo>
                    <a:pt x="28" y="18"/>
                    <a:pt x="31" y="17"/>
                    <a:pt x="32" y="13"/>
                  </a:cubicBezTo>
                  <a:cubicBezTo>
                    <a:pt x="32" y="9"/>
                    <a:pt x="30" y="6"/>
                    <a:pt x="28" y="9"/>
                  </a:cubicBezTo>
                  <a:cubicBezTo>
                    <a:pt x="26" y="11"/>
                    <a:pt x="29" y="20"/>
                    <a:pt x="25" y="10"/>
                  </a:cubicBezTo>
                  <a:cubicBezTo>
                    <a:pt x="21" y="0"/>
                    <a:pt x="16" y="0"/>
                    <a:pt x="13" y="1"/>
                  </a:cubicBezTo>
                  <a:cubicBezTo>
                    <a:pt x="9" y="3"/>
                    <a:pt x="7" y="4"/>
                    <a:pt x="4" y="4"/>
                  </a:cubicBezTo>
                  <a:cubicBezTo>
                    <a:pt x="2" y="4"/>
                    <a:pt x="0" y="6"/>
                    <a:pt x="2" y="8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79">
              <a:extLst>
                <a:ext uri="{FF2B5EF4-FFF2-40B4-BE49-F238E27FC236}">
                  <a16:creationId xmlns:a16="http://schemas.microsoft.com/office/drawing/2014/main" id="{B47761BF-887A-4A90-8155-928F64CDC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" y="836"/>
              <a:ext cx="41" cy="190"/>
            </a:xfrm>
            <a:custGeom>
              <a:avLst/>
              <a:gdLst>
                <a:gd name="T0" fmla="*/ 1 w 17"/>
                <a:gd name="T1" fmla="*/ 2 h 79"/>
                <a:gd name="T2" fmla="*/ 3 w 17"/>
                <a:gd name="T3" fmla="*/ 3 h 79"/>
                <a:gd name="T4" fmla="*/ 3 w 17"/>
                <a:gd name="T5" fmla="*/ 7 h 79"/>
                <a:gd name="T6" fmla="*/ 3 w 17"/>
                <a:gd name="T7" fmla="*/ 40 h 79"/>
                <a:gd name="T8" fmla="*/ 5 w 17"/>
                <a:gd name="T9" fmla="*/ 76 h 79"/>
                <a:gd name="T10" fmla="*/ 12 w 17"/>
                <a:gd name="T11" fmla="*/ 79 h 79"/>
                <a:gd name="T12" fmla="*/ 17 w 17"/>
                <a:gd name="T13" fmla="*/ 73 h 79"/>
                <a:gd name="T14" fmla="*/ 14 w 17"/>
                <a:gd name="T15" fmla="*/ 40 h 79"/>
                <a:gd name="T16" fmla="*/ 6 w 17"/>
                <a:gd name="T17" fmla="*/ 6 h 79"/>
                <a:gd name="T18" fmla="*/ 6 w 17"/>
                <a:gd name="T19" fmla="*/ 3 h 79"/>
                <a:gd name="T20" fmla="*/ 8 w 17"/>
                <a:gd name="T21" fmla="*/ 1 h 79"/>
                <a:gd name="T22" fmla="*/ 4 w 17"/>
                <a:gd name="T23" fmla="*/ 0 h 79"/>
                <a:gd name="T24" fmla="*/ 4 w 17"/>
                <a:gd name="T25" fmla="*/ 0 h 79"/>
                <a:gd name="T26" fmla="*/ 1 w 17"/>
                <a:gd name="T27" fmla="*/ 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79">
                  <a:moveTo>
                    <a:pt x="1" y="2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6"/>
                    <a:pt x="3" y="7"/>
                  </a:cubicBezTo>
                  <a:cubicBezTo>
                    <a:pt x="3" y="7"/>
                    <a:pt x="2" y="23"/>
                    <a:pt x="3" y="40"/>
                  </a:cubicBezTo>
                  <a:cubicBezTo>
                    <a:pt x="5" y="56"/>
                    <a:pt x="3" y="75"/>
                    <a:pt x="5" y="76"/>
                  </a:cubicBezTo>
                  <a:cubicBezTo>
                    <a:pt x="7" y="77"/>
                    <a:pt x="12" y="79"/>
                    <a:pt x="12" y="79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7" y="73"/>
                    <a:pt x="15" y="47"/>
                    <a:pt x="14" y="40"/>
                  </a:cubicBezTo>
                  <a:cubicBezTo>
                    <a:pt x="13" y="32"/>
                    <a:pt x="9" y="8"/>
                    <a:pt x="6" y="6"/>
                  </a:cubicBezTo>
                  <a:cubicBezTo>
                    <a:pt x="7" y="5"/>
                    <a:pt x="7" y="4"/>
                    <a:pt x="6" y="3"/>
                  </a:cubicBezTo>
                  <a:cubicBezTo>
                    <a:pt x="7" y="2"/>
                    <a:pt x="8" y="1"/>
                    <a:pt x="8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0" y="1"/>
                    <a:pt x="1" y="2"/>
                  </a:cubicBezTo>
                  <a:close/>
                </a:path>
              </a:pathLst>
            </a:custGeom>
            <a:solidFill>
              <a:srgbClr val="FFD0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80">
              <a:extLst>
                <a:ext uri="{FF2B5EF4-FFF2-40B4-BE49-F238E27FC236}">
                  <a16:creationId xmlns:a16="http://schemas.microsoft.com/office/drawing/2014/main" id="{21D10662-39BC-4C3B-AD4D-B1E3A55ED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" y="821"/>
              <a:ext cx="31" cy="34"/>
            </a:xfrm>
            <a:custGeom>
              <a:avLst/>
              <a:gdLst>
                <a:gd name="T0" fmla="*/ 2 w 13"/>
                <a:gd name="T1" fmla="*/ 0 h 14"/>
                <a:gd name="T2" fmla="*/ 0 w 13"/>
                <a:gd name="T3" fmla="*/ 4 h 14"/>
                <a:gd name="T4" fmla="*/ 4 w 13"/>
                <a:gd name="T5" fmla="*/ 14 h 14"/>
                <a:gd name="T6" fmla="*/ 13 w 13"/>
                <a:gd name="T7" fmla="*/ 6 h 14"/>
                <a:gd name="T8" fmla="*/ 2 w 13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2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5" y="5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1">
              <a:extLst>
                <a:ext uri="{FF2B5EF4-FFF2-40B4-BE49-F238E27FC236}">
                  <a16:creationId xmlns:a16="http://schemas.microsoft.com/office/drawing/2014/main" id="{29CED965-7F86-4A2C-BBE2-C419AEB38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" y="812"/>
              <a:ext cx="24" cy="41"/>
            </a:xfrm>
            <a:custGeom>
              <a:avLst/>
              <a:gdLst>
                <a:gd name="T0" fmla="*/ 0 w 10"/>
                <a:gd name="T1" fmla="*/ 9 h 17"/>
                <a:gd name="T2" fmla="*/ 10 w 10"/>
                <a:gd name="T3" fmla="*/ 17 h 17"/>
                <a:gd name="T4" fmla="*/ 8 w 10"/>
                <a:gd name="T5" fmla="*/ 3 h 17"/>
                <a:gd name="T6" fmla="*/ 6 w 10"/>
                <a:gd name="T7" fmla="*/ 0 h 17"/>
                <a:gd name="T8" fmla="*/ 0 w 1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7">
                  <a:moveTo>
                    <a:pt x="0" y="9"/>
                  </a:moveTo>
                  <a:cubicBezTo>
                    <a:pt x="10" y="17"/>
                    <a:pt x="10" y="17"/>
                    <a:pt x="10" y="1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7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82">
              <a:extLst>
                <a:ext uri="{FF2B5EF4-FFF2-40B4-BE49-F238E27FC236}">
                  <a16:creationId xmlns:a16="http://schemas.microsoft.com/office/drawing/2014/main" id="{14BD6C15-EEB2-4B0D-BF05-5E06FCF3C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1096"/>
              <a:ext cx="65" cy="293"/>
            </a:xfrm>
            <a:custGeom>
              <a:avLst/>
              <a:gdLst>
                <a:gd name="T0" fmla="*/ 8 w 27"/>
                <a:gd name="T1" fmla="*/ 113 h 122"/>
                <a:gd name="T2" fmla="*/ 8 w 27"/>
                <a:gd name="T3" fmla="*/ 112 h 122"/>
                <a:gd name="T4" fmla="*/ 6 w 27"/>
                <a:gd name="T5" fmla="*/ 80 h 122"/>
                <a:gd name="T6" fmla="*/ 4 w 27"/>
                <a:gd name="T7" fmla="*/ 35 h 122"/>
                <a:gd name="T8" fmla="*/ 0 w 27"/>
                <a:gd name="T9" fmla="*/ 3 h 122"/>
                <a:gd name="T10" fmla="*/ 9 w 27"/>
                <a:gd name="T11" fmla="*/ 3 h 122"/>
                <a:gd name="T12" fmla="*/ 16 w 27"/>
                <a:gd name="T13" fmla="*/ 13 h 122"/>
                <a:gd name="T14" fmla="*/ 20 w 27"/>
                <a:gd name="T15" fmla="*/ 19 h 122"/>
                <a:gd name="T16" fmla="*/ 14 w 27"/>
                <a:gd name="T17" fmla="*/ 17 h 122"/>
                <a:gd name="T18" fmla="*/ 15 w 27"/>
                <a:gd name="T19" fmla="*/ 38 h 122"/>
                <a:gd name="T20" fmla="*/ 18 w 27"/>
                <a:gd name="T21" fmla="*/ 48 h 122"/>
                <a:gd name="T22" fmla="*/ 13 w 27"/>
                <a:gd name="T23" fmla="*/ 46 h 122"/>
                <a:gd name="T24" fmla="*/ 10 w 27"/>
                <a:gd name="T25" fmla="*/ 47 h 122"/>
                <a:gd name="T26" fmla="*/ 16 w 27"/>
                <a:gd name="T27" fmla="*/ 58 h 122"/>
                <a:gd name="T28" fmla="*/ 16 w 27"/>
                <a:gd name="T29" fmla="*/ 89 h 122"/>
                <a:gd name="T30" fmla="*/ 12 w 27"/>
                <a:gd name="T31" fmla="*/ 96 h 122"/>
                <a:gd name="T32" fmla="*/ 8 w 27"/>
                <a:gd name="T33" fmla="*/ 101 h 122"/>
                <a:gd name="T34" fmla="*/ 22 w 27"/>
                <a:gd name="T35" fmla="*/ 112 h 122"/>
                <a:gd name="T36" fmla="*/ 24 w 27"/>
                <a:gd name="T37" fmla="*/ 117 h 122"/>
                <a:gd name="T38" fmla="*/ 18 w 27"/>
                <a:gd name="T39" fmla="*/ 118 h 122"/>
                <a:gd name="T40" fmla="*/ 8 w 27"/>
                <a:gd name="T41" fmla="*/ 11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122">
                  <a:moveTo>
                    <a:pt x="8" y="113"/>
                  </a:moveTo>
                  <a:cubicBezTo>
                    <a:pt x="8" y="112"/>
                    <a:pt x="8" y="112"/>
                    <a:pt x="8" y="112"/>
                  </a:cubicBezTo>
                  <a:cubicBezTo>
                    <a:pt x="6" y="105"/>
                    <a:pt x="7" y="95"/>
                    <a:pt x="6" y="80"/>
                  </a:cubicBezTo>
                  <a:cubicBezTo>
                    <a:pt x="5" y="66"/>
                    <a:pt x="6" y="50"/>
                    <a:pt x="4" y="35"/>
                  </a:cubicBezTo>
                  <a:cubicBezTo>
                    <a:pt x="3" y="25"/>
                    <a:pt x="1" y="14"/>
                    <a:pt x="0" y="3"/>
                  </a:cubicBezTo>
                  <a:cubicBezTo>
                    <a:pt x="5" y="0"/>
                    <a:pt x="8" y="0"/>
                    <a:pt x="9" y="3"/>
                  </a:cubicBezTo>
                  <a:cubicBezTo>
                    <a:pt x="10" y="7"/>
                    <a:pt x="13" y="9"/>
                    <a:pt x="16" y="13"/>
                  </a:cubicBezTo>
                  <a:cubicBezTo>
                    <a:pt x="19" y="16"/>
                    <a:pt x="22" y="22"/>
                    <a:pt x="20" y="19"/>
                  </a:cubicBezTo>
                  <a:cubicBezTo>
                    <a:pt x="18" y="17"/>
                    <a:pt x="14" y="12"/>
                    <a:pt x="14" y="17"/>
                  </a:cubicBezTo>
                  <a:cubicBezTo>
                    <a:pt x="14" y="22"/>
                    <a:pt x="14" y="33"/>
                    <a:pt x="15" y="38"/>
                  </a:cubicBezTo>
                  <a:cubicBezTo>
                    <a:pt x="15" y="43"/>
                    <a:pt x="14" y="43"/>
                    <a:pt x="18" y="48"/>
                  </a:cubicBezTo>
                  <a:cubicBezTo>
                    <a:pt x="22" y="53"/>
                    <a:pt x="16" y="50"/>
                    <a:pt x="13" y="46"/>
                  </a:cubicBezTo>
                  <a:cubicBezTo>
                    <a:pt x="9" y="42"/>
                    <a:pt x="8" y="43"/>
                    <a:pt x="10" y="47"/>
                  </a:cubicBezTo>
                  <a:cubicBezTo>
                    <a:pt x="11" y="52"/>
                    <a:pt x="15" y="54"/>
                    <a:pt x="16" y="58"/>
                  </a:cubicBezTo>
                  <a:cubicBezTo>
                    <a:pt x="16" y="61"/>
                    <a:pt x="15" y="76"/>
                    <a:pt x="16" y="89"/>
                  </a:cubicBezTo>
                  <a:cubicBezTo>
                    <a:pt x="16" y="101"/>
                    <a:pt x="15" y="100"/>
                    <a:pt x="12" y="96"/>
                  </a:cubicBezTo>
                  <a:cubicBezTo>
                    <a:pt x="10" y="92"/>
                    <a:pt x="7" y="97"/>
                    <a:pt x="8" y="101"/>
                  </a:cubicBezTo>
                  <a:cubicBezTo>
                    <a:pt x="9" y="105"/>
                    <a:pt x="18" y="109"/>
                    <a:pt x="22" y="112"/>
                  </a:cubicBezTo>
                  <a:cubicBezTo>
                    <a:pt x="26" y="115"/>
                    <a:pt x="27" y="120"/>
                    <a:pt x="24" y="117"/>
                  </a:cubicBezTo>
                  <a:cubicBezTo>
                    <a:pt x="21" y="115"/>
                    <a:pt x="13" y="113"/>
                    <a:pt x="18" y="118"/>
                  </a:cubicBezTo>
                  <a:cubicBezTo>
                    <a:pt x="21" y="122"/>
                    <a:pt x="15" y="118"/>
                    <a:pt x="8" y="113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83">
              <a:extLst>
                <a:ext uri="{FF2B5EF4-FFF2-40B4-BE49-F238E27FC236}">
                  <a16:creationId xmlns:a16="http://schemas.microsoft.com/office/drawing/2014/main" id="{0AE12898-A6CA-442E-8A2C-E4F87F05E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3" y="932"/>
              <a:ext cx="60" cy="185"/>
            </a:xfrm>
            <a:custGeom>
              <a:avLst/>
              <a:gdLst>
                <a:gd name="T0" fmla="*/ 0 w 25"/>
                <a:gd name="T1" fmla="*/ 73 h 77"/>
                <a:gd name="T2" fmla="*/ 12 w 25"/>
                <a:gd name="T3" fmla="*/ 76 h 77"/>
                <a:gd name="T4" fmla="*/ 24 w 25"/>
                <a:gd name="T5" fmla="*/ 36 h 77"/>
                <a:gd name="T6" fmla="*/ 0 w 25"/>
                <a:gd name="T7" fmla="*/ 7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77">
                  <a:moveTo>
                    <a:pt x="0" y="73"/>
                  </a:moveTo>
                  <a:cubicBezTo>
                    <a:pt x="3" y="75"/>
                    <a:pt x="8" y="77"/>
                    <a:pt x="12" y="76"/>
                  </a:cubicBezTo>
                  <a:cubicBezTo>
                    <a:pt x="15" y="74"/>
                    <a:pt x="25" y="59"/>
                    <a:pt x="24" y="36"/>
                  </a:cubicBezTo>
                  <a:cubicBezTo>
                    <a:pt x="23" y="0"/>
                    <a:pt x="2" y="68"/>
                    <a:pt x="0" y="73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84">
              <a:extLst>
                <a:ext uri="{FF2B5EF4-FFF2-40B4-BE49-F238E27FC236}">
                  <a16:creationId xmlns:a16="http://schemas.microsoft.com/office/drawing/2014/main" id="{F28B0BB5-A204-4C11-AD9D-1399DC05E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833"/>
              <a:ext cx="110" cy="287"/>
            </a:xfrm>
            <a:custGeom>
              <a:avLst/>
              <a:gdLst>
                <a:gd name="T0" fmla="*/ 19 w 46"/>
                <a:gd name="T1" fmla="*/ 0 h 119"/>
                <a:gd name="T2" fmla="*/ 2 w 46"/>
                <a:gd name="T3" fmla="*/ 10 h 119"/>
                <a:gd name="T4" fmla="*/ 4 w 46"/>
                <a:gd name="T5" fmla="*/ 28 h 119"/>
                <a:gd name="T6" fmla="*/ 11 w 46"/>
                <a:gd name="T7" fmla="*/ 65 h 119"/>
                <a:gd name="T8" fmla="*/ 8 w 46"/>
                <a:gd name="T9" fmla="*/ 103 h 119"/>
                <a:gd name="T10" fmla="*/ 9 w 46"/>
                <a:gd name="T11" fmla="*/ 114 h 119"/>
                <a:gd name="T12" fmla="*/ 23 w 46"/>
                <a:gd name="T13" fmla="*/ 115 h 119"/>
                <a:gd name="T14" fmla="*/ 19 w 46"/>
                <a:gd name="T1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119">
                  <a:moveTo>
                    <a:pt x="19" y="0"/>
                  </a:moveTo>
                  <a:cubicBezTo>
                    <a:pt x="19" y="0"/>
                    <a:pt x="5" y="8"/>
                    <a:pt x="2" y="10"/>
                  </a:cubicBezTo>
                  <a:cubicBezTo>
                    <a:pt x="0" y="11"/>
                    <a:pt x="0" y="14"/>
                    <a:pt x="4" y="28"/>
                  </a:cubicBezTo>
                  <a:cubicBezTo>
                    <a:pt x="9" y="43"/>
                    <a:pt x="11" y="56"/>
                    <a:pt x="11" y="65"/>
                  </a:cubicBezTo>
                  <a:cubicBezTo>
                    <a:pt x="11" y="75"/>
                    <a:pt x="9" y="96"/>
                    <a:pt x="8" y="103"/>
                  </a:cubicBezTo>
                  <a:cubicBezTo>
                    <a:pt x="7" y="109"/>
                    <a:pt x="5" y="113"/>
                    <a:pt x="9" y="114"/>
                  </a:cubicBezTo>
                  <a:cubicBezTo>
                    <a:pt x="13" y="115"/>
                    <a:pt x="20" y="119"/>
                    <a:pt x="23" y="115"/>
                  </a:cubicBezTo>
                  <a:cubicBezTo>
                    <a:pt x="46" y="84"/>
                    <a:pt x="30" y="31"/>
                    <a:pt x="19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85">
              <a:extLst>
                <a:ext uri="{FF2B5EF4-FFF2-40B4-BE49-F238E27FC236}">
                  <a16:creationId xmlns:a16="http://schemas.microsoft.com/office/drawing/2014/main" id="{A1A0FB66-E432-4E5B-B517-8221C2299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6" y="1014"/>
              <a:ext cx="41" cy="94"/>
            </a:xfrm>
            <a:custGeom>
              <a:avLst/>
              <a:gdLst>
                <a:gd name="T0" fmla="*/ 0 w 17"/>
                <a:gd name="T1" fmla="*/ 5 h 39"/>
                <a:gd name="T2" fmla="*/ 9 w 17"/>
                <a:gd name="T3" fmla="*/ 39 h 39"/>
                <a:gd name="T4" fmla="*/ 15 w 17"/>
                <a:gd name="T5" fmla="*/ 31 h 39"/>
                <a:gd name="T6" fmla="*/ 0 w 17"/>
                <a:gd name="T7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9">
                  <a:moveTo>
                    <a:pt x="0" y="5"/>
                  </a:moveTo>
                  <a:cubicBezTo>
                    <a:pt x="0" y="11"/>
                    <a:pt x="3" y="38"/>
                    <a:pt x="9" y="39"/>
                  </a:cubicBezTo>
                  <a:cubicBezTo>
                    <a:pt x="15" y="39"/>
                    <a:pt x="17" y="33"/>
                    <a:pt x="15" y="31"/>
                  </a:cubicBezTo>
                  <a:cubicBezTo>
                    <a:pt x="14" y="28"/>
                    <a:pt x="7" y="0"/>
                    <a:pt x="0" y="5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86">
              <a:extLst>
                <a:ext uri="{FF2B5EF4-FFF2-40B4-BE49-F238E27FC236}">
                  <a16:creationId xmlns:a16="http://schemas.microsoft.com/office/drawing/2014/main" id="{6349DBED-49BC-4F44-AA0B-848FE9AAB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" y="829"/>
              <a:ext cx="67" cy="279"/>
            </a:xfrm>
            <a:custGeom>
              <a:avLst/>
              <a:gdLst>
                <a:gd name="T0" fmla="*/ 0 w 28"/>
                <a:gd name="T1" fmla="*/ 0 h 116"/>
                <a:gd name="T2" fmla="*/ 17 w 28"/>
                <a:gd name="T3" fmla="*/ 5 h 116"/>
                <a:gd name="T4" fmla="*/ 20 w 28"/>
                <a:gd name="T5" fmla="*/ 22 h 116"/>
                <a:gd name="T6" fmla="*/ 19 w 28"/>
                <a:gd name="T7" fmla="*/ 68 h 116"/>
                <a:gd name="T8" fmla="*/ 26 w 28"/>
                <a:gd name="T9" fmla="*/ 107 h 116"/>
                <a:gd name="T10" fmla="*/ 22 w 28"/>
                <a:gd name="T11" fmla="*/ 115 h 116"/>
                <a:gd name="T12" fmla="*/ 14 w 28"/>
                <a:gd name="T13" fmla="*/ 105 h 116"/>
                <a:gd name="T14" fmla="*/ 8 w 28"/>
                <a:gd name="T15" fmla="*/ 56 h 116"/>
                <a:gd name="T16" fmla="*/ 0 w 28"/>
                <a:gd name="T1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16">
                  <a:moveTo>
                    <a:pt x="0" y="0"/>
                  </a:moveTo>
                  <a:cubicBezTo>
                    <a:pt x="6" y="2"/>
                    <a:pt x="15" y="4"/>
                    <a:pt x="17" y="5"/>
                  </a:cubicBezTo>
                  <a:cubicBezTo>
                    <a:pt x="20" y="7"/>
                    <a:pt x="21" y="6"/>
                    <a:pt x="20" y="22"/>
                  </a:cubicBezTo>
                  <a:cubicBezTo>
                    <a:pt x="18" y="38"/>
                    <a:pt x="18" y="61"/>
                    <a:pt x="19" y="68"/>
                  </a:cubicBezTo>
                  <a:cubicBezTo>
                    <a:pt x="20" y="75"/>
                    <a:pt x="24" y="103"/>
                    <a:pt x="26" y="107"/>
                  </a:cubicBezTo>
                  <a:cubicBezTo>
                    <a:pt x="28" y="111"/>
                    <a:pt x="24" y="114"/>
                    <a:pt x="22" y="115"/>
                  </a:cubicBezTo>
                  <a:cubicBezTo>
                    <a:pt x="20" y="116"/>
                    <a:pt x="17" y="115"/>
                    <a:pt x="14" y="105"/>
                  </a:cubicBezTo>
                  <a:cubicBezTo>
                    <a:pt x="12" y="95"/>
                    <a:pt x="8" y="80"/>
                    <a:pt x="8" y="56"/>
                  </a:cubicBezTo>
                  <a:cubicBezTo>
                    <a:pt x="7" y="31"/>
                    <a:pt x="9" y="19"/>
                    <a:pt x="0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87">
              <a:extLst>
                <a:ext uri="{FF2B5EF4-FFF2-40B4-BE49-F238E27FC236}">
                  <a16:creationId xmlns:a16="http://schemas.microsoft.com/office/drawing/2014/main" id="{32059462-EAE1-4441-A0CE-FAFFB8A21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5" y="829"/>
              <a:ext cx="58" cy="163"/>
            </a:xfrm>
            <a:custGeom>
              <a:avLst/>
              <a:gdLst>
                <a:gd name="T0" fmla="*/ 9 w 24"/>
                <a:gd name="T1" fmla="*/ 0 h 68"/>
                <a:gd name="T2" fmla="*/ 3 w 24"/>
                <a:gd name="T3" fmla="*/ 10 h 68"/>
                <a:gd name="T4" fmla="*/ 6 w 24"/>
                <a:gd name="T5" fmla="*/ 12 h 68"/>
                <a:gd name="T6" fmla="*/ 0 w 24"/>
                <a:gd name="T7" fmla="*/ 12 h 68"/>
                <a:gd name="T8" fmla="*/ 23 w 24"/>
                <a:gd name="T9" fmla="*/ 66 h 68"/>
                <a:gd name="T10" fmla="*/ 9 w 24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68">
                  <a:moveTo>
                    <a:pt x="9" y="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4" y="68"/>
                    <a:pt x="16" y="17"/>
                    <a:pt x="9" y="0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88">
              <a:extLst>
                <a:ext uri="{FF2B5EF4-FFF2-40B4-BE49-F238E27FC236}">
                  <a16:creationId xmlns:a16="http://schemas.microsoft.com/office/drawing/2014/main" id="{C651C1C1-2DD4-44A7-9B0E-B9201FF3B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" y="821"/>
              <a:ext cx="36" cy="157"/>
            </a:xfrm>
            <a:custGeom>
              <a:avLst/>
              <a:gdLst>
                <a:gd name="T0" fmla="*/ 0 w 15"/>
                <a:gd name="T1" fmla="*/ 0 h 65"/>
                <a:gd name="T2" fmla="*/ 12 w 15"/>
                <a:gd name="T3" fmla="*/ 10 h 65"/>
                <a:gd name="T4" fmla="*/ 9 w 15"/>
                <a:gd name="T5" fmla="*/ 13 h 65"/>
                <a:gd name="T6" fmla="*/ 15 w 15"/>
                <a:gd name="T7" fmla="*/ 13 h 65"/>
                <a:gd name="T8" fmla="*/ 9 w 15"/>
                <a:gd name="T9" fmla="*/ 65 h 65"/>
                <a:gd name="T10" fmla="*/ 0 w 15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65">
                  <a:moveTo>
                    <a:pt x="0" y="0"/>
                  </a:moveTo>
                  <a:cubicBezTo>
                    <a:pt x="12" y="10"/>
                    <a:pt x="12" y="10"/>
                    <a:pt x="12" y="10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8" y="16"/>
                    <a:pt x="0" y="0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89">
              <a:extLst>
                <a:ext uri="{FF2B5EF4-FFF2-40B4-BE49-F238E27FC236}">
                  <a16:creationId xmlns:a16="http://schemas.microsoft.com/office/drawing/2014/main" id="{0DFC0270-86C7-4717-84D9-B13F06A34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" y="1031"/>
              <a:ext cx="84" cy="255"/>
            </a:xfrm>
            <a:custGeom>
              <a:avLst/>
              <a:gdLst>
                <a:gd name="T0" fmla="*/ 13 w 35"/>
                <a:gd name="T1" fmla="*/ 106 h 106"/>
                <a:gd name="T2" fmla="*/ 16 w 35"/>
                <a:gd name="T3" fmla="*/ 91 h 106"/>
                <a:gd name="T4" fmla="*/ 12 w 35"/>
                <a:gd name="T5" fmla="*/ 62 h 106"/>
                <a:gd name="T6" fmla="*/ 2 w 35"/>
                <a:gd name="T7" fmla="*/ 40 h 106"/>
                <a:gd name="T8" fmla="*/ 1 w 35"/>
                <a:gd name="T9" fmla="*/ 39 h 106"/>
                <a:gd name="T10" fmla="*/ 2 w 35"/>
                <a:gd name="T11" fmla="*/ 33 h 106"/>
                <a:gd name="T12" fmla="*/ 2 w 35"/>
                <a:gd name="T13" fmla="*/ 2 h 106"/>
                <a:gd name="T14" fmla="*/ 3 w 35"/>
                <a:gd name="T15" fmla="*/ 22 h 106"/>
                <a:gd name="T16" fmla="*/ 13 w 35"/>
                <a:gd name="T17" fmla="*/ 31 h 106"/>
                <a:gd name="T18" fmla="*/ 10 w 35"/>
                <a:gd name="T19" fmla="*/ 32 h 106"/>
                <a:gd name="T20" fmla="*/ 5 w 35"/>
                <a:gd name="T21" fmla="*/ 34 h 106"/>
                <a:gd name="T22" fmla="*/ 26 w 35"/>
                <a:gd name="T23" fmla="*/ 57 h 106"/>
                <a:gd name="T24" fmla="*/ 30 w 35"/>
                <a:gd name="T25" fmla="*/ 65 h 106"/>
                <a:gd name="T26" fmla="*/ 15 w 35"/>
                <a:gd name="T27" fmla="*/ 55 h 106"/>
                <a:gd name="T28" fmla="*/ 31 w 35"/>
                <a:gd name="T29" fmla="*/ 74 h 106"/>
                <a:gd name="T30" fmla="*/ 22 w 35"/>
                <a:gd name="T31" fmla="*/ 67 h 106"/>
                <a:gd name="T32" fmla="*/ 16 w 35"/>
                <a:gd name="T33" fmla="*/ 64 h 106"/>
                <a:gd name="T34" fmla="*/ 30 w 35"/>
                <a:gd name="T35" fmla="*/ 79 h 106"/>
                <a:gd name="T36" fmla="*/ 18 w 35"/>
                <a:gd name="T37" fmla="*/ 72 h 106"/>
                <a:gd name="T38" fmla="*/ 23 w 35"/>
                <a:gd name="T39" fmla="*/ 82 h 106"/>
                <a:gd name="T40" fmla="*/ 19 w 35"/>
                <a:gd name="T41" fmla="*/ 85 h 106"/>
                <a:gd name="T42" fmla="*/ 17 w 35"/>
                <a:gd name="T43" fmla="*/ 92 h 106"/>
                <a:gd name="T44" fmla="*/ 22 w 35"/>
                <a:gd name="T45" fmla="*/ 91 h 106"/>
                <a:gd name="T46" fmla="*/ 30 w 35"/>
                <a:gd name="T47" fmla="*/ 85 h 106"/>
                <a:gd name="T48" fmla="*/ 16 w 35"/>
                <a:gd name="T49" fmla="*/ 99 h 106"/>
                <a:gd name="T50" fmla="*/ 13 w 35"/>
                <a:gd name="T5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5" h="106">
                  <a:moveTo>
                    <a:pt x="13" y="106"/>
                  </a:moveTo>
                  <a:cubicBezTo>
                    <a:pt x="14" y="100"/>
                    <a:pt x="15" y="95"/>
                    <a:pt x="16" y="91"/>
                  </a:cubicBezTo>
                  <a:cubicBezTo>
                    <a:pt x="18" y="83"/>
                    <a:pt x="16" y="74"/>
                    <a:pt x="12" y="62"/>
                  </a:cubicBezTo>
                  <a:cubicBezTo>
                    <a:pt x="8" y="50"/>
                    <a:pt x="3" y="42"/>
                    <a:pt x="2" y="40"/>
                  </a:cubicBezTo>
                  <a:cubicBezTo>
                    <a:pt x="2" y="39"/>
                    <a:pt x="2" y="39"/>
                    <a:pt x="1" y="39"/>
                  </a:cubicBezTo>
                  <a:cubicBezTo>
                    <a:pt x="2" y="37"/>
                    <a:pt x="2" y="36"/>
                    <a:pt x="2" y="33"/>
                  </a:cubicBezTo>
                  <a:cubicBezTo>
                    <a:pt x="2" y="29"/>
                    <a:pt x="0" y="0"/>
                    <a:pt x="2" y="2"/>
                  </a:cubicBezTo>
                  <a:cubicBezTo>
                    <a:pt x="2" y="4"/>
                    <a:pt x="3" y="19"/>
                    <a:pt x="3" y="22"/>
                  </a:cubicBezTo>
                  <a:cubicBezTo>
                    <a:pt x="3" y="26"/>
                    <a:pt x="8" y="29"/>
                    <a:pt x="13" y="31"/>
                  </a:cubicBezTo>
                  <a:cubicBezTo>
                    <a:pt x="18" y="33"/>
                    <a:pt x="14" y="34"/>
                    <a:pt x="10" y="32"/>
                  </a:cubicBezTo>
                  <a:cubicBezTo>
                    <a:pt x="5" y="30"/>
                    <a:pt x="2" y="31"/>
                    <a:pt x="5" y="34"/>
                  </a:cubicBezTo>
                  <a:cubicBezTo>
                    <a:pt x="8" y="38"/>
                    <a:pt x="20" y="50"/>
                    <a:pt x="26" y="57"/>
                  </a:cubicBezTo>
                  <a:cubicBezTo>
                    <a:pt x="31" y="64"/>
                    <a:pt x="34" y="70"/>
                    <a:pt x="30" y="65"/>
                  </a:cubicBezTo>
                  <a:cubicBezTo>
                    <a:pt x="25" y="61"/>
                    <a:pt x="10" y="49"/>
                    <a:pt x="15" y="55"/>
                  </a:cubicBezTo>
                  <a:cubicBezTo>
                    <a:pt x="20" y="61"/>
                    <a:pt x="29" y="71"/>
                    <a:pt x="31" y="74"/>
                  </a:cubicBezTo>
                  <a:cubicBezTo>
                    <a:pt x="32" y="76"/>
                    <a:pt x="27" y="71"/>
                    <a:pt x="22" y="67"/>
                  </a:cubicBezTo>
                  <a:cubicBezTo>
                    <a:pt x="17" y="62"/>
                    <a:pt x="11" y="59"/>
                    <a:pt x="16" y="64"/>
                  </a:cubicBezTo>
                  <a:cubicBezTo>
                    <a:pt x="21" y="70"/>
                    <a:pt x="35" y="81"/>
                    <a:pt x="30" y="79"/>
                  </a:cubicBezTo>
                  <a:cubicBezTo>
                    <a:pt x="26" y="76"/>
                    <a:pt x="15" y="66"/>
                    <a:pt x="18" y="72"/>
                  </a:cubicBezTo>
                  <a:cubicBezTo>
                    <a:pt x="22" y="78"/>
                    <a:pt x="26" y="85"/>
                    <a:pt x="23" y="82"/>
                  </a:cubicBezTo>
                  <a:cubicBezTo>
                    <a:pt x="20" y="79"/>
                    <a:pt x="17" y="82"/>
                    <a:pt x="19" y="85"/>
                  </a:cubicBezTo>
                  <a:cubicBezTo>
                    <a:pt x="21" y="87"/>
                    <a:pt x="18" y="90"/>
                    <a:pt x="17" y="92"/>
                  </a:cubicBezTo>
                  <a:cubicBezTo>
                    <a:pt x="16" y="94"/>
                    <a:pt x="19" y="94"/>
                    <a:pt x="22" y="91"/>
                  </a:cubicBezTo>
                  <a:cubicBezTo>
                    <a:pt x="26" y="87"/>
                    <a:pt x="34" y="80"/>
                    <a:pt x="30" y="85"/>
                  </a:cubicBezTo>
                  <a:cubicBezTo>
                    <a:pt x="27" y="90"/>
                    <a:pt x="17" y="94"/>
                    <a:pt x="16" y="99"/>
                  </a:cubicBezTo>
                  <a:cubicBezTo>
                    <a:pt x="15" y="101"/>
                    <a:pt x="14" y="103"/>
                    <a:pt x="13" y="106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90">
              <a:extLst>
                <a:ext uri="{FF2B5EF4-FFF2-40B4-BE49-F238E27FC236}">
                  <a16:creationId xmlns:a16="http://schemas.microsoft.com/office/drawing/2014/main" id="{FBA153F8-57A6-47B2-9B6E-628F1E3DC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" y="1399"/>
              <a:ext cx="22" cy="19"/>
            </a:xfrm>
            <a:custGeom>
              <a:avLst/>
              <a:gdLst>
                <a:gd name="T0" fmla="*/ 1 w 9"/>
                <a:gd name="T1" fmla="*/ 0 h 8"/>
                <a:gd name="T2" fmla="*/ 0 w 9"/>
                <a:gd name="T3" fmla="*/ 3 h 8"/>
                <a:gd name="T4" fmla="*/ 3 w 9"/>
                <a:gd name="T5" fmla="*/ 6 h 8"/>
                <a:gd name="T6" fmla="*/ 8 w 9"/>
                <a:gd name="T7" fmla="*/ 8 h 8"/>
                <a:gd name="T8" fmla="*/ 9 w 9"/>
                <a:gd name="T9" fmla="*/ 6 h 8"/>
                <a:gd name="T10" fmla="*/ 1 w 9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8">
                  <a:moveTo>
                    <a:pt x="1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4"/>
                    <a:pt x="3" y="6"/>
                  </a:cubicBezTo>
                  <a:cubicBezTo>
                    <a:pt x="6" y="7"/>
                    <a:pt x="8" y="8"/>
                    <a:pt x="8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4"/>
                    <a:pt x="4" y="2"/>
                    <a:pt x="1" y="0"/>
                  </a:cubicBezTo>
                  <a:close/>
                </a:path>
              </a:pathLst>
            </a:custGeom>
            <a:solidFill>
              <a:srgbClr val="0E10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91">
              <a:extLst>
                <a:ext uri="{FF2B5EF4-FFF2-40B4-BE49-F238E27FC236}">
                  <a16:creationId xmlns:a16="http://schemas.microsoft.com/office/drawing/2014/main" id="{77E1FCD0-D266-4129-A49F-4B32D8903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" y="1392"/>
              <a:ext cx="36" cy="41"/>
            </a:xfrm>
            <a:custGeom>
              <a:avLst/>
              <a:gdLst>
                <a:gd name="T0" fmla="*/ 1 w 15"/>
                <a:gd name="T1" fmla="*/ 1 h 17"/>
                <a:gd name="T2" fmla="*/ 3 w 15"/>
                <a:gd name="T3" fmla="*/ 4 h 17"/>
                <a:gd name="T4" fmla="*/ 10 w 15"/>
                <a:gd name="T5" fmla="*/ 10 h 17"/>
                <a:gd name="T6" fmla="*/ 14 w 15"/>
                <a:gd name="T7" fmla="*/ 14 h 17"/>
                <a:gd name="T8" fmla="*/ 8 w 15"/>
                <a:gd name="T9" fmla="*/ 5 h 17"/>
                <a:gd name="T10" fmla="*/ 1 w 15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7">
                  <a:moveTo>
                    <a:pt x="1" y="1"/>
                  </a:moveTo>
                  <a:cubicBezTo>
                    <a:pt x="0" y="2"/>
                    <a:pt x="1" y="3"/>
                    <a:pt x="3" y="4"/>
                  </a:cubicBezTo>
                  <a:cubicBezTo>
                    <a:pt x="5" y="5"/>
                    <a:pt x="9" y="8"/>
                    <a:pt x="10" y="10"/>
                  </a:cubicBezTo>
                  <a:cubicBezTo>
                    <a:pt x="12" y="13"/>
                    <a:pt x="15" y="17"/>
                    <a:pt x="14" y="14"/>
                  </a:cubicBezTo>
                  <a:cubicBezTo>
                    <a:pt x="13" y="11"/>
                    <a:pt x="11" y="7"/>
                    <a:pt x="8" y="5"/>
                  </a:cubicBezTo>
                  <a:cubicBezTo>
                    <a:pt x="5" y="3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92">
              <a:extLst>
                <a:ext uri="{FF2B5EF4-FFF2-40B4-BE49-F238E27FC236}">
                  <a16:creationId xmlns:a16="http://schemas.microsoft.com/office/drawing/2014/main" id="{BC58EDA3-D3D5-460D-978A-15A8F9D17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" y="1397"/>
              <a:ext cx="38" cy="33"/>
            </a:xfrm>
            <a:custGeom>
              <a:avLst/>
              <a:gdLst>
                <a:gd name="T0" fmla="*/ 3 w 16"/>
                <a:gd name="T1" fmla="*/ 2 h 14"/>
                <a:gd name="T2" fmla="*/ 7 w 16"/>
                <a:gd name="T3" fmla="*/ 9 h 14"/>
                <a:gd name="T4" fmla="*/ 13 w 16"/>
                <a:gd name="T5" fmla="*/ 13 h 14"/>
                <a:gd name="T6" fmla="*/ 13 w 16"/>
                <a:gd name="T7" fmla="*/ 12 h 14"/>
                <a:gd name="T8" fmla="*/ 8 w 16"/>
                <a:gd name="T9" fmla="*/ 4 h 14"/>
                <a:gd name="T10" fmla="*/ 4 w 16"/>
                <a:gd name="T11" fmla="*/ 1 h 14"/>
                <a:gd name="T12" fmla="*/ 3 w 16"/>
                <a:gd name="T1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4">
                  <a:moveTo>
                    <a:pt x="3" y="2"/>
                  </a:moveTo>
                  <a:cubicBezTo>
                    <a:pt x="5" y="3"/>
                    <a:pt x="5" y="6"/>
                    <a:pt x="7" y="9"/>
                  </a:cubicBezTo>
                  <a:cubicBezTo>
                    <a:pt x="8" y="12"/>
                    <a:pt x="9" y="12"/>
                    <a:pt x="13" y="13"/>
                  </a:cubicBezTo>
                  <a:cubicBezTo>
                    <a:pt x="16" y="14"/>
                    <a:pt x="16" y="13"/>
                    <a:pt x="13" y="12"/>
                  </a:cubicBezTo>
                  <a:cubicBezTo>
                    <a:pt x="11" y="10"/>
                    <a:pt x="8" y="7"/>
                    <a:pt x="8" y="4"/>
                  </a:cubicBezTo>
                  <a:cubicBezTo>
                    <a:pt x="8" y="2"/>
                    <a:pt x="7" y="1"/>
                    <a:pt x="4" y="1"/>
                  </a:cubicBezTo>
                  <a:cubicBezTo>
                    <a:pt x="2" y="0"/>
                    <a:pt x="0" y="1"/>
                    <a:pt x="3" y="2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93">
              <a:extLst>
                <a:ext uri="{FF2B5EF4-FFF2-40B4-BE49-F238E27FC236}">
                  <a16:creationId xmlns:a16="http://schemas.microsoft.com/office/drawing/2014/main" id="{017438BE-9EA3-4D71-B8EC-36FDC2401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6" y="1409"/>
              <a:ext cx="19" cy="36"/>
            </a:xfrm>
            <a:custGeom>
              <a:avLst/>
              <a:gdLst>
                <a:gd name="T0" fmla="*/ 2 w 8"/>
                <a:gd name="T1" fmla="*/ 3 h 15"/>
                <a:gd name="T2" fmla="*/ 0 w 8"/>
                <a:gd name="T3" fmla="*/ 13 h 15"/>
                <a:gd name="T4" fmla="*/ 3 w 8"/>
                <a:gd name="T5" fmla="*/ 15 h 15"/>
                <a:gd name="T6" fmla="*/ 6 w 8"/>
                <a:gd name="T7" fmla="*/ 13 h 15"/>
                <a:gd name="T8" fmla="*/ 4 w 8"/>
                <a:gd name="T9" fmla="*/ 8 h 15"/>
                <a:gd name="T10" fmla="*/ 2 w 8"/>
                <a:gd name="T11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5">
                  <a:moveTo>
                    <a:pt x="2" y="3"/>
                  </a:moveTo>
                  <a:cubicBezTo>
                    <a:pt x="2" y="6"/>
                    <a:pt x="0" y="11"/>
                    <a:pt x="0" y="13"/>
                  </a:cubicBezTo>
                  <a:cubicBezTo>
                    <a:pt x="0" y="15"/>
                    <a:pt x="1" y="15"/>
                    <a:pt x="3" y="15"/>
                  </a:cubicBezTo>
                  <a:cubicBezTo>
                    <a:pt x="6" y="15"/>
                    <a:pt x="8" y="15"/>
                    <a:pt x="6" y="13"/>
                  </a:cubicBezTo>
                  <a:cubicBezTo>
                    <a:pt x="3" y="10"/>
                    <a:pt x="3" y="10"/>
                    <a:pt x="4" y="8"/>
                  </a:cubicBezTo>
                  <a:cubicBezTo>
                    <a:pt x="6" y="6"/>
                    <a:pt x="4" y="0"/>
                    <a:pt x="2" y="3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94">
              <a:extLst>
                <a:ext uri="{FF2B5EF4-FFF2-40B4-BE49-F238E27FC236}">
                  <a16:creationId xmlns:a16="http://schemas.microsoft.com/office/drawing/2014/main" id="{B0C3D1A7-63FC-4FD2-8A5E-173AD71F3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" y="829"/>
              <a:ext cx="53" cy="163"/>
            </a:xfrm>
            <a:custGeom>
              <a:avLst/>
              <a:gdLst>
                <a:gd name="T0" fmla="*/ 7 w 22"/>
                <a:gd name="T1" fmla="*/ 0 h 68"/>
                <a:gd name="T2" fmla="*/ 2 w 22"/>
                <a:gd name="T3" fmla="*/ 10 h 68"/>
                <a:gd name="T4" fmla="*/ 7 w 22"/>
                <a:gd name="T5" fmla="*/ 12 h 68"/>
                <a:gd name="T6" fmla="*/ 0 w 22"/>
                <a:gd name="T7" fmla="*/ 13 h 68"/>
                <a:gd name="T8" fmla="*/ 21 w 22"/>
                <a:gd name="T9" fmla="*/ 66 h 68"/>
                <a:gd name="T10" fmla="*/ 7 w 22"/>
                <a:gd name="T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68">
                  <a:moveTo>
                    <a:pt x="7" y="0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2" y="68"/>
                    <a:pt x="14" y="17"/>
                    <a:pt x="7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95">
              <a:extLst>
                <a:ext uri="{FF2B5EF4-FFF2-40B4-BE49-F238E27FC236}">
                  <a16:creationId xmlns:a16="http://schemas.microsoft.com/office/drawing/2014/main" id="{55CC40CD-E21C-45E2-881C-894350B79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" y="821"/>
              <a:ext cx="28" cy="157"/>
            </a:xfrm>
            <a:custGeom>
              <a:avLst/>
              <a:gdLst>
                <a:gd name="T0" fmla="*/ 0 w 12"/>
                <a:gd name="T1" fmla="*/ 0 h 65"/>
                <a:gd name="T2" fmla="*/ 10 w 12"/>
                <a:gd name="T3" fmla="*/ 11 h 65"/>
                <a:gd name="T4" fmla="*/ 8 w 12"/>
                <a:gd name="T5" fmla="*/ 13 h 65"/>
                <a:gd name="T6" fmla="*/ 12 w 12"/>
                <a:gd name="T7" fmla="*/ 14 h 65"/>
                <a:gd name="T8" fmla="*/ 9 w 12"/>
                <a:gd name="T9" fmla="*/ 65 h 65"/>
                <a:gd name="T10" fmla="*/ 0 w 12"/>
                <a:gd name="T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5">
                  <a:moveTo>
                    <a:pt x="0" y="0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8" y="16"/>
                    <a:pt x="0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96">
              <a:extLst>
                <a:ext uri="{FF2B5EF4-FFF2-40B4-BE49-F238E27FC236}">
                  <a16:creationId xmlns:a16="http://schemas.microsoft.com/office/drawing/2014/main" id="{1CE39716-C97D-4DC1-A4C1-9A07D44D4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" y="1132"/>
              <a:ext cx="94" cy="127"/>
            </a:xfrm>
            <a:custGeom>
              <a:avLst/>
              <a:gdLst>
                <a:gd name="T0" fmla="*/ 39 w 39"/>
                <a:gd name="T1" fmla="*/ 13 h 53"/>
                <a:gd name="T2" fmla="*/ 9 w 39"/>
                <a:gd name="T3" fmla="*/ 0 h 53"/>
                <a:gd name="T4" fmla="*/ 1 w 39"/>
                <a:gd name="T5" fmla="*/ 10 h 53"/>
                <a:gd name="T6" fmla="*/ 0 w 39"/>
                <a:gd name="T7" fmla="*/ 39 h 53"/>
                <a:gd name="T8" fmla="*/ 30 w 39"/>
                <a:gd name="T9" fmla="*/ 53 h 53"/>
                <a:gd name="T10" fmla="*/ 39 w 39"/>
                <a:gd name="T11" fmla="*/ 1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53">
                  <a:moveTo>
                    <a:pt x="39" y="13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6" y="35"/>
                    <a:pt x="39" y="13"/>
                  </a:cubicBezTo>
                  <a:close/>
                </a:path>
              </a:pathLst>
            </a:custGeom>
            <a:solidFill>
              <a:srgbClr val="F28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97">
              <a:extLst>
                <a:ext uri="{FF2B5EF4-FFF2-40B4-BE49-F238E27FC236}">
                  <a16:creationId xmlns:a16="http://schemas.microsoft.com/office/drawing/2014/main" id="{F4715936-0C91-4BD0-8C7B-15D4529F0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1" y="1163"/>
              <a:ext cx="28" cy="99"/>
            </a:xfrm>
            <a:custGeom>
              <a:avLst/>
              <a:gdLst>
                <a:gd name="T0" fmla="*/ 10 w 12"/>
                <a:gd name="T1" fmla="*/ 0 h 41"/>
                <a:gd name="T2" fmla="*/ 3 w 12"/>
                <a:gd name="T3" fmla="*/ 0 h 41"/>
                <a:gd name="T4" fmla="*/ 0 w 12"/>
                <a:gd name="T5" fmla="*/ 3 h 41"/>
                <a:gd name="T6" fmla="*/ 0 w 12"/>
                <a:gd name="T7" fmla="*/ 38 h 41"/>
                <a:gd name="T8" fmla="*/ 3 w 12"/>
                <a:gd name="T9" fmla="*/ 41 h 41"/>
                <a:gd name="T10" fmla="*/ 10 w 12"/>
                <a:gd name="T11" fmla="*/ 41 h 41"/>
                <a:gd name="T12" fmla="*/ 12 w 12"/>
                <a:gd name="T13" fmla="*/ 38 h 41"/>
                <a:gd name="T14" fmla="*/ 12 w 12"/>
                <a:gd name="T15" fmla="*/ 3 h 41"/>
                <a:gd name="T16" fmla="*/ 10 w 12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41">
                  <a:moveTo>
                    <a:pt x="1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1" y="41"/>
                    <a:pt x="3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1" y="41"/>
                    <a:pt x="12" y="40"/>
                    <a:pt x="12" y="38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1" y="0"/>
                    <a:pt x="10" y="0"/>
                  </a:cubicBezTo>
                  <a:close/>
                </a:path>
              </a:pathLst>
            </a:custGeom>
            <a:solidFill>
              <a:srgbClr val="F28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98">
              <a:extLst>
                <a:ext uri="{FF2B5EF4-FFF2-40B4-BE49-F238E27FC236}">
                  <a16:creationId xmlns:a16="http://schemas.microsoft.com/office/drawing/2014/main" id="{067A49E0-4688-4E62-914D-1C2B42BB0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5" y="1168"/>
              <a:ext cx="22" cy="89"/>
            </a:xfrm>
            <a:custGeom>
              <a:avLst/>
              <a:gdLst>
                <a:gd name="T0" fmla="*/ 8 w 9"/>
                <a:gd name="T1" fmla="*/ 0 h 37"/>
                <a:gd name="T2" fmla="*/ 1 w 9"/>
                <a:gd name="T3" fmla="*/ 0 h 37"/>
                <a:gd name="T4" fmla="*/ 0 w 9"/>
                <a:gd name="T5" fmla="*/ 1 h 37"/>
                <a:gd name="T6" fmla="*/ 0 w 9"/>
                <a:gd name="T7" fmla="*/ 36 h 37"/>
                <a:gd name="T8" fmla="*/ 1 w 9"/>
                <a:gd name="T9" fmla="*/ 37 h 37"/>
                <a:gd name="T10" fmla="*/ 8 w 9"/>
                <a:gd name="T11" fmla="*/ 37 h 37"/>
                <a:gd name="T12" fmla="*/ 9 w 9"/>
                <a:gd name="T13" fmla="*/ 36 h 37"/>
                <a:gd name="T14" fmla="*/ 9 w 9"/>
                <a:gd name="T15" fmla="*/ 1 h 37"/>
                <a:gd name="T16" fmla="*/ 8 w 9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37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7"/>
                    <a:pt x="1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9" y="37"/>
                    <a:pt x="9" y="36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99">
              <a:extLst>
                <a:ext uri="{FF2B5EF4-FFF2-40B4-BE49-F238E27FC236}">
                  <a16:creationId xmlns:a16="http://schemas.microsoft.com/office/drawing/2014/main" id="{125552E3-F53A-4306-879E-0C59A6DA1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7" y="1125"/>
              <a:ext cx="29" cy="16"/>
            </a:xfrm>
            <a:custGeom>
              <a:avLst/>
              <a:gdLst>
                <a:gd name="T0" fmla="*/ 0 w 12"/>
                <a:gd name="T1" fmla="*/ 5 h 7"/>
                <a:gd name="T2" fmla="*/ 2 w 12"/>
                <a:gd name="T3" fmla="*/ 7 h 7"/>
                <a:gd name="T4" fmla="*/ 3 w 12"/>
                <a:gd name="T5" fmla="*/ 5 h 7"/>
                <a:gd name="T6" fmla="*/ 3 w 12"/>
                <a:gd name="T7" fmla="*/ 4 h 7"/>
                <a:gd name="T8" fmla="*/ 10 w 12"/>
                <a:gd name="T9" fmla="*/ 7 h 7"/>
                <a:gd name="T10" fmla="*/ 12 w 12"/>
                <a:gd name="T11" fmla="*/ 6 h 7"/>
                <a:gd name="T12" fmla="*/ 11 w 12"/>
                <a:gd name="T13" fmla="*/ 4 h 7"/>
                <a:gd name="T14" fmla="*/ 4 w 12"/>
                <a:gd name="T15" fmla="*/ 1 h 7"/>
                <a:gd name="T16" fmla="*/ 4 w 12"/>
                <a:gd name="T17" fmla="*/ 1 h 7"/>
                <a:gd name="T18" fmla="*/ 2 w 12"/>
                <a:gd name="T19" fmla="*/ 0 h 7"/>
                <a:gd name="T20" fmla="*/ 0 w 12"/>
                <a:gd name="T21" fmla="*/ 3 h 7"/>
                <a:gd name="T22" fmla="*/ 0 w 12"/>
                <a:gd name="T2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7">
                  <a:moveTo>
                    <a:pt x="0" y="5"/>
                  </a:moveTo>
                  <a:cubicBezTo>
                    <a:pt x="0" y="6"/>
                    <a:pt x="1" y="7"/>
                    <a:pt x="2" y="7"/>
                  </a:cubicBezTo>
                  <a:cubicBezTo>
                    <a:pt x="3" y="7"/>
                    <a:pt x="3" y="6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2" y="7"/>
                    <a:pt x="12" y="6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00">
              <a:extLst>
                <a:ext uri="{FF2B5EF4-FFF2-40B4-BE49-F238E27FC236}">
                  <a16:creationId xmlns:a16="http://schemas.microsoft.com/office/drawing/2014/main" id="{A2DE5CA2-AC74-4B05-8E80-99FAADD8E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" y="1132"/>
              <a:ext cx="22" cy="24"/>
            </a:xfrm>
            <a:custGeom>
              <a:avLst/>
              <a:gdLst>
                <a:gd name="T0" fmla="*/ 6 w 9"/>
                <a:gd name="T1" fmla="*/ 8 h 10"/>
                <a:gd name="T2" fmla="*/ 8 w 9"/>
                <a:gd name="T3" fmla="*/ 10 h 10"/>
                <a:gd name="T4" fmla="*/ 9 w 9"/>
                <a:gd name="T5" fmla="*/ 8 h 10"/>
                <a:gd name="T6" fmla="*/ 9 w 9"/>
                <a:gd name="T7" fmla="*/ 6 h 10"/>
                <a:gd name="T8" fmla="*/ 6 w 9"/>
                <a:gd name="T9" fmla="*/ 2 h 10"/>
                <a:gd name="T10" fmla="*/ 2 w 9"/>
                <a:gd name="T11" fmla="*/ 0 h 10"/>
                <a:gd name="T12" fmla="*/ 0 w 9"/>
                <a:gd name="T13" fmla="*/ 1 h 10"/>
                <a:gd name="T14" fmla="*/ 1 w 9"/>
                <a:gd name="T15" fmla="*/ 3 h 10"/>
                <a:gd name="T16" fmla="*/ 5 w 9"/>
                <a:gd name="T17" fmla="*/ 5 h 10"/>
                <a:gd name="T18" fmla="*/ 6 w 9"/>
                <a:gd name="T19" fmla="*/ 6 h 10"/>
                <a:gd name="T20" fmla="*/ 6 w 9"/>
                <a:gd name="T2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10">
                  <a:moveTo>
                    <a:pt x="6" y="8"/>
                  </a:moveTo>
                  <a:cubicBezTo>
                    <a:pt x="6" y="9"/>
                    <a:pt x="7" y="10"/>
                    <a:pt x="8" y="10"/>
                  </a:cubicBezTo>
                  <a:cubicBezTo>
                    <a:pt x="9" y="10"/>
                    <a:pt x="9" y="9"/>
                    <a:pt x="9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3"/>
                    <a:pt x="8" y="3"/>
                    <a:pt x="6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6"/>
                  </a:cubicBezTo>
                  <a:lnTo>
                    <a:pt x="6" y="8"/>
                  </a:ln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01">
              <a:extLst>
                <a:ext uri="{FF2B5EF4-FFF2-40B4-BE49-F238E27FC236}">
                  <a16:creationId xmlns:a16="http://schemas.microsoft.com/office/drawing/2014/main" id="{C953211D-99AC-42D1-8F3D-6FE548F69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3" y="1139"/>
              <a:ext cx="72" cy="99"/>
            </a:xfrm>
            <a:custGeom>
              <a:avLst/>
              <a:gdLst>
                <a:gd name="T0" fmla="*/ 27 w 30"/>
                <a:gd name="T1" fmla="*/ 12 h 41"/>
                <a:gd name="T2" fmla="*/ 3 w 30"/>
                <a:gd name="T3" fmla="*/ 1 h 41"/>
                <a:gd name="T4" fmla="*/ 0 w 30"/>
                <a:gd name="T5" fmla="*/ 3 h 41"/>
                <a:gd name="T6" fmla="*/ 0 w 30"/>
                <a:gd name="T7" fmla="*/ 24 h 41"/>
                <a:gd name="T8" fmla="*/ 3 w 30"/>
                <a:gd name="T9" fmla="*/ 29 h 41"/>
                <a:gd name="T10" fmla="*/ 27 w 30"/>
                <a:gd name="T11" fmla="*/ 41 h 41"/>
                <a:gd name="T12" fmla="*/ 30 w 30"/>
                <a:gd name="T13" fmla="*/ 38 h 41"/>
                <a:gd name="T14" fmla="*/ 30 w 30"/>
                <a:gd name="T15" fmla="*/ 18 h 41"/>
                <a:gd name="T16" fmla="*/ 27 w 30"/>
                <a:gd name="T17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41">
                  <a:moveTo>
                    <a:pt x="27" y="12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6"/>
                    <a:pt x="1" y="28"/>
                    <a:pt x="3" y="29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8" y="41"/>
                    <a:pt x="30" y="40"/>
                    <a:pt x="30" y="3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28" y="13"/>
                    <a:pt x="27" y="12"/>
                  </a:cubicBez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02">
              <a:extLst>
                <a:ext uri="{FF2B5EF4-FFF2-40B4-BE49-F238E27FC236}">
                  <a16:creationId xmlns:a16="http://schemas.microsoft.com/office/drawing/2014/main" id="{79A2DCBF-F17C-4149-88D3-C3E6A0174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8" y="1139"/>
              <a:ext cx="77" cy="94"/>
            </a:xfrm>
            <a:custGeom>
              <a:avLst/>
              <a:gdLst>
                <a:gd name="T0" fmla="*/ 28 w 32"/>
                <a:gd name="T1" fmla="*/ 12 h 39"/>
                <a:gd name="T2" fmla="*/ 5 w 32"/>
                <a:gd name="T3" fmla="*/ 1 h 39"/>
                <a:gd name="T4" fmla="*/ 2 w 32"/>
                <a:gd name="T5" fmla="*/ 3 h 39"/>
                <a:gd name="T6" fmla="*/ 0 w 32"/>
                <a:gd name="T7" fmla="*/ 21 h 39"/>
                <a:gd name="T8" fmla="*/ 3 w 32"/>
                <a:gd name="T9" fmla="*/ 26 h 39"/>
                <a:gd name="T10" fmla="*/ 27 w 32"/>
                <a:gd name="T11" fmla="*/ 38 h 39"/>
                <a:gd name="T12" fmla="*/ 30 w 32"/>
                <a:gd name="T13" fmla="*/ 35 h 39"/>
                <a:gd name="T14" fmla="*/ 32 w 32"/>
                <a:gd name="T15" fmla="*/ 18 h 39"/>
                <a:gd name="T16" fmla="*/ 28 w 32"/>
                <a:gd name="T17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9">
                  <a:moveTo>
                    <a:pt x="28" y="12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3" y="0"/>
                    <a:pt x="2" y="1"/>
                    <a:pt x="2" y="3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3"/>
                    <a:pt x="2" y="26"/>
                    <a:pt x="3" y="26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9" y="39"/>
                    <a:pt x="30" y="38"/>
                    <a:pt x="30" y="35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6"/>
                    <a:pt x="30" y="13"/>
                    <a:pt x="28" y="12"/>
                  </a:cubicBezTo>
                  <a:close/>
                </a:path>
              </a:pathLst>
            </a:custGeom>
            <a:solidFill>
              <a:srgbClr val="F28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03">
              <a:extLst>
                <a:ext uri="{FF2B5EF4-FFF2-40B4-BE49-F238E27FC236}">
                  <a16:creationId xmlns:a16="http://schemas.microsoft.com/office/drawing/2014/main" id="{3AFF37AD-64D6-4BA9-AAB3-F2710959A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5" y="1084"/>
              <a:ext cx="34" cy="65"/>
            </a:xfrm>
            <a:custGeom>
              <a:avLst/>
              <a:gdLst>
                <a:gd name="T0" fmla="*/ 10 w 14"/>
                <a:gd name="T1" fmla="*/ 5 h 27"/>
                <a:gd name="T2" fmla="*/ 11 w 14"/>
                <a:gd name="T3" fmla="*/ 11 h 27"/>
                <a:gd name="T4" fmla="*/ 12 w 14"/>
                <a:gd name="T5" fmla="*/ 18 h 27"/>
                <a:gd name="T6" fmla="*/ 11 w 14"/>
                <a:gd name="T7" fmla="*/ 22 h 27"/>
                <a:gd name="T8" fmla="*/ 8 w 14"/>
                <a:gd name="T9" fmla="*/ 17 h 27"/>
                <a:gd name="T10" fmla="*/ 6 w 14"/>
                <a:gd name="T11" fmla="*/ 13 h 27"/>
                <a:gd name="T12" fmla="*/ 7 w 14"/>
                <a:gd name="T13" fmla="*/ 19 h 27"/>
                <a:gd name="T14" fmla="*/ 9 w 14"/>
                <a:gd name="T15" fmla="*/ 23 h 27"/>
                <a:gd name="T16" fmla="*/ 14 w 14"/>
                <a:gd name="T17" fmla="*/ 26 h 27"/>
                <a:gd name="T18" fmla="*/ 9 w 14"/>
                <a:gd name="T19" fmla="*/ 26 h 27"/>
                <a:gd name="T20" fmla="*/ 4 w 14"/>
                <a:gd name="T21" fmla="*/ 22 h 27"/>
                <a:gd name="T22" fmla="*/ 1 w 14"/>
                <a:gd name="T23" fmla="*/ 14 h 27"/>
                <a:gd name="T24" fmla="*/ 1 w 14"/>
                <a:gd name="T25" fmla="*/ 3 h 27"/>
                <a:gd name="T26" fmla="*/ 10 w 14"/>
                <a:gd name="T27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27">
                  <a:moveTo>
                    <a:pt x="10" y="5"/>
                  </a:moveTo>
                  <a:cubicBezTo>
                    <a:pt x="11" y="6"/>
                    <a:pt x="11" y="10"/>
                    <a:pt x="11" y="11"/>
                  </a:cubicBezTo>
                  <a:cubicBezTo>
                    <a:pt x="11" y="12"/>
                    <a:pt x="11" y="16"/>
                    <a:pt x="12" y="18"/>
                  </a:cubicBezTo>
                  <a:cubicBezTo>
                    <a:pt x="12" y="20"/>
                    <a:pt x="12" y="22"/>
                    <a:pt x="11" y="22"/>
                  </a:cubicBezTo>
                  <a:cubicBezTo>
                    <a:pt x="9" y="22"/>
                    <a:pt x="8" y="21"/>
                    <a:pt x="8" y="17"/>
                  </a:cubicBezTo>
                  <a:cubicBezTo>
                    <a:pt x="7" y="13"/>
                    <a:pt x="7" y="12"/>
                    <a:pt x="6" y="13"/>
                  </a:cubicBezTo>
                  <a:cubicBezTo>
                    <a:pt x="6" y="14"/>
                    <a:pt x="6" y="17"/>
                    <a:pt x="7" y="19"/>
                  </a:cubicBezTo>
                  <a:cubicBezTo>
                    <a:pt x="7" y="20"/>
                    <a:pt x="8" y="22"/>
                    <a:pt x="9" y="23"/>
                  </a:cubicBezTo>
                  <a:cubicBezTo>
                    <a:pt x="10" y="24"/>
                    <a:pt x="14" y="25"/>
                    <a:pt x="14" y="26"/>
                  </a:cubicBezTo>
                  <a:cubicBezTo>
                    <a:pt x="14" y="27"/>
                    <a:pt x="11" y="27"/>
                    <a:pt x="9" y="26"/>
                  </a:cubicBezTo>
                  <a:cubicBezTo>
                    <a:pt x="7" y="25"/>
                    <a:pt x="6" y="25"/>
                    <a:pt x="4" y="22"/>
                  </a:cubicBezTo>
                  <a:cubicBezTo>
                    <a:pt x="2" y="19"/>
                    <a:pt x="0" y="16"/>
                    <a:pt x="1" y="14"/>
                  </a:cubicBezTo>
                  <a:cubicBezTo>
                    <a:pt x="1" y="13"/>
                    <a:pt x="2" y="6"/>
                    <a:pt x="1" y="3"/>
                  </a:cubicBezTo>
                  <a:cubicBezTo>
                    <a:pt x="0" y="0"/>
                    <a:pt x="9" y="1"/>
                    <a:pt x="10" y="5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4">
              <a:extLst>
                <a:ext uri="{FF2B5EF4-FFF2-40B4-BE49-F238E27FC236}">
                  <a16:creationId xmlns:a16="http://schemas.microsoft.com/office/drawing/2014/main" id="{D8556D31-2B49-4969-B85B-BB9E198A2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5" y="1081"/>
              <a:ext cx="26" cy="17"/>
            </a:xfrm>
            <a:custGeom>
              <a:avLst/>
              <a:gdLst>
                <a:gd name="T0" fmla="*/ 0 w 11"/>
                <a:gd name="T1" fmla="*/ 3 h 7"/>
                <a:gd name="T2" fmla="*/ 0 w 11"/>
                <a:gd name="T3" fmla="*/ 6 h 7"/>
                <a:gd name="T4" fmla="*/ 5 w 11"/>
                <a:gd name="T5" fmla="*/ 5 h 7"/>
                <a:gd name="T6" fmla="*/ 11 w 11"/>
                <a:gd name="T7" fmla="*/ 7 h 7"/>
                <a:gd name="T8" fmla="*/ 11 w 11"/>
                <a:gd name="T9" fmla="*/ 2 h 7"/>
                <a:gd name="T10" fmla="*/ 0 w 11"/>
                <a:gd name="T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0" y="3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3" y="5"/>
                    <a:pt x="5" y="5"/>
                  </a:cubicBezTo>
                  <a:cubicBezTo>
                    <a:pt x="7" y="5"/>
                    <a:pt x="11" y="7"/>
                    <a:pt x="11" y="7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2" y="0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05">
              <a:extLst>
                <a:ext uri="{FF2B5EF4-FFF2-40B4-BE49-F238E27FC236}">
                  <a16:creationId xmlns:a16="http://schemas.microsoft.com/office/drawing/2014/main" id="{749BA81D-0BBE-45F8-BE22-7235CE716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" y="858"/>
              <a:ext cx="65" cy="238"/>
            </a:xfrm>
            <a:custGeom>
              <a:avLst/>
              <a:gdLst>
                <a:gd name="T0" fmla="*/ 18 w 27"/>
                <a:gd name="T1" fmla="*/ 0 h 99"/>
                <a:gd name="T2" fmla="*/ 10 w 27"/>
                <a:gd name="T3" fmla="*/ 13 h 99"/>
                <a:gd name="T4" fmla="*/ 6 w 27"/>
                <a:gd name="T5" fmla="*/ 45 h 99"/>
                <a:gd name="T6" fmla="*/ 2 w 27"/>
                <a:gd name="T7" fmla="*/ 61 h 99"/>
                <a:gd name="T8" fmla="*/ 2 w 27"/>
                <a:gd name="T9" fmla="*/ 79 h 99"/>
                <a:gd name="T10" fmla="*/ 1 w 27"/>
                <a:gd name="T11" fmla="*/ 92 h 99"/>
                <a:gd name="T12" fmla="*/ 2 w 27"/>
                <a:gd name="T13" fmla="*/ 96 h 99"/>
                <a:gd name="T14" fmla="*/ 7 w 27"/>
                <a:gd name="T15" fmla="*/ 96 h 99"/>
                <a:gd name="T16" fmla="*/ 12 w 27"/>
                <a:gd name="T17" fmla="*/ 98 h 99"/>
                <a:gd name="T18" fmla="*/ 13 w 27"/>
                <a:gd name="T19" fmla="*/ 94 h 99"/>
                <a:gd name="T20" fmla="*/ 14 w 27"/>
                <a:gd name="T21" fmla="*/ 83 h 99"/>
                <a:gd name="T22" fmla="*/ 17 w 27"/>
                <a:gd name="T23" fmla="*/ 73 h 99"/>
                <a:gd name="T24" fmla="*/ 19 w 27"/>
                <a:gd name="T25" fmla="*/ 64 h 99"/>
                <a:gd name="T26" fmla="*/ 21 w 27"/>
                <a:gd name="T27" fmla="*/ 45 h 99"/>
                <a:gd name="T28" fmla="*/ 18 w 27"/>
                <a:gd name="T2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99">
                  <a:moveTo>
                    <a:pt x="18" y="0"/>
                  </a:moveTo>
                  <a:cubicBezTo>
                    <a:pt x="14" y="1"/>
                    <a:pt x="12" y="1"/>
                    <a:pt x="10" y="13"/>
                  </a:cubicBezTo>
                  <a:cubicBezTo>
                    <a:pt x="9" y="25"/>
                    <a:pt x="6" y="41"/>
                    <a:pt x="6" y="45"/>
                  </a:cubicBezTo>
                  <a:cubicBezTo>
                    <a:pt x="6" y="50"/>
                    <a:pt x="2" y="55"/>
                    <a:pt x="2" y="61"/>
                  </a:cubicBezTo>
                  <a:cubicBezTo>
                    <a:pt x="3" y="68"/>
                    <a:pt x="1" y="75"/>
                    <a:pt x="2" y="79"/>
                  </a:cubicBezTo>
                  <a:cubicBezTo>
                    <a:pt x="2" y="82"/>
                    <a:pt x="2" y="87"/>
                    <a:pt x="1" y="92"/>
                  </a:cubicBezTo>
                  <a:cubicBezTo>
                    <a:pt x="1" y="97"/>
                    <a:pt x="0" y="97"/>
                    <a:pt x="2" y="96"/>
                  </a:cubicBezTo>
                  <a:cubicBezTo>
                    <a:pt x="3" y="96"/>
                    <a:pt x="5" y="96"/>
                    <a:pt x="7" y="96"/>
                  </a:cubicBezTo>
                  <a:cubicBezTo>
                    <a:pt x="9" y="97"/>
                    <a:pt x="11" y="97"/>
                    <a:pt x="12" y="98"/>
                  </a:cubicBezTo>
                  <a:cubicBezTo>
                    <a:pt x="12" y="99"/>
                    <a:pt x="13" y="99"/>
                    <a:pt x="13" y="94"/>
                  </a:cubicBezTo>
                  <a:cubicBezTo>
                    <a:pt x="12" y="89"/>
                    <a:pt x="13" y="85"/>
                    <a:pt x="14" y="83"/>
                  </a:cubicBezTo>
                  <a:cubicBezTo>
                    <a:pt x="16" y="80"/>
                    <a:pt x="17" y="77"/>
                    <a:pt x="17" y="73"/>
                  </a:cubicBezTo>
                  <a:cubicBezTo>
                    <a:pt x="16" y="70"/>
                    <a:pt x="16" y="70"/>
                    <a:pt x="19" y="64"/>
                  </a:cubicBezTo>
                  <a:cubicBezTo>
                    <a:pt x="21" y="58"/>
                    <a:pt x="19" y="54"/>
                    <a:pt x="21" y="45"/>
                  </a:cubicBezTo>
                  <a:cubicBezTo>
                    <a:pt x="24" y="36"/>
                    <a:pt x="27" y="0"/>
                    <a:pt x="18" y="0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06">
              <a:extLst>
                <a:ext uri="{FF2B5EF4-FFF2-40B4-BE49-F238E27FC236}">
                  <a16:creationId xmlns:a16="http://schemas.microsoft.com/office/drawing/2014/main" id="{CA378B89-2F66-4E35-81CC-11D8D697B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2" y="968"/>
              <a:ext cx="41" cy="89"/>
            </a:xfrm>
            <a:custGeom>
              <a:avLst/>
              <a:gdLst>
                <a:gd name="T0" fmla="*/ 11 w 17"/>
                <a:gd name="T1" fmla="*/ 36 h 37"/>
                <a:gd name="T2" fmla="*/ 13 w 17"/>
                <a:gd name="T3" fmla="*/ 27 h 37"/>
                <a:gd name="T4" fmla="*/ 15 w 17"/>
                <a:gd name="T5" fmla="*/ 18 h 37"/>
                <a:gd name="T6" fmla="*/ 17 w 17"/>
                <a:gd name="T7" fmla="*/ 0 h 37"/>
                <a:gd name="T8" fmla="*/ 17 w 17"/>
                <a:gd name="T9" fmla="*/ 0 h 37"/>
                <a:gd name="T10" fmla="*/ 7 w 17"/>
                <a:gd name="T11" fmla="*/ 9 h 37"/>
                <a:gd name="T12" fmla="*/ 11 w 17"/>
                <a:gd name="T13" fmla="*/ 12 h 37"/>
                <a:gd name="T14" fmla="*/ 13 w 17"/>
                <a:gd name="T15" fmla="*/ 15 h 37"/>
                <a:gd name="T16" fmla="*/ 11 w 17"/>
                <a:gd name="T17" fmla="*/ 18 h 37"/>
                <a:gd name="T18" fmla="*/ 10 w 17"/>
                <a:gd name="T19" fmla="*/ 29 h 37"/>
                <a:gd name="T20" fmla="*/ 4 w 17"/>
                <a:gd name="T21" fmla="*/ 36 h 37"/>
                <a:gd name="T22" fmla="*/ 11 w 17"/>
                <a:gd name="T23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37">
                  <a:moveTo>
                    <a:pt x="11" y="36"/>
                  </a:moveTo>
                  <a:cubicBezTo>
                    <a:pt x="12" y="34"/>
                    <a:pt x="13" y="30"/>
                    <a:pt x="13" y="27"/>
                  </a:cubicBezTo>
                  <a:cubicBezTo>
                    <a:pt x="12" y="24"/>
                    <a:pt x="12" y="24"/>
                    <a:pt x="15" y="18"/>
                  </a:cubicBezTo>
                  <a:cubicBezTo>
                    <a:pt x="17" y="12"/>
                    <a:pt x="15" y="8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4" y="6"/>
                    <a:pt x="9" y="9"/>
                    <a:pt x="7" y="9"/>
                  </a:cubicBezTo>
                  <a:cubicBezTo>
                    <a:pt x="4" y="10"/>
                    <a:pt x="6" y="13"/>
                    <a:pt x="11" y="12"/>
                  </a:cubicBezTo>
                  <a:cubicBezTo>
                    <a:pt x="15" y="12"/>
                    <a:pt x="15" y="15"/>
                    <a:pt x="13" y="15"/>
                  </a:cubicBezTo>
                  <a:cubicBezTo>
                    <a:pt x="10" y="15"/>
                    <a:pt x="8" y="18"/>
                    <a:pt x="11" y="18"/>
                  </a:cubicBezTo>
                  <a:cubicBezTo>
                    <a:pt x="13" y="19"/>
                    <a:pt x="14" y="25"/>
                    <a:pt x="10" y="29"/>
                  </a:cubicBezTo>
                  <a:cubicBezTo>
                    <a:pt x="5" y="33"/>
                    <a:pt x="0" y="37"/>
                    <a:pt x="4" y="36"/>
                  </a:cubicBezTo>
                  <a:cubicBezTo>
                    <a:pt x="7" y="35"/>
                    <a:pt x="9" y="35"/>
                    <a:pt x="11" y="36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07">
              <a:extLst>
                <a:ext uri="{FF2B5EF4-FFF2-40B4-BE49-F238E27FC236}">
                  <a16:creationId xmlns:a16="http://schemas.microsoft.com/office/drawing/2014/main" id="{5A0F5B82-A577-4F96-B7C8-8A4C41EB1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872"/>
              <a:ext cx="26" cy="96"/>
            </a:xfrm>
            <a:custGeom>
              <a:avLst/>
              <a:gdLst>
                <a:gd name="T0" fmla="*/ 11 w 11"/>
                <a:gd name="T1" fmla="*/ 40 h 40"/>
                <a:gd name="T2" fmla="*/ 3 w 11"/>
                <a:gd name="T3" fmla="*/ 8 h 40"/>
                <a:gd name="T4" fmla="*/ 5 w 11"/>
                <a:gd name="T5" fmla="*/ 9 h 40"/>
                <a:gd name="T6" fmla="*/ 11 w 11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40">
                  <a:moveTo>
                    <a:pt x="11" y="40"/>
                  </a:moveTo>
                  <a:cubicBezTo>
                    <a:pt x="9" y="32"/>
                    <a:pt x="5" y="14"/>
                    <a:pt x="3" y="8"/>
                  </a:cubicBezTo>
                  <a:cubicBezTo>
                    <a:pt x="0" y="2"/>
                    <a:pt x="3" y="0"/>
                    <a:pt x="5" y="9"/>
                  </a:cubicBezTo>
                  <a:cubicBezTo>
                    <a:pt x="7" y="18"/>
                    <a:pt x="11" y="25"/>
                    <a:pt x="11" y="40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08">
              <a:extLst>
                <a:ext uri="{FF2B5EF4-FFF2-40B4-BE49-F238E27FC236}">
                  <a16:creationId xmlns:a16="http://schemas.microsoft.com/office/drawing/2014/main" id="{67DB7DE9-7C2D-43C7-88FB-13F866F05B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" y="872"/>
              <a:ext cx="12" cy="84"/>
            </a:xfrm>
            <a:custGeom>
              <a:avLst/>
              <a:gdLst>
                <a:gd name="T0" fmla="*/ 2 w 5"/>
                <a:gd name="T1" fmla="*/ 35 h 35"/>
                <a:gd name="T2" fmla="*/ 4 w 5"/>
                <a:gd name="T3" fmla="*/ 7 h 35"/>
                <a:gd name="T4" fmla="*/ 2 w 5"/>
                <a:gd name="T5" fmla="*/ 8 h 35"/>
                <a:gd name="T6" fmla="*/ 2 w 5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5">
                  <a:moveTo>
                    <a:pt x="2" y="35"/>
                  </a:moveTo>
                  <a:cubicBezTo>
                    <a:pt x="2" y="29"/>
                    <a:pt x="3" y="13"/>
                    <a:pt x="4" y="7"/>
                  </a:cubicBezTo>
                  <a:cubicBezTo>
                    <a:pt x="5" y="1"/>
                    <a:pt x="2" y="0"/>
                    <a:pt x="2" y="8"/>
                  </a:cubicBezTo>
                  <a:cubicBezTo>
                    <a:pt x="2" y="16"/>
                    <a:pt x="0" y="23"/>
                    <a:pt x="2" y="35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09">
              <a:extLst>
                <a:ext uri="{FF2B5EF4-FFF2-40B4-BE49-F238E27FC236}">
                  <a16:creationId xmlns:a16="http://schemas.microsoft.com/office/drawing/2014/main" id="{20C366B0-A025-4D71-8E66-44CC46629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3" y="711"/>
              <a:ext cx="50" cy="67"/>
            </a:xfrm>
            <a:custGeom>
              <a:avLst/>
              <a:gdLst>
                <a:gd name="T0" fmla="*/ 21 w 21"/>
                <a:gd name="T1" fmla="*/ 15 h 28"/>
                <a:gd name="T2" fmla="*/ 7 w 21"/>
                <a:gd name="T3" fmla="*/ 28 h 28"/>
                <a:gd name="T4" fmla="*/ 21 w 21"/>
                <a:gd name="T5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28">
                  <a:moveTo>
                    <a:pt x="21" y="15"/>
                  </a:moveTo>
                  <a:cubicBezTo>
                    <a:pt x="11" y="16"/>
                    <a:pt x="7" y="21"/>
                    <a:pt x="7" y="28"/>
                  </a:cubicBezTo>
                  <a:cubicBezTo>
                    <a:pt x="0" y="20"/>
                    <a:pt x="4" y="0"/>
                    <a:pt x="21" y="15"/>
                  </a:cubicBezTo>
                  <a:close/>
                </a:path>
              </a:pathLst>
            </a:custGeom>
            <a:solidFill>
              <a:srgbClr val="AA7A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10">
              <a:extLst>
                <a:ext uri="{FF2B5EF4-FFF2-40B4-BE49-F238E27FC236}">
                  <a16:creationId xmlns:a16="http://schemas.microsoft.com/office/drawing/2014/main" id="{0C6DC8D4-3AA9-4350-B232-B04925B19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" y="1129"/>
              <a:ext cx="12" cy="10"/>
            </a:xfrm>
            <a:custGeom>
              <a:avLst/>
              <a:gdLst>
                <a:gd name="T0" fmla="*/ 5 w 5"/>
                <a:gd name="T1" fmla="*/ 4 h 4"/>
                <a:gd name="T2" fmla="*/ 5 w 5"/>
                <a:gd name="T3" fmla="*/ 4 h 4"/>
                <a:gd name="T4" fmla="*/ 4 w 5"/>
                <a:gd name="T5" fmla="*/ 2 h 4"/>
                <a:gd name="T6" fmla="*/ 0 w 5"/>
                <a:gd name="T7" fmla="*/ 0 h 4"/>
                <a:gd name="T8" fmla="*/ 0 w 5"/>
                <a:gd name="T9" fmla="*/ 2 h 4"/>
                <a:gd name="T10" fmla="*/ 5 w 5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2"/>
                    <a:pt x="4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5" y="4"/>
                  </a:ln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11">
              <a:extLst>
                <a:ext uri="{FF2B5EF4-FFF2-40B4-BE49-F238E27FC236}">
                  <a16:creationId xmlns:a16="http://schemas.microsoft.com/office/drawing/2014/main" id="{76F8A2A7-8DF9-43DD-9395-E6A9854CA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" y="1132"/>
              <a:ext cx="15" cy="9"/>
            </a:xfrm>
            <a:custGeom>
              <a:avLst/>
              <a:gdLst>
                <a:gd name="T0" fmla="*/ 6 w 6"/>
                <a:gd name="T1" fmla="*/ 2 h 4"/>
                <a:gd name="T2" fmla="*/ 2 w 6"/>
                <a:gd name="T3" fmla="*/ 0 h 4"/>
                <a:gd name="T4" fmla="*/ 0 w 6"/>
                <a:gd name="T5" fmla="*/ 0 h 4"/>
                <a:gd name="T6" fmla="*/ 0 w 6"/>
                <a:gd name="T7" fmla="*/ 1 h 4"/>
                <a:gd name="T8" fmla="*/ 6 w 6"/>
                <a:gd name="T9" fmla="*/ 4 h 4"/>
                <a:gd name="T10" fmla="*/ 6 w 6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6" y="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4"/>
                    <a:pt x="6" y="4"/>
                    <a:pt x="6" y="4"/>
                  </a:cubicBezTo>
                  <a:lnTo>
                    <a:pt x="6" y="2"/>
                  </a:lnTo>
                  <a:close/>
                </a:path>
              </a:pathLst>
            </a:custGeom>
            <a:solidFill>
              <a:srgbClr val="9A5B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12">
              <a:extLst>
                <a:ext uri="{FF2B5EF4-FFF2-40B4-BE49-F238E27FC236}">
                  <a16:creationId xmlns:a16="http://schemas.microsoft.com/office/drawing/2014/main" id="{059187A3-8CBB-4AF5-91D9-2970F4EF0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" y="807"/>
              <a:ext cx="45" cy="77"/>
            </a:xfrm>
            <a:custGeom>
              <a:avLst/>
              <a:gdLst>
                <a:gd name="T0" fmla="*/ 19 w 19"/>
                <a:gd name="T1" fmla="*/ 10 h 32"/>
                <a:gd name="T2" fmla="*/ 18 w 19"/>
                <a:gd name="T3" fmla="*/ 26 h 32"/>
                <a:gd name="T4" fmla="*/ 1 w 19"/>
                <a:gd name="T5" fmla="*/ 25 h 32"/>
                <a:gd name="T6" fmla="*/ 0 w 19"/>
                <a:gd name="T7" fmla="*/ 6 h 32"/>
                <a:gd name="T8" fmla="*/ 19 w 19"/>
                <a:gd name="T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2">
                  <a:moveTo>
                    <a:pt x="19" y="10"/>
                  </a:moveTo>
                  <a:cubicBezTo>
                    <a:pt x="18" y="14"/>
                    <a:pt x="17" y="22"/>
                    <a:pt x="18" y="26"/>
                  </a:cubicBezTo>
                  <a:cubicBezTo>
                    <a:pt x="18" y="29"/>
                    <a:pt x="0" y="32"/>
                    <a:pt x="1" y="25"/>
                  </a:cubicBezTo>
                  <a:cubicBezTo>
                    <a:pt x="1" y="17"/>
                    <a:pt x="1" y="12"/>
                    <a:pt x="0" y="6"/>
                  </a:cubicBezTo>
                  <a:cubicBezTo>
                    <a:pt x="0" y="0"/>
                    <a:pt x="18" y="2"/>
                    <a:pt x="19" y="10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3">
              <a:extLst>
                <a:ext uri="{FF2B5EF4-FFF2-40B4-BE49-F238E27FC236}">
                  <a16:creationId xmlns:a16="http://schemas.microsoft.com/office/drawing/2014/main" id="{3D5B9B0E-327D-4321-8DDA-887E74D57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" y="1007"/>
              <a:ext cx="34" cy="96"/>
            </a:xfrm>
            <a:custGeom>
              <a:avLst/>
              <a:gdLst>
                <a:gd name="T0" fmla="*/ 13 w 14"/>
                <a:gd name="T1" fmla="*/ 16 h 40"/>
                <a:gd name="T2" fmla="*/ 11 w 14"/>
                <a:gd name="T3" fmla="*/ 29 h 40"/>
                <a:gd name="T4" fmla="*/ 9 w 14"/>
                <a:gd name="T5" fmla="*/ 31 h 40"/>
                <a:gd name="T6" fmla="*/ 5 w 14"/>
                <a:gd name="T7" fmla="*/ 31 h 40"/>
                <a:gd name="T8" fmla="*/ 8 w 14"/>
                <a:gd name="T9" fmla="*/ 36 h 40"/>
                <a:gd name="T10" fmla="*/ 7 w 14"/>
                <a:gd name="T11" fmla="*/ 38 h 40"/>
                <a:gd name="T12" fmla="*/ 1 w 14"/>
                <a:gd name="T13" fmla="*/ 33 h 40"/>
                <a:gd name="T14" fmla="*/ 5 w 14"/>
                <a:gd name="T15" fmla="*/ 12 h 40"/>
                <a:gd name="T16" fmla="*/ 13 w 14"/>
                <a:gd name="T17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40">
                  <a:moveTo>
                    <a:pt x="13" y="16"/>
                  </a:moveTo>
                  <a:cubicBezTo>
                    <a:pt x="11" y="20"/>
                    <a:pt x="10" y="25"/>
                    <a:pt x="11" y="29"/>
                  </a:cubicBezTo>
                  <a:cubicBezTo>
                    <a:pt x="12" y="33"/>
                    <a:pt x="10" y="33"/>
                    <a:pt x="9" y="31"/>
                  </a:cubicBezTo>
                  <a:cubicBezTo>
                    <a:pt x="8" y="28"/>
                    <a:pt x="5" y="29"/>
                    <a:pt x="5" y="31"/>
                  </a:cubicBezTo>
                  <a:cubicBezTo>
                    <a:pt x="4" y="33"/>
                    <a:pt x="6" y="35"/>
                    <a:pt x="8" y="36"/>
                  </a:cubicBezTo>
                  <a:cubicBezTo>
                    <a:pt x="10" y="37"/>
                    <a:pt x="10" y="40"/>
                    <a:pt x="7" y="38"/>
                  </a:cubicBezTo>
                  <a:cubicBezTo>
                    <a:pt x="3" y="37"/>
                    <a:pt x="2" y="38"/>
                    <a:pt x="1" y="33"/>
                  </a:cubicBezTo>
                  <a:cubicBezTo>
                    <a:pt x="0" y="28"/>
                    <a:pt x="4" y="23"/>
                    <a:pt x="5" y="12"/>
                  </a:cubicBezTo>
                  <a:cubicBezTo>
                    <a:pt x="6" y="0"/>
                    <a:pt x="14" y="11"/>
                    <a:pt x="13" y="16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4">
              <a:extLst>
                <a:ext uri="{FF2B5EF4-FFF2-40B4-BE49-F238E27FC236}">
                  <a16:creationId xmlns:a16="http://schemas.microsoft.com/office/drawing/2014/main" id="{BED2B70B-58CF-4DE9-AD07-D9BB76E8D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6" y="1079"/>
              <a:ext cx="31" cy="96"/>
            </a:xfrm>
            <a:custGeom>
              <a:avLst/>
              <a:gdLst>
                <a:gd name="T0" fmla="*/ 2 w 13"/>
                <a:gd name="T1" fmla="*/ 0 h 40"/>
                <a:gd name="T2" fmla="*/ 9 w 13"/>
                <a:gd name="T3" fmla="*/ 0 h 40"/>
                <a:gd name="T4" fmla="*/ 12 w 13"/>
                <a:gd name="T5" fmla="*/ 3 h 40"/>
                <a:gd name="T6" fmla="*/ 13 w 13"/>
                <a:gd name="T7" fmla="*/ 37 h 40"/>
                <a:gd name="T8" fmla="*/ 11 w 13"/>
                <a:gd name="T9" fmla="*/ 40 h 40"/>
                <a:gd name="T10" fmla="*/ 4 w 13"/>
                <a:gd name="T11" fmla="*/ 40 h 40"/>
                <a:gd name="T12" fmla="*/ 1 w 13"/>
                <a:gd name="T13" fmla="*/ 37 h 40"/>
                <a:gd name="T14" fmla="*/ 0 w 13"/>
                <a:gd name="T15" fmla="*/ 3 h 40"/>
                <a:gd name="T16" fmla="*/ 2 w 13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40">
                  <a:moveTo>
                    <a:pt x="2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1"/>
                    <a:pt x="12" y="3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8"/>
                    <a:pt x="12" y="40"/>
                    <a:pt x="11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3" y="40"/>
                    <a:pt x="1" y="39"/>
                    <a:pt x="1" y="3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5">
              <a:extLst>
                <a:ext uri="{FF2B5EF4-FFF2-40B4-BE49-F238E27FC236}">
                  <a16:creationId xmlns:a16="http://schemas.microsoft.com/office/drawing/2014/main" id="{27336201-A5BD-4A9E-9F5B-DF8D836C4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1" y="1079"/>
              <a:ext cx="96" cy="130"/>
            </a:xfrm>
            <a:custGeom>
              <a:avLst/>
              <a:gdLst>
                <a:gd name="T0" fmla="*/ 0 w 40"/>
                <a:gd name="T1" fmla="*/ 15 h 54"/>
                <a:gd name="T2" fmla="*/ 29 w 40"/>
                <a:gd name="T3" fmla="*/ 0 h 54"/>
                <a:gd name="T4" fmla="*/ 38 w 40"/>
                <a:gd name="T5" fmla="*/ 9 h 54"/>
                <a:gd name="T6" fmla="*/ 40 w 40"/>
                <a:gd name="T7" fmla="*/ 39 h 54"/>
                <a:gd name="T8" fmla="*/ 11 w 40"/>
                <a:gd name="T9" fmla="*/ 54 h 54"/>
                <a:gd name="T10" fmla="*/ 0 w 40"/>
                <a:gd name="T11" fmla="*/ 1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4">
                  <a:moveTo>
                    <a:pt x="0" y="15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4" y="36"/>
                    <a:pt x="0" y="15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16">
              <a:extLst>
                <a:ext uri="{FF2B5EF4-FFF2-40B4-BE49-F238E27FC236}">
                  <a16:creationId xmlns:a16="http://schemas.microsoft.com/office/drawing/2014/main" id="{70CACA0A-ACDD-49BE-BF9E-4BC62F1B0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8" y="1113"/>
              <a:ext cx="34" cy="98"/>
            </a:xfrm>
            <a:custGeom>
              <a:avLst/>
              <a:gdLst>
                <a:gd name="T0" fmla="*/ 2 w 14"/>
                <a:gd name="T1" fmla="*/ 0 h 41"/>
                <a:gd name="T2" fmla="*/ 9 w 14"/>
                <a:gd name="T3" fmla="*/ 0 h 41"/>
                <a:gd name="T4" fmla="*/ 12 w 14"/>
                <a:gd name="T5" fmla="*/ 2 h 41"/>
                <a:gd name="T6" fmla="*/ 14 w 14"/>
                <a:gd name="T7" fmla="*/ 38 h 41"/>
                <a:gd name="T8" fmla="*/ 11 w 14"/>
                <a:gd name="T9" fmla="*/ 41 h 41"/>
                <a:gd name="T10" fmla="*/ 4 w 14"/>
                <a:gd name="T11" fmla="*/ 41 h 41"/>
                <a:gd name="T12" fmla="*/ 1 w 14"/>
                <a:gd name="T13" fmla="*/ 38 h 41"/>
                <a:gd name="T14" fmla="*/ 0 w 14"/>
                <a:gd name="T15" fmla="*/ 3 h 41"/>
                <a:gd name="T16" fmla="*/ 2 w 14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41">
                  <a:moveTo>
                    <a:pt x="2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9"/>
                    <a:pt x="13" y="41"/>
                    <a:pt x="11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1"/>
                    <a:pt x="1" y="40"/>
                    <a:pt x="1" y="3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17">
              <a:extLst>
                <a:ext uri="{FF2B5EF4-FFF2-40B4-BE49-F238E27FC236}">
                  <a16:creationId xmlns:a16="http://schemas.microsoft.com/office/drawing/2014/main" id="{A4274512-D88F-4435-B37F-EA1C6EDAF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1" y="1115"/>
              <a:ext cx="26" cy="94"/>
            </a:xfrm>
            <a:custGeom>
              <a:avLst/>
              <a:gdLst>
                <a:gd name="T0" fmla="*/ 2 w 11"/>
                <a:gd name="T1" fmla="*/ 1 h 39"/>
                <a:gd name="T2" fmla="*/ 8 w 11"/>
                <a:gd name="T3" fmla="*/ 0 h 39"/>
                <a:gd name="T4" fmla="*/ 9 w 11"/>
                <a:gd name="T5" fmla="*/ 2 h 39"/>
                <a:gd name="T6" fmla="*/ 11 w 11"/>
                <a:gd name="T7" fmla="*/ 37 h 39"/>
                <a:gd name="T8" fmla="*/ 10 w 11"/>
                <a:gd name="T9" fmla="*/ 38 h 39"/>
                <a:gd name="T10" fmla="*/ 3 w 11"/>
                <a:gd name="T11" fmla="*/ 39 h 39"/>
                <a:gd name="T12" fmla="*/ 2 w 11"/>
                <a:gd name="T13" fmla="*/ 37 h 39"/>
                <a:gd name="T14" fmla="*/ 0 w 11"/>
                <a:gd name="T15" fmla="*/ 2 h 39"/>
                <a:gd name="T16" fmla="*/ 2 w 11"/>
                <a:gd name="T17" fmla="*/ 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9">
                  <a:moveTo>
                    <a:pt x="2" y="1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1"/>
                    <a:pt x="9" y="2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8"/>
                    <a:pt x="11" y="38"/>
                    <a:pt x="10" y="38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2" y="38"/>
                    <a:pt x="2" y="3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2" y="1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18">
              <a:extLst>
                <a:ext uri="{FF2B5EF4-FFF2-40B4-BE49-F238E27FC236}">
                  <a16:creationId xmlns:a16="http://schemas.microsoft.com/office/drawing/2014/main" id="{E6F3B606-0A54-4BAF-BA78-64757A825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9" y="1072"/>
              <a:ext cx="29" cy="19"/>
            </a:xfrm>
            <a:custGeom>
              <a:avLst/>
              <a:gdLst>
                <a:gd name="T0" fmla="*/ 9 w 12"/>
                <a:gd name="T1" fmla="*/ 6 h 8"/>
                <a:gd name="T2" fmla="*/ 11 w 12"/>
                <a:gd name="T3" fmla="*/ 7 h 8"/>
                <a:gd name="T4" fmla="*/ 12 w 12"/>
                <a:gd name="T5" fmla="*/ 5 h 8"/>
                <a:gd name="T6" fmla="*/ 12 w 12"/>
                <a:gd name="T7" fmla="*/ 3 h 8"/>
                <a:gd name="T8" fmla="*/ 10 w 12"/>
                <a:gd name="T9" fmla="*/ 0 h 8"/>
                <a:gd name="T10" fmla="*/ 8 w 12"/>
                <a:gd name="T11" fmla="*/ 1 h 8"/>
                <a:gd name="T12" fmla="*/ 8 w 12"/>
                <a:gd name="T13" fmla="*/ 1 h 8"/>
                <a:gd name="T14" fmla="*/ 1 w 12"/>
                <a:gd name="T15" fmla="*/ 4 h 8"/>
                <a:gd name="T16" fmla="*/ 1 w 12"/>
                <a:gd name="T17" fmla="*/ 7 h 8"/>
                <a:gd name="T18" fmla="*/ 3 w 12"/>
                <a:gd name="T19" fmla="*/ 7 h 8"/>
                <a:gd name="T20" fmla="*/ 9 w 12"/>
                <a:gd name="T21" fmla="*/ 4 h 8"/>
                <a:gd name="T22" fmla="*/ 9 w 12"/>
                <a:gd name="T2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8">
                  <a:moveTo>
                    <a:pt x="9" y="6"/>
                  </a:moveTo>
                  <a:cubicBezTo>
                    <a:pt x="9" y="6"/>
                    <a:pt x="10" y="7"/>
                    <a:pt x="11" y="7"/>
                  </a:cubicBezTo>
                  <a:cubicBezTo>
                    <a:pt x="12" y="7"/>
                    <a:pt x="12" y="6"/>
                    <a:pt x="12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1" y="0"/>
                    <a:pt x="10" y="0"/>
                  </a:cubicBezTo>
                  <a:cubicBezTo>
                    <a:pt x="9" y="0"/>
                    <a:pt x="9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0" y="6"/>
                    <a:pt x="1" y="7"/>
                  </a:cubicBezTo>
                  <a:cubicBezTo>
                    <a:pt x="1" y="7"/>
                    <a:pt x="2" y="8"/>
                    <a:pt x="3" y="7"/>
                  </a:cubicBezTo>
                  <a:cubicBezTo>
                    <a:pt x="9" y="4"/>
                    <a:pt x="9" y="4"/>
                    <a:pt x="9" y="4"/>
                  </a:cubicBezTo>
                  <a:lnTo>
                    <a:pt x="9" y="6"/>
                  </a:ln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19">
              <a:extLst>
                <a:ext uri="{FF2B5EF4-FFF2-40B4-BE49-F238E27FC236}">
                  <a16:creationId xmlns:a16="http://schemas.microsoft.com/office/drawing/2014/main" id="{3B361BF7-5CFF-4120-9B0C-A2C7A2F7A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1079"/>
              <a:ext cx="24" cy="26"/>
            </a:xfrm>
            <a:custGeom>
              <a:avLst/>
              <a:gdLst>
                <a:gd name="T0" fmla="*/ 1 w 10"/>
                <a:gd name="T1" fmla="*/ 9 h 11"/>
                <a:gd name="T2" fmla="*/ 2 w 10"/>
                <a:gd name="T3" fmla="*/ 11 h 11"/>
                <a:gd name="T4" fmla="*/ 4 w 10"/>
                <a:gd name="T5" fmla="*/ 9 h 11"/>
                <a:gd name="T6" fmla="*/ 4 w 10"/>
                <a:gd name="T7" fmla="*/ 7 h 11"/>
                <a:gd name="T8" fmla="*/ 5 w 10"/>
                <a:gd name="T9" fmla="*/ 5 h 11"/>
                <a:gd name="T10" fmla="*/ 9 w 10"/>
                <a:gd name="T11" fmla="*/ 3 h 11"/>
                <a:gd name="T12" fmla="*/ 10 w 10"/>
                <a:gd name="T13" fmla="*/ 1 h 11"/>
                <a:gd name="T14" fmla="*/ 8 w 10"/>
                <a:gd name="T15" fmla="*/ 0 h 11"/>
                <a:gd name="T16" fmla="*/ 3 w 10"/>
                <a:gd name="T17" fmla="*/ 3 h 11"/>
                <a:gd name="T18" fmla="*/ 3 w 10"/>
                <a:gd name="T19" fmla="*/ 3 h 11"/>
                <a:gd name="T20" fmla="*/ 1 w 10"/>
                <a:gd name="T21" fmla="*/ 7 h 11"/>
                <a:gd name="T22" fmla="*/ 1 w 10"/>
                <a:gd name="T23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1">
                  <a:moveTo>
                    <a:pt x="1" y="9"/>
                  </a:moveTo>
                  <a:cubicBezTo>
                    <a:pt x="1" y="10"/>
                    <a:pt x="1" y="11"/>
                    <a:pt x="2" y="11"/>
                  </a:cubicBezTo>
                  <a:cubicBezTo>
                    <a:pt x="3" y="11"/>
                    <a:pt x="4" y="10"/>
                    <a:pt x="4" y="9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6"/>
                    <a:pt x="4" y="6"/>
                    <a:pt x="5" y="5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2"/>
                    <a:pt x="10" y="1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0" y="4"/>
                    <a:pt x="1" y="7"/>
                  </a:cubicBezTo>
                  <a:lnTo>
                    <a:pt x="1" y="9"/>
                  </a:lnTo>
                  <a:close/>
                </a:path>
              </a:pathLst>
            </a:cu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20">
              <a:extLst>
                <a:ext uri="{FF2B5EF4-FFF2-40B4-BE49-F238E27FC236}">
                  <a16:creationId xmlns:a16="http://schemas.microsoft.com/office/drawing/2014/main" id="{13E0C700-6594-4EFB-96B5-FD2B6BC92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1320"/>
              <a:ext cx="79" cy="77"/>
            </a:xfrm>
            <a:custGeom>
              <a:avLst/>
              <a:gdLst>
                <a:gd name="T0" fmla="*/ 31 w 33"/>
                <a:gd name="T1" fmla="*/ 17 h 32"/>
                <a:gd name="T2" fmla="*/ 28 w 33"/>
                <a:gd name="T3" fmla="*/ 27 h 32"/>
                <a:gd name="T4" fmla="*/ 24 w 33"/>
                <a:gd name="T5" fmla="*/ 31 h 32"/>
                <a:gd name="T6" fmla="*/ 20 w 33"/>
                <a:gd name="T7" fmla="*/ 29 h 32"/>
                <a:gd name="T8" fmla="*/ 11 w 33"/>
                <a:gd name="T9" fmla="*/ 27 h 32"/>
                <a:gd name="T10" fmla="*/ 1 w 33"/>
                <a:gd name="T11" fmla="*/ 19 h 32"/>
                <a:gd name="T12" fmla="*/ 23 w 33"/>
                <a:gd name="T13" fmla="*/ 11 h 32"/>
                <a:gd name="T14" fmla="*/ 31 w 33"/>
                <a:gd name="T15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2">
                  <a:moveTo>
                    <a:pt x="31" y="17"/>
                  </a:moveTo>
                  <a:cubicBezTo>
                    <a:pt x="31" y="22"/>
                    <a:pt x="30" y="25"/>
                    <a:pt x="28" y="27"/>
                  </a:cubicBezTo>
                  <a:cubicBezTo>
                    <a:pt x="27" y="30"/>
                    <a:pt x="25" y="32"/>
                    <a:pt x="24" y="31"/>
                  </a:cubicBezTo>
                  <a:cubicBezTo>
                    <a:pt x="22" y="31"/>
                    <a:pt x="20" y="29"/>
                    <a:pt x="20" y="29"/>
                  </a:cubicBezTo>
                  <a:cubicBezTo>
                    <a:pt x="20" y="29"/>
                    <a:pt x="16" y="29"/>
                    <a:pt x="11" y="27"/>
                  </a:cubicBezTo>
                  <a:cubicBezTo>
                    <a:pt x="7" y="25"/>
                    <a:pt x="0" y="22"/>
                    <a:pt x="1" y="19"/>
                  </a:cubicBezTo>
                  <a:cubicBezTo>
                    <a:pt x="2" y="14"/>
                    <a:pt x="16" y="21"/>
                    <a:pt x="23" y="11"/>
                  </a:cubicBezTo>
                  <a:cubicBezTo>
                    <a:pt x="31" y="0"/>
                    <a:pt x="33" y="8"/>
                    <a:pt x="31" y="17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21">
              <a:extLst>
                <a:ext uri="{FF2B5EF4-FFF2-40B4-BE49-F238E27FC236}">
                  <a16:creationId xmlns:a16="http://schemas.microsoft.com/office/drawing/2014/main" id="{D750C494-6825-4956-AD63-A92B6B7FA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" y="1324"/>
              <a:ext cx="84" cy="56"/>
            </a:xfrm>
            <a:custGeom>
              <a:avLst/>
              <a:gdLst>
                <a:gd name="T0" fmla="*/ 33 w 35"/>
                <a:gd name="T1" fmla="*/ 5 h 23"/>
                <a:gd name="T2" fmla="*/ 35 w 35"/>
                <a:gd name="T3" fmla="*/ 14 h 23"/>
                <a:gd name="T4" fmla="*/ 28 w 35"/>
                <a:gd name="T5" fmla="*/ 16 h 23"/>
                <a:gd name="T6" fmla="*/ 23 w 35"/>
                <a:gd name="T7" fmla="*/ 16 h 23"/>
                <a:gd name="T8" fmla="*/ 12 w 35"/>
                <a:gd name="T9" fmla="*/ 21 h 23"/>
                <a:gd name="T10" fmla="*/ 0 w 35"/>
                <a:gd name="T11" fmla="*/ 20 h 23"/>
                <a:gd name="T12" fmla="*/ 11 w 35"/>
                <a:gd name="T13" fmla="*/ 13 h 23"/>
                <a:gd name="T14" fmla="*/ 15 w 35"/>
                <a:gd name="T15" fmla="*/ 4 h 23"/>
                <a:gd name="T16" fmla="*/ 33 w 35"/>
                <a:gd name="T1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23">
                  <a:moveTo>
                    <a:pt x="33" y="5"/>
                  </a:moveTo>
                  <a:cubicBezTo>
                    <a:pt x="34" y="8"/>
                    <a:pt x="35" y="12"/>
                    <a:pt x="35" y="14"/>
                  </a:cubicBezTo>
                  <a:cubicBezTo>
                    <a:pt x="34" y="15"/>
                    <a:pt x="31" y="16"/>
                    <a:pt x="28" y="16"/>
                  </a:cubicBezTo>
                  <a:cubicBezTo>
                    <a:pt x="26" y="16"/>
                    <a:pt x="26" y="13"/>
                    <a:pt x="23" y="16"/>
                  </a:cubicBezTo>
                  <a:cubicBezTo>
                    <a:pt x="21" y="19"/>
                    <a:pt x="17" y="21"/>
                    <a:pt x="12" y="21"/>
                  </a:cubicBezTo>
                  <a:cubicBezTo>
                    <a:pt x="7" y="22"/>
                    <a:pt x="0" y="23"/>
                    <a:pt x="0" y="20"/>
                  </a:cubicBezTo>
                  <a:cubicBezTo>
                    <a:pt x="0" y="15"/>
                    <a:pt x="7" y="15"/>
                    <a:pt x="11" y="13"/>
                  </a:cubicBezTo>
                  <a:cubicBezTo>
                    <a:pt x="15" y="10"/>
                    <a:pt x="15" y="7"/>
                    <a:pt x="15" y="4"/>
                  </a:cubicBezTo>
                  <a:cubicBezTo>
                    <a:pt x="16" y="0"/>
                    <a:pt x="30" y="2"/>
                    <a:pt x="33" y="5"/>
                  </a:cubicBezTo>
                  <a:close/>
                </a:path>
              </a:pathLst>
            </a:custGeom>
            <a:solidFill>
              <a:srgbClr val="1F34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22">
              <a:extLst>
                <a:ext uri="{FF2B5EF4-FFF2-40B4-BE49-F238E27FC236}">
                  <a16:creationId xmlns:a16="http://schemas.microsoft.com/office/drawing/2014/main" id="{EC69BE7C-B310-4E21-835D-9611580D1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0" y="855"/>
              <a:ext cx="96" cy="197"/>
            </a:xfrm>
            <a:custGeom>
              <a:avLst/>
              <a:gdLst>
                <a:gd name="T0" fmla="*/ 39 w 40"/>
                <a:gd name="T1" fmla="*/ 1 h 82"/>
                <a:gd name="T2" fmla="*/ 40 w 40"/>
                <a:gd name="T3" fmla="*/ 77 h 82"/>
                <a:gd name="T4" fmla="*/ 2 w 40"/>
                <a:gd name="T5" fmla="*/ 82 h 82"/>
                <a:gd name="T6" fmla="*/ 0 w 40"/>
                <a:gd name="T7" fmla="*/ 8 h 82"/>
                <a:gd name="T8" fmla="*/ 16 w 40"/>
                <a:gd name="T9" fmla="*/ 0 h 82"/>
                <a:gd name="T10" fmla="*/ 39 w 40"/>
                <a:gd name="T11" fmla="*/ 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82">
                  <a:moveTo>
                    <a:pt x="39" y="1"/>
                  </a:moveTo>
                  <a:cubicBezTo>
                    <a:pt x="40" y="77"/>
                    <a:pt x="40" y="77"/>
                    <a:pt x="40" y="77"/>
                  </a:cubicBezTo>
                  <a:cubicBezTo>
                    <a:pt x="40" y="77"/>
                    <a:pt x="1" y="82"/>
                    <a:pt x="2" y="82"/>
                  </a:cubicBezTo>
                  <a:cubicBezTo>
                    <a:pt x="2" y="81"/>
                    <a:pt x="4" y="18"/>
                    <a:pt x="0" y="8"/>
                  </a:cubicBezTo>
                  <a:cubicBezTo>
                    <a:pt x="5" y="6"/>
                    <a:pt x="12" y="5"/>
                    <a:pt x="16" y="0"/>
                  </a:cubicBezTo>
                  <a:cubicBezTo>
                    <a:pt x="24" y="5"/>
                    <a:pt x="31" y="3"/>
                    <a:pt x="3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23">
              <a:extLst>
                <a:ext uri="{FF2B5EF4-FFF2-40B4-BE49-F238E27FC236}">
                  <a16:creationId xmlns:a16="http://schemas.microsoft.com/office/drawing/2014/main" id="{44F40D2B-258C-44A0-A038-1D818349D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8" y="1028"/>
              <a:ext cx="161" cy="337"/>
            </a:xfrm>
            <a:custGeom>
              <a:avLst/>
              <a:gdLst>
                <a:gd name="T0" fmla="*/ 11 w 67"/>
                <a:gd name="T1" fmla="*/ 4 h 140"/>
                <a:gd name="T2" fmla="*/ 40 w 67"/>
                <a:gd name="T3" fmla="*/ 0 h 140"/>
                <a:gd name="T4" fmla="*/ 53 w 67"/>
                <a:gd name="T5" fmla="*/ 20 h 140"/>
                <a:gd name="T6" fmla="*/ 40 w 67"/>
                <a:gd name="T7" fmla="*/ 57 h 140"/>
                <a:gd name="T8" fmla="*/ 56 w 67"/>
                <a:gd name="T9" fmla="*/ 99 h 140"/>
                <a:gd name="T10" fmla="*/ 63 w 67"/>
                <a:gd name="T11" fmla="*/ 121 h 140"/>
                <a:gd name="T12" fmla="*/ 67 w 67"/>
                <a:gd name="T13" fmla="*/ 130 h 140"/>
                <a:gd name="T14" fmla="*/ 55 w 67"/>
                <a:gd name="T15" fmla="*/ 130 h 140"/>
                <a:gd name="T16" fmla="*/ 45 w 67"/>
                <a:gd name="T17" fmla="*/ 131 h 140"/>
                <a:gd name="T18" fmla="*/ 43 w 67"/>
                <a:gd name="T19" fmla="*/ 112 h 140"/>
                <a:gd name="T20" fmla="*/ 32 w 67"/>
                <a:gd name="T21" fmla="*/ 88 h 140"/>
                <a:gd name="T22" fmla="*/ 21 w 67"/>
                <a:gd name="T23" fmla="*/ 132 h 140"/>
                <a:gd name="T24" fmla="*/ 18 w 67"/>
                <a:gd name="T25" fmla="*/ 140 h 140"/>
                <a:gd name="T26" fmla="*/ 9 w 67"/>
                <a:gd name="T27" fmla="*/ 136 h 140"/>
                <a:gd name="T28" fmla="*/ 0 w 67"/>
                <a:gd name="T29" fmla="*/ 132 h 140"/>
                <a:gd name="T30" fmla="*/ 6 w 67"/>
                <a:gd name="T31" fmla="*/ 120 h 140"/>
                <a:gd name="T32" fmla="*/ 12 w 67"/>
                <a:gd name="T33" fmla="*/ 100 h 140"/>
                <a:gd name="T34" fmla="*/ 14 w 67"/>
                <a:gd name="T35" fmla="*/ 63 h 140"/>
                <a:gd name="T36" fmla="*/ 15 w 67"/>
                <a:gd name="T37" fmla="*/ 52 h 140"/>
                <a:gd name="T38" fmla="*/ 11 w 67"/>
                <a:gd name="T39" fmla="*/ 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7" h="140">
                  <a:moveTo>
                    <a:pt x="11" y="4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55" y="14"/>
                    <a:pt x="53" y="20"/>
                  </a:cubicBezTo>
                  <a:cubicBezTo>
                    <a:pt x="51" y="27"/>
                    <a:pt x="37" y="47"/>
                    <a:pt x="40" y="57"/>
                  </a:cubicBezTo>
                  <a:cubicBezTo>
                    <a:pt x="42" y="67"/>
                    <a:pt x="54" y="89"/>
                    <a:pt x="56" y="99"/>
                  </a:cubicBezTo>
                  <a:cubicBezTo>
                    <a:pt x="58" y="108"/>
                    <a:pt x="61" y="116"/>
                    <a:pt x="63" y="121"/>
                  </a:cubicBezTo>
                  <a:cubicBezTo>
                    <a:pt x="65" y="126"/>
                    <a:pt x="67" y="130"/>
                    <a:pt x="67" y="130"/>
                  </a:cubicBezTo>
                  <a:cubicBezTo>
                    <a:pt x="67" y="130"/>
                    <a:pt x="61" y="130"/>
                    <a:pt x="55" y="130"/>
                  </a:cubicBezTo>
                  <a:cubicBezTo>
                    <a:pt x="50" y="131"/>
                    <a:pt x="44" y="133"/>
                    <a:pt x="45" y="131"/>
                  </a:cubicBezTo>
                  <a:cubicBezTo>
                    <a:pt x="45" y="130"/>
                    <a:pt x="48" y="122"/>
                    <a:pt x="43" y="112"/>
                  </a:cubicBezTo>
                  <a:cubicBezTo>
                    <a:pt x="39" y="102"/>
                    <a:pt x="32" y="88"/>
                    <a:pt x="32" y="88"/>
                  </a:cubicBezTo>
                  <a:cubicBezTo>
                    <a:pt x="32" y="88"/>
                    <a:pt x="23" y="125"/>
                    <a:pt x="21" y="132"/>
                  </a:cubicBezTo>
                  <a:cubicBezTo>
                    <a:pt x="19" y="139"/>
                    <a:pt x="18" y="140"/>
                    <a:pt x="18" y="140"/>
                  </a:cubicBezTo>
                  <a:cubicBezTo>
                    <a:pt x="18" y="140"/>
                    <a:pt x="16" y="139"/>
                    <a:pt x="9" y="136"/>
                  </a:cubicBezTo>
                  <a:cubicBezTo>
                    <a:pt x="3" y="133"/>
                    <a:pt x="0" y="132"/>
                    <a:pt x="0" y="132"/>
                  </a:cubicBezTo>
                  <a:cubicBezTo>
                    <a:pt x="0" y="132"/>
                    <a:pt x="4" y="125"/>
                    <a:pt x="6" y="120"/>
                  </a:cubicBezTo>
                  <a:cubicBezTo>
                    <a:pt x="9" y="115"/>
                    <a:pt x="12" y="110"/>
                    <a:pt x="12" y="100"/>
                  </a:cubicBezTo>
                  <a:cubicBezTo>
                    <a:pt x="13" y="89"/>
                    <a:pt x="13" y="72"/>
                    <a:pt x="14" y="63"/>
                  </a:cubicBezTo>
                  <a:cubicBezTo>
                    <a:pt x="16" y="55"/>
                    <a:pt x="15" y="53"/>
                    <a:pt x="15" y="52"/>
                  </a:cubicBezTo>
                  <a:cubicBezTo>
                    <a:pt x="15" y="52"/>
                    <a:pt x="3" y="22"/>
                    <a:pt x="11" y="4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24">
              <a:extLst>
                <a:ext uri="{FF2B5EF4-FFF2-40B4-BE49-F238E27FC236}">
                  <a16:creationId xmlns:a16="http://schemas.microsoft.com/office/drawing/2014/main" id="{BFB3A27C-D93B-41C7-B029-9992941F87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45" y="1033"/>
              <a:ext cx="65" cy="149"/>
            </a:xfrm>
            <a:custGeom>
              <a:avLst/>
              <a:gdLst>
                <a:gd name="T0" fmla="*/ 8 w 27"/>
                <a:gd name="T1" fmla="*/ 2 h 62"/>
                <a:gd name="T2" fmla="*/ 27 w 27"/>
                <a:gd name="T3" fmla="*/ 0 h 62"/>
                <a:gd name="T4" fmla="*/ 13 w 27"/>
                <a:gd name="T5" fmla="*/ 5 h 62"/>
                <a:gd name="T6" fmla="*/ 9 w 27"/>
                <a:gd name="T7" fmla="*/ 19 h 62"/>
                <a:gd name="T8" fmla="*/ 9 w 27"/>
                <a:gd name="T9" fmla="*/ 34 h 62"/>
                <a:gd name="T10" fmla="*/ 13 w 27"/>
                <a:gd name="T11" fmla="*/ 40 h 62"/>
                <a:gd name="T12" fmla="*/ 16 w 27"/>
                <a:gd name="T13" fmla="*/ 22 h 62"/>
                <a:gd name="T14" fmla="*/ 20 w 27"/>
                <a:gd name="T15" fmla="*/ 13 h 62"/>
                <a:gd name="T16" fmla="*/ 23 w 27"/>
                <a:gd name="T17" fmla="*/ 15 h 62"/>
                <a:gd name="T18" fmla="*/ 17 w 27"/>
                <a:gd name="T19" fmla="*/ 25 h 62"/>
                <a:gd name="T20" fmla="*/ 12 w 27"/>
                <a:gd name="T21" fmla="*/ 51 h 62"/>
                <a:gd name="T22" fmla="*/ 8 w 27"/>
                <a:gd name="T23" fmla="*/ 2 h 62"/>
                <a:gd name="T24" fmla="*/ 11 w 27"/>
                <a:gd name="T25" fmla="*/ 62 h 62"/>
                <a:gd name="T26" fmla="*/ 11 w 27"/>
                <a:gd name="T27" fmla="*/ 62 h 62"/>
                <a:gd name="T28" fmla="*/ 11 w 27"/>
                <a:gd name="T29" fmla="*/ 59 h 62"/>
                <a:gd name="T30" fmla="*/ 11 w 27"/>
                <a:gd name="T3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" h="62">
                  <a:moveTo>
                    <a:pt x="8" y="2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1" y="1"/>
                    <a:pt x="15" y="2"/>
                    <a:pt x="13" y="5"/>
                  </a:cubicBezTo>
                  <a:cubicBezTo>
                    <a:pt x="11" y="9"/>
                    <a:pt x="9" y="15"/>
                    <a:pt x="9" y="19"/>
                  </a:cubicBezTo>
                  <a:cubicBezTo>
                    <a:pt x="8" y="24"/>
                    <a:pt x="9" y="30"/>
                    <a:pt x="9" y="34"/>
                  </a:cubicBezTo>
                  <a:cubicBezTo>
                    <a:pt x="9" y="37"/>
                    <a:pt x="12" y="46"/>
                    <a:pt x="13" y="40"/>
                  </a:cubicBezTo>
                  <a:cubicBezTo>
                    <a:pt x="14" y="33"/>
                    <a:pt x="15" y="28"/>
                    <a:pt x="16" y="22"/>
                  </a:cubicBezTo>
                  <a:cubicBezTo>
                    <a:pt x="18" y="15"/>
                    <a:pt x="21" y="10"/>
                    <a:pt x="20" y="13"/>
                  </a:cubicBezTo>
                  <a:cubicBezTo>
                    <a:pt x="20" y="15"/>
                    <a:pt x="27" y="12"/>
                    <a:pt x="23" y="15"/>
                  </a:cubicBezTo>
                  <a:cubicBezTo>
                    <a:pt x="20" y="17"/>
                    <a:pt x="20" y="16"/>
                    <a:pt x="17" y="25"/>
                  </a:cubicBezTo>
                  <a:cubicBezTo>
                    <a:pt x="15" y="34"/>
                    <a:pt x="12" y="46"/>
                    <a:pt x="12" y="51"/>
                  </a:cubicBezTo>
                  <a:cubicBezTo>
                    <a:pt x="11" y="49"/>
                    <a:pt x="0" y="22"/>
                    <a:pt x="8" y="2"/>
                  </a:cubicBezTo>
                  <a:close/>
                  <a:moveTo>
                    <a:pt x="11" y="62"/>
                  </a:moveTo>
                  <a:cubicBezTo>
                    <a:pt x="11" y="62"/>
                    <a:pt x="11" y="62"/>
                    <a:pt x="11" y="62"/>
                  </a:cubicBezTo>
                  <a:cubicBezTo>
                    <a:pt x="11" y="61"/>
                    <a:pt x="11" y="60"/>
                    <a:pt x="11" y="59"/>
                  </a:cubicBezTo>
                  <a:cubicBezTo>
                    <a:pt x="11" y="60"/>
                    <a:pt x="11" y="61"/>
                    <a:pt x="11" y="62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5">
              <a:extLst>
                <a:ext uri="{FF2B5EF4-FFF2-40B4-BE49-F238E27FC236}">
                  <a16:creationId xmlns:a16="http://schemas.microsoft.com/office/drawing/2014/main" id="{616C6FE9-D667-492C-A50E-AC77CA4EF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6" y="759"/>
              <a:ext cx="72" cy="79"/>
            </a:xfrm>
            <a:custGeom>
              <a:avLst/>
              <a:gdLst>
                <a:gd name="T0" fmla="*/ 26 w 30"/>
                <a:gd name="T1" fmla="*/ 18 h 33"/>
                <a:gd name="T2" fmla="*/ 26 w 30"/>
                <a:gd name="T3" fmla="*/ 5 h 33"/>
                <a:gd name="T4" fmla="*/ 14 w 30"/>
                <a:gd name="T5" fmla="*/ 0 h 33"/>
                <a:gd name="T6" fmla="*/ 2 w 30"/>
                <a:gd name="T7" fmla="*/ 5 h 33"/>
                <a:gd name="T8" fmla="*/ 4 w 30"/>
                <a:gd name="T9" fmla="*/ 25 h 33"/>
                <a:gd name="T10" fmla="*/ 26 w 30"/>
                <a:gd name="T11" fmla="*/ 1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3">
                  <a:moveTo>
                    <a:pt x="26" y="18"/>
                  </a:moveTo>
                  <a:cubicBezTo>
                    <a:pt x="28" y="12"/>
                    <a:pt x="30" y="8"/>
                    <a:pt x="26" y="5"/>
                  </a:cubicBezTo>
                  <a:cubicBezTo>
                    <a:pt x="22" y="2"/>
                    <a:pt x="18" y="0"/>
                    <a:pt x="14" y="0"/>
                  </a:cubicBezTo>
                  <a:cubicBezTo>
                    <a:pt x="9" y="0"/>
                    <a:pt x="3" y="1"/>
                    <a:pt x="2" y="5"/>
                  </a:cubicBezTo>
                  <a:cubicBezTo>
                    <a:pt x="1" y="8"/>
                    <a:pt x="0" y="18"/>
                    <a:pt x="4" y="25"/>
                  </a:cubicBezTo>
                  <a:cubicBezTo>
                    <a:pt x="9" y="33"/>
                    <a:pt x="23" y="29"/>
                    <a:pt x="26" y="18"/>
                  </a:cubicBezTo>
                  <a:close/>
                </a:path>
              </a:pathLst>
            </a:custGeom>
            <a:solidFill>
              <a:srgbClr val="4B2B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26">
              <a:extLst>
                <a:ext uri="{FF2B5EF4-FFF2-40B4-BE49-F238E27FC236}">
                  <a16:creationId xmlns:a16="http://schemas.microsoft.com/office/drawing/2014/main" id="{5E4D741E-055D-405A-84F7-EFE050F01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4" y="802"/>
              <a:ext cx="45" cy="53"/>
            </a:xfrm>
            <a:custGeom>
              <a:avLst/>
              <a:gdLst>
                <a:gd name="T0" fmla="*/ 19 w 19"/>
                <a:gd name="T1" fmla="*/ 12 h 22"/>
                <a:gd name="T2" fmla="*/ 10 w 19"/>
                <a:gd name="T3" fmla="*/ 20 h 22"/>
                <a:gd name="T4" fmla="*/ 1 w 19"/>
                <a:gd name="T5" fmla="*/ 7 h 22"/>
                <a:gd name="T6" fmla="*/ 19 w 19"/>
                <a:gd name="T7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2">
                  <a:moveTo>
                    <a:pt x="19" y="12"/>
                  </a:moveTo>
                  <a:cubicBezTo>
                    <a:pt x="18" y="16"/>
                    <a:pt x="15" y="22"/>
                    <a:pt x="10" y="20"/>
                  </a:cubicBezTo>
                  <a:cubicBezTo>
                    <a:pt x="4" y="19"/>
                    <a:pt x="1" y="14"/>
                    <a:pt x="1" y="7"/>
                  </a:cubicBezTo>
                  <a:cubicBezTo>
                    <a:pt x="0" y="0"/>
                    <a:pt x="18" y="3"/>
                    <a:pt x="19" y="12"/>
                  </a:cubicBezTo>
                  <a:close/>
                </a:path>
              </a:pathLst>
            </a:custGeom>
            <a:solidFill>
              <a:srgbClr val="D6A0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27">
              <a:extLst>
                <a:ext uri="{FF2B5EF4-FFF2-40B4-BE49-F238E27FC236}">
                  <a16:creationId xmlns:a16="http://schemas.microsoft.com/office/drawing/2014/main" id="{51F5EE60-8B69-4C53-90BF-156285D3D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1" y="778"/>
              <a:ext cx="60" cy="75"/>
            </a:xfrm>
            <a:custGeom>
              <a:avLst/>
              <a:gdLst>
                <a:gd name="T0" fmla="*/ 24 w 25"/>
                <a:gd name="T1" fmla="*/ 8 h 31"/>
                <a:gd name="T2" fmla="*/ 21 w 25"/>
                <a:gd name="T3" fmla="*/ 20 h 31"/>
                <a:gd name="T4" fmla="*/ 12 w 25"/>
                <a:gd name="T5" fmla="*/ 30 h 31"/>
                <a:gd name="T6" fmla="*/ 2 w 25"/>
                <a:gd name="T7" fmla="*/ 18 h 31"/>
                <a:gd name="T8" fmla="*/ 1 w 25"/>
                <a:gd name="T9" fmla="*/ 10 h 31"/>
                <a:gd name="T10" fmla="*/ 5 w 25"/>
                <a:gd name="T11" fmla="*/ 10 h 31"/>
                <a:gd name="T12" fmla="*/ 8 w 25"/>
                <a:gd name="T13" fmla="*/ 0 h 31"/>
                <a:gd name="T14" fmla="*/ 16 w 25"/>
                <a:gd name="T15" fmla="*/ 2 h 31"/>
                <a:gd name="T16" fmla="*/ 22 w 25"/>
                <a:gd name="T17" fmla="*/ 2 h 31"/>
                <a:gd name="T18" fmla="*/ 24 w 25"/>
                <a:gd name="T19" fmla="*/ 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31">
                  <a:moveTo>
                    <a:pt x="24" y="8"/>
                  </a:moveTo>
                  <a:cubicBezTo>
                    <a:pt x="24" y="11"/>
                    <a:pt x="23" y="17"/>
                    <a:pt x="21" y="20"/>
                  </a:cubicBezTo>
                  <a:cubicBezTo>
                    <a:pt x="20" y="23"/>
                    <a:pt x="17" y="31"/>
                    <a:pt x="12" y="30"/>
                  </a:cubicBezTo>
                  <a:cubicBezTo>
                    <a:pt x="6" y="29"/>
                    <a:pt x="3" y="23"/>
                    <a:pt x="2" y="18"/>
                  </a:cubicBezTo>
                  <a:cubicBezTo>
                    <a:pt x="1" y="12"/>
                    <a:pt x="0" y="8"/>
                    <a:pt x="1" y="10"/>
                  </a:cubicBezTo>
                  <a:cubicBezTo>
                    <a:pt x="3" y="13"/>
                    <a:pt x="5" y="15"/>
                    <a:pt x="5" y="10"/>
                  </a:cubicBezTo>
                  <a:cubicBezTo>
                    <a:pt x="5" y="5"/>
                    <a:pt x="5" y="0"/>
                    <a:pt x="8" y="0"/>
                  </a:cubicBezTo>
                  <a:cubicBezTo>
                    <a:pt x="11" y="0"/>
                    <a:pt x="13" y="2"/>
                    <a:pt x="16" y="2"/>
                  </a:cubicBezTo>
                  <a:cubicBezTo>
                    <a:pt x="19" y="2"/>
                    <a:pt x="20" y="1"/>
                    <a:pt x="22" y="2"/>
                  </a:cubicBezTo>
                  <a:cubicBezTo>
                    <a:pt x="25" y="2"/>
                    <a:pt x="25" y="5"/>
                    <a:pt x="24" y="8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28">
              <a:extLst>
                <a:ext uri="{FF2B5EF4-FFF2-40B4-BE49-F238E27FC236}">
                  <a16:creationId xmlns:a16="http://schemas.microsoft.com/office/drawing/2014/main" id="{B5A3D857-E556-4ACD-A0D8-36C8DC81C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" y="800"/>
              <a:ext cx="9" cy="17"/>
            </a:xfrm>
            <a:custGeom>
              <a:avLst/>
              <a:gdLst>
                <a:gd name="T0" fmla="*/ 1 w 4"/>
                <a:gd name="T1" fmla="*/ 1 h 7"/>
                <a:gd name="T2" fmla="*/ 0 w 4"/>
                <a:gd name="T3" fmla="*/ 4 h 7"/>
                <a:gd name="T4" fmla="*/ 3 w 4"/>
                <a:gd name="T5" fmla="*/ 6 h 7"/>
                <a:gd name="T6" fmla="*/ 4 w 4"/>
                <a:gd name="T7" fmla="*/ 3 h 7"/>
                <a:gd name="T8" fmla="*/ 1 w 4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1" y="1"/>
                  </a:moveTo>
                  <a:cubicBezTo>
                    <a:pt x="0" y="1"/>
                    <a:pt x="0" y="2"/>
                    <a:pt x="0" y="4"/>
                  </a:cubicBezTo>
                  <a:cubicBezTo>
                    <a:pt x="1" y="6"/>
                    <a:pt x="2" y="7"/>
                    <a:pt x="3" y="6"/>
                  </a:cubicBezTo>
                  <a:cubicBezTo>
                    <a:pt x="4" y="6"/>
                    <a:pt x="4" y="5"/>
                    <a:pt x="4" y="3"/>
                  </a:cubicBezTo>
                  <a:cubicBezTo>
                    <a:pt x="4" y="1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29">
              <a:extLst>
                <a:ext uri="{FF2B5EF4-FFF2-40B4-BE49-F238E27FC236}">
                  <a16:creationId xmlns:a16="http://schemas.microsoft.com/office/drawing/2014/main" id="{B41AC465-1EC4-44C6-808E-AFF16ADE8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" y="860"/>
              <a:ext cx="51" cy="176"/>
            </a:xfrm>
            <a:custGeom>
              <a:avLst/>
              <a:gdLst>
                <a:gd name="T0" fmla="*/ 21 w 21"/>
                <a:gd name="T1" fmla="*/ 3 h 73"/>
                <a:gd name="T2" fmla="*/ 17 w 21"/>
                <a:gd name="T3" fmla="*/ 7 h 73"/>
                <a:gd name="T4" fmla="*/ 16 w 21"/>
                <a:gd name="T5" fmla="*/ 9 h 73"/>
                <a:gd name="T6" fmla="*/ 13 w 21"/>
                <a:gd name="T7" fmla="*/ 43 h 73"/>
                <a:gd name="T8" fmla="*/ 11 w 21"/>
                <a:gd name="T9" fmla="*/ 66 h 73"/>
                <a:gd name="T10" fmla="*/ 5 w 21"/>
                <a:gd name="T11" fmla="*/ 73 h 73"/>
                <a:gd name="T12" fmla="*/ 0 w 21"/>
                <a:gd name="T13" fmla="*/ 68 h 73"/>
                <a:gd name="T14" fmla="*/ 3 w 21"/>
                <a:gd name="T15" fmla="*/ 43 h 73"/>
                <a:gd name="T16" fmla="*/ 12 w 21"/>
                <a:gd name="T17" fmla="*/ 9 h 73"/>
                <a:gd name="T18" fmla="*/ 12 w 21"/>
                <a:gd name="T19" fmla="*/ 6 h 73"/>
                <a:gd name="T20" fmla="*/ 10 w 21"/>
                <a:gd name="T21" fmla="*/ 2 h 73"/>
                <a:gd name="T22" fmla="*/ 16 w 21"/>
                <a:gd name="T23" fmla="*/ 0 h 73"/>
                <a:gd name="T24" fmla="*/ 21 w 21"/>
                <a:gd name="T25" fmla="*/ 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73">
                  <a:moveTo>
                    <a:pt x="21" y="3"/>
                  </a:moveTo>
                  <a:cubicBezTo>
                    <a:pt x="17" y="7"/>
                    <a:pt x="17" y="7"/>
                    <a:pt x="17" y="7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4" y="33"/>
                    <a:pt x="13" y="43"/>
                  </a:cubicBezTo>
                  <a:cubicBezTo>
                    <a:pt x="12" y="53"/>
                    <a:pt x="11" y="66"/>
                    <a:pt x="11" y="66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5" y="73"/>
                    <a:pt x="0" y="70"/>
                    <a:pt x="0" y="68"/>
                  </a:cubicBezTo>
                  <a:cubicBezTo>
                    <a:pt x="0" y="66"/>
                    <a:pt x="2" y="55"/>
                    <a:pt x="3" y="43"/>
                  </a:cubicBezTo>
                  <a:cubicBezTo>
                    <a:pt x="5" y="30"/>
                    <a:pt x="12" y="9"/>
                    <a:pt x="12" y="9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9" y="1"/>
                    <a:pt x="21" y="3"/>
                  </a:cubicBezTo>
                  <a:close/>
                </a:path>
              </a:pathLst>
            </a:custGeom>
            <a:solidFill>
              <a:srgbClr val="CF1E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30">
              <a:extLst>
                <a:ext uri="{FF2B5EF4-FFF2-40B4-BE49-F238E27FC236}">
                  <a16:creationId xmlns:a16="http://schemas.microsoft.com/office/drawing/2014/main" id="{28C6E669-084B-4FAC-8058-EFA2C6199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" y="843"/>
              <a:ext cx="53" cy="31"/>
            </a:xfrm>
            <a:custGeom>
              <a:avLst/>
              <a:gdLst>
                <a:gd name="T0" fmla="*/ 48 w 53"/>
                <a:gd name="T1" fmla="*/ 0 h 31"/>
                <a:gd name="T2" fmla="*/ 53 w 53"/>
                <a:gd name="T3" fmla="*/ 7 h 31"/>
                <a:gd name="T4" fmla="*/ 36 w 53"/>
                <a:gd name="T5" fmla="*/ 31 h 31"/>
                <a:gd name="T6" fmla="*/ 19 w 53"/>
                <a:gd name="T7" fmla="*/ 17 h 31"/>
                <a:gd name="T8" fmla="*/ 2 w 53"/>
                <a:gd name="T9" fmla="*/ 29 h 31"/>
                <a:gd name="T10" fmla="*/ 0 w 53"/>
                <a:gd name="T11" fmla="*/ 12 h 31"/>
                <a:gd name="T12" fmla="*/ 7 w 53"/>
                <a:gd name="T13" fmla="*/ 5 h 31"/>
                <a:gd name="T14" fmla="*/ 19 w 53"/>
                <a:gd name="T15" fmla="*/ 17 h 31"/>
                <a:gd name="T16" fmla="*/ 48 w 53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1">
                  <a:moveTo>
                    <a:pt x="48" y="0"/>
                  </a:moveTo>
                  <a:lnTo>
                    <a:pt x="53" y="7"/>
                  </a:lnTo>
                  <a:lnTo>
                    <a:pt x="36" y="31"/>
                  </a:lnTo>
                  <a:lnTo>
                    <a:pt x="19" y="17"/>
                  </a:lnTo>
                  <a:lnTo>
                    <a:pt x="2" y="29"/>
                  </a:lnTo>
                  <a:lnTo>
                    <a:pt x="0" y="12"/>
                  </a:lnTo>
                  <a:lnTo>
                    <a:pt x="7" y="5"/>
                  </a:lnTo>
                  <a:lnTo>
                    <a:pt x="19" y="17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31">
              <a:extLst>
                <a:ext uri="{FF2B5EF4-FFF2-40B4-BE49-F238E27FC236}">
                  <a16:creationId xmlns:a16="http://schemas.microsoft.com/office/drawing/2014/main" id="{99FDBE11-A92F-4A73-A38B-597920349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5" y="1028"/>
              <a:ext cx="53" cy="56"/>
            </a:xfrm>
            <a:custGeom>
              <a:avLst/>
              <a:gdLst>
                <a:gd name="T0" fmla="*/ 1 w 22"/>
                <a:gd name="T1" fmla="*/ 1 h 23"/>
                <a:gd name="T2" fmla="*/ 13 w 22"/>
                <a:gd name="T3" fmla="*/ 19 h 23"/>
                <a:gd name="T4" fmla="*/ 1 w 22"/>
                <a:gd name="T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23">
                  <a:moveTo>
                    <a:pt x="1" y="1"/>
                  </a:moveTo>
                  <a:cubicBezTo>
                    <a:pt x="0" y="3"/>
                    <a:pt x="4" y="15"/>
                    <a:pt x="13" y="19"/>
                  </a:cubicBezTo>
                  <a:cubicBezTo>
                    <a:pt x="22" y="23"/>
                    <a:pt x="18" y="0"/>
                    <a:pt x="1" y="1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32">
              <a:extLst>
                <a:ext uri="{FF2B5EF4-FFF2-40B4-BE49-F238E27FC236}">
                  <a16:creationId xmlns:a16="http://schemas.microsoft.com/office/drawing/2014/main" id="{9C9334DE-8DAC-43FE-9E0D-B295BA74C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" y="850"/>
              <a:ext cx="93" cy="234"/>
            </a:xfrm>
            <a:custGeom>
              <a:avLst/>
              <a:gdLst>
                <a:gd name="T0" fmla="*/ 15 w 39"/>
                <a:gd name="T1" fmla="*/ 0 h 97"/>
                <a:gd name="T2" fmla="*/ 0 w 39"/>
                <a:gd name="T3" fmla="*/ 46 h 97"/>
                <a:gd name="T4" fmla="*/ 9 w 39"/>
                <a:gd name="T5" fmla="*/ 76 h 97"/>
                <a:gd name="T6" fmla="*/ 20 w 39"/>
                <a:gd name="T7" fmla="*/ 97 h 97"/>
                <a:gd name="T8" fmla="*/ 29 w 39"/>
                <a:gd name="T9" fmla="*/ 97 h 97"/>
                <a:gd name="T10" fmla="*/ 27 w 39"/>
                <a:gd name="T11" fmla="*/ 65 h 97"/>
                <a:gd name="T12" fmla="*/ 32 w 39"/>
                <a:gd name="T13" fmla="*/ 44 h 97"/>
                <a:gd name="T14" fmla="*/ 38 w 39"/>
                <a:gd name="T15" fmla="*/ 14 h 97"/>
                <a:gd name="T16" fmla="*/ 15 w 39"/>
                <a:gd name="T1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97">
                  <a:moveTo>
                    <a:pt x="15" y="0"/>
                  </a:moveTo>
                  <a:cubicBezTo>
                    <a:pt x="15" y="0"/>
                    <a:pt x="1" y="34"/>
                    <a:pt x="0" y="46"/>
                  </a:cubicBezTo>
                  <a:cubicBezTo>
                    <a:pt x="0" y="58"/>
                    <a:pt x="5" y="72"/>
                    <a:pt x="9" y="76"/>
                  </a:cubicBezTo>
                  <a:cubicBezTo>
                    <a:pt x="14" y="80"/>
                    <a:pt x="20" y="97"/>
                    <a:pt x="20" y="97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97"/>
                    <a:pt x="29" y="80"/>
                    <a:pt x="27" y="65"/>
                  </a:cubicBezTo>
                  <a:cubicBezTo>
                    <a:pt x="25" y="50"/>
                    <a:pt x="32" y="45"/>
                    <a:pt x="32" y="44"/>
                  </a:cubicBezTo>
                  <a:cubicBezTo>
                    <a:pt x="31" y="43"/>
                    <a:pt x="39" y="18"/>
                    <a:pt x="38" y="14"/>
                  </a:cubicBezTo>
                  <a:cubicBezTo>
                    <a:pt x="37" y="9"/>
                    <a:pt x="22" y="6"/>
                    <a:pt x="15" y="0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33">
              <a:extLst>
                <a:ext uri="{FF2B5EF4-FFF2-40B4-BE49-F238E27FC236}">
                  <a16:creationId xmlns:a16="http://schemas.microsoft.com/office/drawing/2014/main" id="{08B8EA95-6281-498F-AA10-7865B35AA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2" y="1052"/>
              <a:ext cx="33" cy="32"/>
            </a:xfrm>
            <a:custGeom>
              <a:avLst/>
              <a:gdLst>
                <a:gd name="T0" fmla="*/ 0 w 14"/>
                <a:gd name="T1" fmla="*/ 1 h 13"/>
                <a:gd name="T2" fmla="*/ 6 w 14"/>
                <a:gd name="T3" fmla="*/ 13 h 13"/>
                <a:gd name="T4" fmla="*/ 14 w 14"/>
                <a:gd name="T5" fmla="*/ 13 h 13"/>
                <a:gd name="T6" fmla="*/ 14 w 14"/>
                <a:gd name="T7" fmla="*/ 2 h 13"/>
                <a:gd name="T8" fmla="*/ 0 w 14"/>
                <a:gd name="T9" fmla="*/ 0 h 13"/>
                <a:gd name="T10" fmla="*/ 0 w 14"/>
                <a:gd name="T11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0" y="1"/>
                  </a:moveTo>
                  <a:cubicBezTo>
                    <a:pt x="3" y="7"/>
                    <a:pt x="6" y="13"/>
                    <a:pt x="6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9"/>
                    <a:pt x="14" y="2"/>
                  </a:cubicBezTo>
                  <a:cubicBezTo>
                    <a:pt x="7" y="1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34">
              <a:extLst>
                <a:ext uri="{FF2B5EF4-FFF2-40B4-BE49-F238E27FC236}">
                  <a16:creationId xmlns:a16="http://schemas.microsoft.com/office/drawing/2014/main" id="{E8964184-7351-46A2-910F-D9C0887DA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" y="879"/>
              <a:ext cx="46" cy="178"/>
            </a:xfrm>
            <a:custGeom>
              <a:avLst/>
              <a:gdLst>
                <a:gd name="T0" fmla="*/ 10 w 19"/>
                <a:gd name="T1" fmla="*/ 60 h 74"/>
                <a:gd name="T2" fmla="*/ 9 w 19"/>
                <a:gd name="T3" fmla="*/ 53 h 74"/>
                <a:gd name="T4" fmla="*/ 14 w 19"/>
                <a:gd name="T5" fmla="*/ 32 h 74"/>
                <a:gd name="T6" fmla="*/ 17 w 19"/>
                <a:gd name="T7" fmla="*/ 20 h 74"/>
                <a:gd name="T8" fmla="*/ 15 w 19"/>
                <a:gd name="T9" fmla="*/ 22 h 74"/>
                <a:gd name="T10" fmla="*/ 16 w 19"/>
                <a:gd name="T11" fmla="*/ 11 h 74"/>
                <a:gd name="T12" fmla="*/ 17 w 19"/>
                <a:gd name="T13" fmla="*/ 4 h 74"/>
                <a:gd name="T14" fmla="*/ 14 w 19"/>
                <a:gd name="T15" fmla="*/ 18 h 74"/>
                <a:gd name="T16" fmla="*/ 11 w 19"/>
                <a:gd name="T17" fmla="*/ 20 h 74"/>
                <a:gd name="T18" fmla="*/ 9 w 19"/>
                <a:gd name="T19" fmla="*/ 26 h 74"/>
                <a:gd name="T20" fmla="*/ 8 w 19"/>
                <a:gd name="T21" fmla="*/ 40 h 74"/>
                <a:gd name="T22" fmla="*/ 6 w 19"/>
                <a:gd name="T23" fmla="*/ 56 h 74"/>
                <a:gd name="T24" fmla="*/ 0 w 19"/>
                <a:gd name="T25" fmla="*/ 67 h 74"/>
                <a:gd name="T26" fmla="*/ 8 w 19"/>
                <a:gd name="T27" fmla="*/ 71 h 74"/>
                <a:gd name="T28" fmla="*/ 8 w 19"/>
                <a:gd name="T29" fmla="*/ 62 h 74"/>
                <a:gd name="T30" fmla="*/ 10 w 19"/>
                <a:gd name="T31" fmla="*/ 6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" h="74">
                  <a:moveTo>
                    <a:pt x="10" y="60"/>
                  </a:moveTo>
                  <a:cubicBezTo>
                    <a:pt x="9" y="58"/>
                    <a:pt x="9" y="55"/>
                    <a:pt x="9" y="53"/>
                  </a:cubicBezTo>
                  <a:cubicBezTo>
                    <a:pt x="7" y="38"/>
                    <a:pt x="14" y="33"/>
                    <a:pt x="14" y="32"/>
                  </a:cubicBezTo>
                  <a:cubicBezTo>
                    <a:pt x="13" y="31"/>
                    <a:pt x="15" y="26"/>
                    <a:pt x="17" y="20"/>
                  </a:cubicBezTo>
                  <a:cubicBezTo>
                    <a:pt x="16" y="21"/>
                    <a:pt x="16" y="22"/>
                    <a:pt x="15" y="22"/>
                  </a:cubicBezTo>
                  <a:cubicBezTo>
                    <a:pt x="13" y="26"/>
                    <a:pt x="16" y="18"/>
                    <a:pt x="16" y="11"/>
                  </a:cubicBezTo>
                  <a:cubicBezTo>
                    <a:pt x="17" y="5"/>
                    <a:pt x="19" y="0"/>
                    <a:pt x="17" y="4"/>
                  </a:cubicBezTo>
                  <a:cubicBezTo>
                    <a:pt x="15" y="7"/>
                    <a:pt x="14" y="12"/>
                    <a:pt x="14" y="18"/>
                  </a:cubicBezTo>
                  <a:cubicBezTo>
                    <a:pt x="13" y="24"/>
                    <a:pt x="13" y="24"/>
                    <a:pt x="11" y="20"/>
                  </a:cubicBezTo>
                  <a:cubicBezTo>
                    <a:pt x="10" y="16"/>
                    <a:pt x="8" y="21"/>
                    <a:pt x="9" y="26"/>
                  </a:cubicBezTo>
                  <a:cubicBezTo>
                    <a:pt x="10" y="30"/>
                    <a:pt x="10" y="35"/>
                    <a:pt x="8" y="40"/>
                  </a:cubicBezTo>
                  <a:cubicBezTo>
                    <a:pt x="6" y="45"/>
                    <a:pt x="6" y="52"/>
                    <a:pt x="6" y="56"/>
                  </a:cubicBezTo>
                  <a:cubicBezTo>
                    <a:pt x="6" y="60"/>
                    <a:pt x="3" y="63"/>
                    <a:pt x="0" y="67"/>
                  </a:cubicBezTo>
                  <a:cubicBezTo>
                    <a:pt x="4" y="68"/>
                    <a:pt x="10" y="74"/>
                    <a:pt x="8" y="71"/>
                  </a:cubicBezTo>
                  <a:cubicBezTo>
                    <a:pt x="6" y="68"/>
                    <a:pt x="5" y="65"/>
                    <a:pt x="8" y="62"/>
                  </a:cubicBezTo>
                  <a:cubicBezTo>
                    <a:pt x="9" y="61"/>
                    <a:pt x="9" y="61"/>
                    <a:pt x="10" y="60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35">
              <a:extLst>
                <a:ext uri="{FF2B5EF4-FFF2-40B4-BE49-F238E27FC236}">
                  <a16:creationId xmlns:a16="http://schemas.microsoft.com/office/drawing/2014/main" id="{633F8AB4-E973-48B9-8991-6DF032E24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3" y="855"/>
              <a:ext cx="46" cy="226"/>
            </a:xfrm>
            <a:custGeom>
              <a:avLst/>
              <a:gdLst>
                <a:gd name="T0" fmla="*/ 19 w 19"/>
                <a:gd name="T1" fmla="*/ 0 h 94"/>
                <a:gd name="T2" fmla="*/ 15 w 19"/>
                <a:gd name="T3" fmla="*/ 42 h 94"/>
                <a:gd name="T4" fmla="*/ 10 w 19"/>
                <a:gd name="T5" fmla="*/ 83 h 94"/>
                <a:gd name="T6" fmla="*/ 7 w 19"/>
                <a:gd name="T7" fmla="*/ 94 h 94"/>
                <a:gd name="T8" fmla="*/ 1 w 19"/>
                <a:gd name="T9" fmla="*/ 91 h 94"/>
                <a:gd name="T10" fmla="*/ 4 w 19"/>
                <a:gd name="T11" fmla="*/ 53 h 94"/>
                <a:gd name="T12" fmla="*/ 1 w 19"/>
                <a:gd name="T13" fmla="*/ 10 h 94"/>
                <a:gd name="T14" fmla="*/ 19 w 19"/>
                <a:gd name="T1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94">
                  <a:moveTo>
                    <a:pt x="19" y="0"/>
                  </a:moveTo>
                  <a:cubicBezTo>
                    <a:pt x="19" y="0"/>
                    <a:pt x="15" y="30"/>
                    <a:pt x="15" y="42"/>
                  </a:cubicBezTo>
                  <a:cubicBezTo>
                    <a:pt x="15" y="55"/>
                    <a:pt x="12" y="76"/>
                    <a:pt x="10" y="83"/>
                  </a:cubicBezTo>
                  <a:cubicBezTo>
                    <a:pt x="8" y="90"/>
                    <a:pt x="7" y="94"/>
                    <a:pt x="7" y="94"/>
                  </a:cubicBezTo>
                  <a:cubicBezTo>
                    <a:pt x="1" y="91"/>
                    <a:pt x="1" y="91"/>
                    <a:pt x="1" y="91"/>
                  </a:cubicBezTo>
                  <a:cubicBezTo>
                    <a:pt x="1" y="91"/>
                    <a:pt x="5" y="67"/>
                    <a:pt x="4" y="53"/>
                  </a:cubicBezTo>
                  <a:cubicBezTo>
                    <a:pt x="3" y="39"/>
                    <a:pt x="2" y="15"/>
                    <a:pt x="1" y="10"/>
                  </a:cubicBezTo>
                  <a:cubicBezTo>
                    <a:pt x="0" y="6"/>
                    <a:pt x="10" y="3"/>
                    <a:pt x="19" y="0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36">
              <a:extLst>
                <a:ext uri="{FF2B5EF4-FFF2-40B4-BE49-F238E27FC236}">
                  <a16:creationId xmlns:a16="http://schemas.microsoft.com/office/drawing/2014/main" id="{1431C59D-670A-4A3C-9236-2EBE189BB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0" y="862"/>
              <a:ext cx="22" cy="135"/>
            </a:xfrm>
            <a:custGeom>
              <a:avLst/>
              <a:gdLst>
                <a:gd name="T0" fmla="*/ 7 w 9"/>
                <a:gd name="T1" fmla="*/ 56 h 56"/>
                <a:gd name="T2" fmla="*/ 3 w 9"/>
                <a:gd name="T3" fmla="*/ 14 h 56"/>
                <a:gd name="T4" fmla="*/ 7 w 9"/>
                <a:gd name="T5" fmla="*/ 7 h 56"/>
                <a:gd name="T6" fmla="*/ 5 w 9"/>
                <a:gd name="T7" fmla="*/ 3 h 56"/>
                <a:gd name="T8" fmla="*/ 6 w 9"/>
                <a:gd name="T9" fmla="*/ 0 h 56"/>
                <a:gd name="T10" fmla="*/ 3 w 9"/>
                <a:gd name="T11" fmla="*/ 3 h 56"/>
                <a:gd name="T12" fmla="*/ 5 w 9"/>
                <a:gd name="T13" fmla="*/ 7 h 56"/>
                <a:gd name="T14" fmla="*/ 0 w 9"/>
                <a:gd name="T15" fmla="*/ 15 h 56"/>
                <a:gd name="T16" fmla="*/ 7 w 9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6">
                  <a:moveTo>
                    <a:pt x="7" y="56"/>
                  </a:moveTo>
                  <a:cubicBezTo>
                    <a:pt x="9" y="39"/>
                    <a:pt x="3" y="14"/>
                    <a:pt x="3" y="14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9" y="39"/>
                    <a:pt x="7" y="56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37">
              <a:extLst>
                <a:ext uri="{FF2B5EF4-FFF2-40B4-BE49-F238E27FC236}">
                  <a16:creationId xmlns:a16="http://schemas.microsoft.com/office/drawing/2014/main" id="{830B70F6-5445-422E-9DA5-8CB8A0C93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" y="1040"/>
              <a:ext cx="79" cy="46"/>
            </a:xfrm>
            <a:custGeom>
              <a:avLst/>
              <a:gdLst>
                <a:gd name="T0" fmla="*/ 31 w 33"/>
                <a:gd name="T1" fmla="*/ 7 h 19"/>
                <a:gd name="T2" fmla="*/ 18 w 33"/>
                <a:gd name="T3" fmla="*/ 18 h 19"/>
                <a:gd name="T4" fmla="*/ 16 w 33"/>
                <a:gd name="T5" fmla="*/ 18 h 19"/>
                <a:gd name="T6" fmla="*/ 13 w 33"/>
                <a:gd name="T7" fmla="*/ 9 h 19"/>
                <a:gd name="T8" fmla="*/ 6 w 33"/>
                <a:gd name="T9" fmla="*/ 3 h 19"/>
                <a:gd name="T10" fmla="*/ 4 w 33"/>
                <a:gd name="T11" fmla="*/ 1 h 19"/>
                <a:gd name="T12" fmla="*/ 20 w 33"/>
                <a:gd name="T13" fmla="*/ 2 h 19"/>
                <a:gd name="T14" fmla="*/ 31 w 33"/>
                <a:gd name="T15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9">
                  <a:moveTo>
                    <a:pt x="31" y="7"/>
                  </a:moveTo>
                  <a:cubicBezTo>
                    <a:pt x="27" y="10"/>
                    <a:pt x="21" y="17"/>
                    <a:pt x="18" y="18"/>
                  </a:cubicBezTo>
                  <a:cubicBezTo>
                    <a:pt x="15" y="19"/>
                    <a:pt x="16" y="18"/>
                    <a:pt x="16" y="18"/>
                  </a:cubicBezTo>
                  <a:cubicBezTo>
                    <a:pt x="16" y="18"/>
                    <a:pt x="16" y="14"/>
                    <a:pt x="13" y="9"/>
                  </a:cubicBezTo>
                  <a:cubicBezTo>
                    <a:pt x="11" y="5"/>
                    <a:pt x="9" y="3"/>
                    <a:pt x="6" y="3"/>
                  </a:cubicBezTo>
                  <a:cubicBezTo>
                    <a:pt x="2" y="4"/>
                    <a:pt x="0" y="2"/>
                    <a:pt x="4" y="1"/>
                  </a:cubicBezTo>
                  <a:cubicBezTo>
                    <a:pt x="7" y="0"/>
                    <a:pt x="13" y="1"/>
                    <a:pt x="20" y="2"/>
                  </a:cubicBezTo>
                  <a:cubicBezTo>
                    <a:pt x="27" y="2"/>
                    <a:pt x="33" y="3"/>
                    <a:pt x="31" y="7"/>
                  </a:cubicBez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38">
              <a:extLst>
                <a:ext uri="{FF2B5EF4-FFF2-40B4-BE49-F238E27FC236}">
                  <a16:creationId xmlns:a16="http://schemas.microsoft.com/office/drawing/2014/main" id="{45A8C7D1-C20D-4AFF-939A-0AB0BF871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9" y="1038"/>
              <a:ext cx="33" cy="29"/>
            </a:xfrm>
            <a:custGeom>
              <a:avLst/>
              <a:gdLst>
                <a:gd name="T0" fmla="*/ 14 w 14"/>
                <a:gd name="T1" fmla="*/ 8 h 12"/>
                <a:gd name="T2" fmla="*/ 10 w 14"/>
                <a:gd name="T3" fmla="*/ 12 h 12"/>
                <a:gd name="T4" fmla="*/ 0 w 14"/>
                <a:gd name="T5" fmla="*/ 1 h 12"/>
                <a:gd name="T6" fmla="*/ 4 w 14"/>
                <a:gd name="T7" fmla="*/ 0 h 12"/>
                <a:gd name="T8" fmla="*/ 14 w 14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14" y="3"/>
                    <a:pt x="14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39">
              <a:extLst>
                <a:ext uri="{FF2B5EF4-FFF2-40B4-BE49-F238E27FC236}">
                  <a16:creationId xmlns:a16="http://schemas.microsoft.com/office/drawing/2014/main" id="{71B4B9D0-F771-41B7-9B25-601D6DBD8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" y="872"/>
              <a:ext cx="75" cy="195"/>
            </a:xfrm>
            <a:custGeom>
              <a:avLst/>
              <a:gdLst>
                <a:gd name="T0" fmla="*/ 19 w 31"/>
                <a:gd name="T1" fmla="*/ 4 h 81"/>
                <a:gd name="T2" fmla="*/ 30 w 31"/>
                <a:gd name="T3" fmla="*/ 44 h 81"/>
                <a:gd name="T4" fmla="*/ 24 w 31"/>
                <a:gd name="T5" fmla="*/ 63 h 81"/>
                <a:gd name="T6" fmla="*/ 12 w 31"/>
                <a:gd name="T7" fmla="*/ 81 h 81"/>
                <a:gd name="T8" fmla="*/ 0 w 31"/>
                <a:gd name="T9" fmla="*/ 70 h 81"/>
                <a:gd name="T10" fmla="*/ 12 w 31"/>
                <a:gd name="T11" fmla="*/ 56 h 81"/>
                <a:gd name="T12" fmla="*/ 14 w 31"/>
                <a:gd name="T13" fmla="*/ 37 h 81"/>
                <a:gd name="T14" fmla="*/ 19 w 31"/>
                <a:gd name="T15" fmla="*/ 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81">
                  <a:moveTo>
                    <a:pt x="19" y="4"/>
                  </a:moveTo>
                  <a:cubicBezTo>
                    <a:pt x="20" y="11"/>
                    <a:pt x="29" y="37"/>
                    <a:pt x="30" y="44"/>
                  </a:cubicBezTo>
                  <a:cubicBezTo>
                    <a:pt x="31" y="50"/>
                    <a:pt x="31" y="52"/>
                    <a:pt x="24" y="63"/>
                  </a:cubicBezTo>
                  <a:cubicBezTo>
                    <a:pt x="17" y="74"/>
                    <a:pt x="12" y="81"/>
                    <a:pt x="12" y="81"/>
                  </a:cubicBezTo>
                  <a:cubicBezTo>
                    <a:pt x="9" y="78"/>
                    <a:pt x="5" y="73"/>
                    <a:pt x="0" y="70"/>
                  </a:cubicBezTo>
                  <a:cubicBezTo>
                    <a:pt x="0" y="70"/>
                    <a:pt x="8" y="64"/>
                    <a:pt x="12" y="56"/>
                  </a:cubicBezTo>
                  <a:cubicBezTo>
                    <a:pt x="16" y="49"/>
                    <a:pt x="17" y="46"/>
                    <a:pt x="14" y="37"/>
                  </a:cubicBezTo>
                  <a:cubicBezTo>
                    <a:pt x="11" y="28"/>
                    <a:pt x="16" y="0"/>
                    <a:pt x="19" y="4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40">
              <a:extLst>
                <a:ext uri="{FF2B5EF4-FFF2-40B4-BE49-F238E27FC236}">
                  <a16:creationId xmlns:a16="http://schemas.microsoft.com/office/drawing/2014/main" id="{A423CBF3-E1C5-4A59-A1F7-D2EE173FD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9" y="1033"/>
              <a:ext cx="27" cy="22"/>
            </a:xfrm>
            <a:custGeom>
              <a:avLst/>
              <a:gdLst>
                <a:gd name="T0" fmla="*/ 11 w 11"/>
                <a:gd name="T1" fmla="*/ 5 h 9"/>
                <a:gd name="T2" fmla="*/ 9 w 11"/>
                <a:gd name="T3" fmla="*/ 9 h 9"/>
                <a:gd name="T4" fmla="*/ 5 w 11"/>
                <a:gd name="T5" fmla="*/ 6 h 9"/>
                <a:gd name="T6" fmla="*/ 0 w 11"/>
                <a:gd name="T7" fmla="*/ 5 h 9"/>
                <a:gd name="T8" fmla="*/ 2 w 11"/>
                <a:gd name="T9" fmla="*/ 0 h 9"/>
                <a:gd name="T10" fmla="*/ 11 w 11"/>
                <a:gd name="T11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9">
                  <a:moveTo>
                    <a:pt x="11" y="5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8" y="7"/>
                    <a:pt x="5" y="6"/>
                  </a:cubicBezTo>
                  <a:cubicBezTo>
                    <a:pt x="3" y="5"/>
                    <a:pt x="0" y="5"/>
                    <a:pt x="0" y="5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0" y="1"/>
                    <a:pt x="1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41">
              <a:extLst>
                <a:ext uri="{FF2B5EF4-FFF2-40B4-BE49-F238E27FC236}">
                  <a16:creationId xmlns:a16="http://schemas.microsoft.com/office/drawing/2014/main" id="{AB0FFF2C-596A-431A-90C5-6BB0464D9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9" y="874"/>
              <a:ext cx="51" cy="176"/>
            </a:xfrm>
            <a:custGeom>
              <a:avLst/>
              <a:gdLst>
                <a:gd name="T0" fmla="*/ 16 w 21"/>
                <a:gd name="T1" fmla="*/ 0 h 73"/>
                <a:gd name="T2" fmla="*/ 9 w 21"/>
                <a:gd name="T3" fmla="*/ 36 h 73"/>
                <a:gd name="T4" fmla="*/ 2 w 21"/>
                <a:gd name="T5" fmla="*/ 61 h 73"/>
                <a:gd name="T6" fmla="*/ 0 w 21"/>
                <a:gd name="T7" fmla="*/ 70 h 73"/>
                <a:gd name="T8" fmla="*/ 6 w 21"/>
                <a:gd name="T9" fmla="*/ 69 h 73"/>
                <a:gd name="T10" fmla="*/ 10 w 21"/>
                <a:gd name="T11" fmla="*/ 73 h 73"/>
                <a:gd name="T12" fmla="*/ 18 w 21"/>
                <a:gd name="T13" fmla="*/ 54 h 73"/>
                <a:gd name="T14" fmla="*/ 16 w 21"/>
                <a:gd name="T15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3">
                  <a:moveTo>
                    <a:pt x="16" y="0"/>
                  </a:moveTo>
                  <a:cubicBezTo>
                    <a:pt x="14" y="6"/>
                    <a:pt x="11" y="29"/>
                    <a:pt x="9" y="36"/>
                  </a:cubicBezTo>
                  <a:cubicBezTo>
                    <a:pt x="7" y="43"/>
                    <a:pt x="3" y="58"/>
                    <a:pt x="2" y="61"/>
                  </a:cubicBezTo>
                  <a:cubicBezTo>
                    <a:pt x="1" y="65"/>
                    <a:pt x="0" y="70"/>
                    <a:pt x="0" y="70"/>
                  </a:cubicBezTo>
                  <a:cubicBezTo>
                    <a:pt x="0" y="70"/>
                    <a:pt x="3" y="67"/>
                    <a:pt x="6" y="69"/>
                  </a:cubicBezTo>
                  <a:cubicBezTo>
                    <a:pt x="8" y="71"/>
                    <a:pt x="10" y="73"/>
                    <a:pt x="10" y="73"/>
                  </a:cubicBezTo>
                  <a:cubicBezTo>
                    <a:pt x="10" y="73"/>
                    <a:pt x="16" y="60"/>
                    <a:pt x="18" y="54"/>
                  </a:cubicBezTo>
                  <a:cubicBezTo>
                    <a:pt x="20" y="47"/>
                    <a:pt x="21" y="2"/>
                    <a:pt x="16" y="0"/>
                  </a:cubicBezTo>
                  <a:close/>
                </a:path>
              </a:pathLst>
            </a:custGeom>
            <a:solidFill>
              <a:srgbClr val="4A50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42">
              <a:extLst>
                <a:ext uri="{FF2B5EF4-FFF2-40B4-BE49-F238E27FC236}">
                  <a16:creationId xmlns:a16="http://schemas.microsoft.com/office/drawing/2014/main" id="{6A41766D-35DD-47C7-81A5-E174396FA4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1" y="882"/>
              <a:ext cx="75" cy="170"/>
            </a:xfrm>
            <a:custGeom>
              <a:avLst/>
              <a:gdLst>
                <a:gd name="T0" fmla="*/ 15 w 31"/>
                <a:gd name="T1" fmla="*/ 43 h 71"/>
                <a:gd name="T2" fmla="*/ 15 w 31"/>
                <a:gd name="T3" fmla="*/ 38 h 71"/>
                <a:gd name="T4" fmla="*/ 15 w 31"/>
                <a:gd name="T5" fmla="*/ 34 h 71"/>
                <a:gd name="T6" fmla="*/ 22 w 31"/>
                <a:gd name="T7" fmla="*/ 38 h 71"/>
                <a:gd name="T8" fmla="*/ 25 w 31"/>
                <a:gd name="T9" fmla="*/ 42 h 71"/>
                <a:gd name="T10" fmla="*/ 18 w 31"/>
                <a:gd name="T11" fmla="*/ 45 h 71"/>
                <a:gd name="T12" fmla="*/ 19 w 31"/>
                <a:gd name="T13" fmla="*/ 50 h 71"/>
                <a:gd name="T14" fmla="*/ 15 w 31"/>
                <a:gd name="T15" fmla="*/ 51 h 71"/>
                <a:gd name="T16" fmla="*/ 15 w 31"/>
                <a:gd name="T17" fmla="*/ 43 h 71"/>
                <a:gd name="T18" fmla="*/ 15 w 31"/>
                <a:gd name="T19" fmla="*/ 54 h 71"/>
                <a:gd name="T20" fmla="*/ 15 w 31"/>
                <a:gd name="T21" fmla="*/ 54 h 71"/>
                <a:gd name="T22" fmla="*/ 15 w 31"/>
                <a:gd name="T23" fmla="*/ 57 h 71"/>
                <a:gd name="T24" fmla="*/ 15 w 31"/>
                <a:gd name="T25" fmla="*/ 54 h 71"/>
                <a:gd name="T26" fmla="*/ 15 w 31"/>
                <a:gd name="T27" fmla="*/ 23 h 71"/>
                <a:gd name="T28" fmla="*/ 15 w 31"/>
                <a:gd name="T29" fmla="*/ 20 h 71"/>
                <a:gd name="T30" fmla="*/ 18 w 31"/>
                <a:gd name="T31" fmla="*/ 19 h 71"/>
                <a:gd name="T32" fmla="*/ 15 w 31"/>
                <a:gd name="T33" fmla="*/ 23 h 71"/>
                <a:gd name="T34" fmla="*/ 15 w 31"/>
                <a:gd name="T35" fmla="*/ 10 h 71"/>
                <a:gd name="T36" fmla="*/ 15 w 31"/>
                <a:gd name="T37" fmla="*/ 7 h 71"/>
                <a:gd name="T38" fmla="*/ 16 w 31"/>
                <a:gd name="T39" fmla="*/ 2 h 71"/>
                <a:gd name="T40" fmla="*/ 15 w 31"/>
                <a:gd name="T41" fmla="*/ 10 h 71"/>
                <a:gd name="T42" fmla="*/ 6 w 31"/>
                <a:gd name="T43" fmla="*/ 71 h 71"/>
                <a:gd name="T44" fmla="*/ 0 w 31"/>
                <a:gd name="T45" fmla="*/ 66 h 71"/>
                <a:gd name="T46" fmla="*/ 12 w 31"/>
                <a:gd name="T47" fmla="*/ 52 h 71"/>
                <a:gd name="T48" fmla="*/ 15 w 31"/>
                <a:gd name="T49" fmla="*/ 43 h 71"/>
                <a:gd name="T50" fmla="*/ 15 w 31"/>
                <a:gd name="T51" fmla="*/ 51 h 71"/>
                <a:gd name="T52" fmla="*/ 15 w 31"/>
                <a:gd name="T53" fmla="*/ 54 h 71"/>
                <a:gd name="T54" fmla="*/ 15 w 31"/>
                <a:gd name="T55" fmla="*/ 57 h 71"/>
                <a:gd name="T56" fmla="*/ 15 w 31"/>
                <a:gd name="T57" fmla="*/ 57 h 71"/>
                <a:gd name="T58" fmla="*/ 7 w 31"/>
                <a:gd name="T59" fmla="*/ 61 h 71"/>
                <a:gd name="T60" fmla="*/ 6 w 31"/>
                <a:gd name="T61" fmla="*/ 71 h 71"/>
                <a:gd name="T62" fmla="*/ 15 w 31"/>
                <a:gd name="T63" fmla="*/ 38 h 71"/>
                <a:gd name="T64" fmla="*/ 14 w 31"/>
                <a:gd name="T65" fmla="*/ 33 h 71"/>
                <a:gd name="T66" fmla="*/ 14 w 31"/>
                <a:gd name="T67" fmla="*/ 31 h 71"/>
                <a:gd name="T68" fmla="*/ 15 w 31"/>
                <a:gd name="T69" fmla="*/ 34 h 71"/>
                <a:gd name="T70" fmla="*/ 15 w 31"/>
                <a:gd name="T71" fmla="*/ 38 h 71"/>
                <a:gd name="T72" fmla="*/ 15 w 31"/>
                <a:gd name="T73" fmla="*/ 7 h 71"/>
                <a:gd name="T74" fmla="*/ 15 w 31"/>
                <a:gd name="T75" fmla="*/ 10 h 71"/>
                <a:gd name="T76" fmla="*/ 13 w 31"/>
                <a:gd name="T77" fmla="*/ 20 h 71"/>
                <a:gd name="T78" fmla="*/ 15 w 31"/>
                <a:gd name="T79" fmla="*/ 7 h 71"/>
                <a:gd name="T80" fmla="*/ 15 w 31"/>
                <a:gd name="T81" fmla="*/ 20 h 71"/>
                <a:gd name="T82" fmla="*/ 14 w 31"/>
                <a:gd name="T83" fmla="*/ 21 h 71"/>
                <a:gd name="T84" fmla="*/ 13 w 31"/>
                <a:gd name="T85" fmla="*/ 22 h 71"/>
                <a:gd name="T86" fmla="*/ 13 w 31"/>
                <a:gd name="T87" fmla="*/ 28 h 71"/>
                <a:gd name="T88" fmla="*/ 15 w 31"/>
                <a:gd name="T89" fmla="*/ 23 h 71"/>
                <a:gd name="T90" fmla="*/ 15 w 31"/>
                <a:gd name="T91" fmla="*/ 2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" h="71">
                  <a:moveTo>
                    <a:pt x="15" y="43"/>
                  </a:moveTo>
                  <a:cubicBezTo>
                    <a:pt x="16" y="42"/>
                    <a:pt x="16" y="40"/>
                    <a:pt x="15" y="38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7" y="36"/>
                    <a:pt x="20" y="38"/>
                    <a:pt x="22" y="38"/>
                  </a:cubicBezTo>
                  <a:cubicBezTo>
                    <a:pt x="26" y="39"/>
                    <a:pt x="31" y="42"/>
                    <a:pt x="25" y="42"/>
                  </a:cubicBezTo>
                  <a:cubicBezTo>
                    <a:pt x="19" y="42"/>
                    <a:pt x="15" y="44"/>
                    <a:pt x="18" y="45"/>
                  </a:cubicBezTo>
                  <a:cubicBezTo>
                    <a:pt x="21" y="47"/>
                    <a:pt x="23" y="50"/>
                    <a:pt x="19" y="50"/>
                  </a:cubicBezTo>
                  <a:cubicBezTo>
                    <a:pt x="17" y="49"/>
                    <a:pt x="16" y="50"/>
                    <a:pt x="15" y="51"/>
                  </a:cubicBezTo>
                  <a:cubicBezTo>
                    <a:pt x="15" y="43"/>
                    <a:pt x="15" y="43"/>
                    <a:pt x="15" y="43"/>
                  </a:cubicBezTo>
                  <a:close/>
                  <a:moveTo>
                    <a:pt x="15" y="54"/>
                  </a:moveTo>
                  <a:cubicBezTo>
                    <a:pt x="15" y="54"/>
                    <a:pt x="15" y="54"/>
                    <a:pt x="15" y="54"/>
                  </a:cubicBezTo>
                  <a:cubicBezTo>
                    <a:pt x="17" y="56"/>
                    <a:pt x="17" y="57"/>
                    <a:pt x="15" y="57"/>
                  </a:cubicBezTo>
                  <a:cubicBezTo>
                    <a:pt x="15" y="54"/>
                    <a:pt x="15" y="54"/>
                    <a:pt x="15" y="54"/>
                  </a:cubicBezTo>
                  <a:close/>
                  <a:moveTo>
                    <a:pt x="15" y="23"/>
                  </a:moveTo>
                  <a:cubicBezTo>
                    <a:pt x="15" y="20"/>
                    <a:pt x="15" y="20"/>
                    <a:pt x="15" y="20"/>
                  </a:cubicBezTo>
                  <a:cubicBezTo>
                    <a:pt x="18" y="17"/>
                    <a:pt x="21" y="15"/>
                    <a:pt x="18" y="19"/>
                  </a:cubicBezTo>
                  <a:cubicBezTo>
                    <a:pt x="17" y="20"/>
                    <a:pt x="16" y="21"/>
                    <a:pt x="15" y="23"/>
                  </a:cubicBezTo>
                  <a:close/>
                  <a:moveTo>
                    <a:pt x="15" y="10"/>
                  </a:moveTo>
                  <a:cubicBezTo>
                    <a:pt x="15" y="7"/>
                    <a:pt x="15" y="7"/>
                    <a:pt x="15" y="7"/>
                  </a:cubicBezTo>
                  <a:cubicBezTo>
                    <a:pt x="16" y="5"/>
                    <a:pt x="16" y="4"/>
                    <a:pt x="16" y="2"/>
                  </a:cubicBezTo>
                  <a:cubicBezTo>
                    <a:pt x="18" y="0"/>
                    <a:pt x="16" y="4"/>
                    <a:pt x="15" y="10"/>
                  </a:cubicBezTo>
                  <a:close/>
                  <a:moveTo>
                    <a:pt x="6" y="71"/>
                  </a:moveTo>
                  <a:cubicBezTo>
                    <a:pt x="4" y="69"/>
                    <a:pt x="0" y="66"/>
                    <a:pt x="0" y="66"/>
                  </a:cubicBezTo>
                  <a:cubicBezTo>
                    <a:pt x="0" y="66"/>
                    <a:pt x="8" y="60"/>
                    <a:pt x="12" y="52"/>
                  </a:cubicBezTo>
                  <a:cubicBezTo>
                    <a:pt x="14" y="49"/>
                    <a:pt x="15" y="46"/>
                    <a:pt x="15" y="43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2"/>
                    <a:pt x="15" y="53"/>
                    <a:pt x="15" y="54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2" y="56"/>
                    <a:pt x="10" y="58"/>
                    <a:pt x="7" y="61"/>
                  </a:cubicBezTo>
                  <a:cubicBezTo>
                    <a:pt x="4" y="65"/>
                    <a:pt x="5" y="69"/>
                    <a:pt x="6" y="71"/>
                  </a:cubicBezTo>
                  <a:close/>
                  <a:moveTo>
                    <a:pt x="15" y="38"/>
                  </a:moveTo>
                  <a:cubicBezTo>
                    <a:pt x="15" y="37"/>
                    <a:pt x="15" y="35"/>
                    <a:pt x="14" y="33"/>
                  </a:cubicBezTo>
                  <a:cubicBezTo>
                    <a:pt x="14" y="32"/>
                    <a:pt x="14" y="32"/>
                    <a:pt x="14" y="31"/>
                  </a:cubicBezTo>
                  <a:cubicBezTo>
                    <a:pt x="14" y="32"/>
                    <a:pt x="15" y="33"/>
                    <a:pt x="15" y="34"/>
                  </a:cubicBezTo>
                  <a:cubicBezTo>
                    <a:pt x="15" y="38"/>
                    <a:pt x="15" y="38"/>
                    <a:pt x="15" y="38"/>
                  </a:cubicBezTo>
                  <a:close/>
                  <a:moveTo>
                    <a:pt x="15" y="7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14"/>
                    <a:pt x="14" y="18"/>
                    <a:pt x="13" y="20"/>
                  </a:cubicBezTo>
                  <a:cubicBezTo>
                    <a:pt x="14" y="16"/>
                    <a:pt x="14" y="11"/>
                    <a:pt x="15" y="7"/>
                  </a:cubicBezTo>
                  <a:close/>
                  <a:moveTo>
                    <a:pt x="15" y="20"/>
                  </a:moveTo>
                  <a:cubicBezTo>
                    <a:pt x="15" y="20"/>
                    <a:pt x="14" y="21"/>
                    <a:pt x="14" y="21"/>
                  </a:cubicBezTo>
                  <a:cubicBezTo>
                    <a:pt x="14" y="22"/>
                    <a:pt x="13" y="22"/>
                    <a:pt x="13" y="22"/>
                  </a:cubicBezTo>
                  <a:cubicBezTo>
                    <a:pt x="13" y="25"/>
                    <a:pt x="13" y="27"/>
                    <a:pt x="13" y="28"/>
                  </a:cubicBezTo>
                  <a:cubicBezTo>
                    <a:pt x="14" y="27"/>
                    <a:pt x="14" y="25"/>
                    <a:pt x="15" y="23"/>
                  </a:cubicBezTo>
                  <a:lnTo>
                    <a:pt x="15" y="20"/>
                  </a:ln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43">
              <a:extLst>
                <a:ext uri="{FF2B5EF4-FFF2-40B4-BE49-F238E27FC236}">
                  <a16:creationId xmlns:a16="http://schemas.microsoft.com/office/drawing/2014/main" id="{641EB2C9-671C-402C-B88C-44772EDDD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" y="879"/>
              <a:ext cx="36" cy="171"/>
            </a:xfrm>
            <a:custGeom>
              <a:avLst/>
              <a:gdLst>
                <a:gd name="T0" fmla="*/ 0 w 15"/>
                <a:gd name="T1" fmla="*/ 66 h 71"/>
                <a:gd name="T2" fmla="*/ 1 w 15"/>
                <a:gd name="T3" fmla="*/ 67 h 71"/>
                <a:gd name="T4" fmla="*/ 5 w 15"/>
                <a:gd name="T5" fmla="*/ 71 h 71"/>
                <a:gd name="T6" fmla="*/ 13 w 15"/>
                <a:gd name="T7" fmla="*/ 52 h 71"/>
                <a:gd name="T8" fmla="*/ 11 w 15"/>
                <a:gd name="T9" fmla="*/ 0 h 71"/>
                <a:gd name="T10" fmla="*/ 11 w 15"/>
                <a:gd name="T11" fmla="*/ 0 h 71"/>
                <a:gd name="T12" fmla="*/ 13 w 15"/>
                <a:gd name="T13" fmla="*/ 30 h 71"/>
                <a:gd name="T14" fmla="*/ 12 w 15"/>
                <a:gd name="T15" fmla="*/ 45 h 71"/>
                <a:gd name="T16" fmla="*/ 8 w 15"/>
                <a:gd name="T17" fmla="*/ 45 h 71"/>
                <a:gd name="T18" fmla="*/ 9 w 15"/>
                <a:gd name="T19" fmla="*/ 55 h 71"/>
                <a:gd name="T20" fmla="*/ 7 w 15"/>
                <a:gd name="T21" fmla="*/ 60 h 71"/>
                <a:gd name="T22" fmla="*/ 4 w 15"/>
                <a:gd name="T23" fmla="*/ 67 h 71"/>
                <a:gd name="T24" fmla="*/ 0 w 15"/>
                <a:gd name="T25" fmla="*/ 6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71">
                  <a:moveTo>
                    <a:pt x="0" y="66"/>
                  </a:moveTo>
                  <a:cubicBezTo>
                    <a:pt x="1" y="67"/>
                    <a:pt x="1" y="67"/>
                    <a:pt x="1" y="67"/>
                  </a:cubicBezTo>
                  <a:cubicBezTo>
                    <a:pt x="3" y="69"/>
                    <a:pt x="5" y="71"/>
                    <a:pt x="5" y="71"/>
                  </a:cubicBezTo>
                  <a:cubicBezTo>
                    <a:pt x="5" y="71"/>
                    <a:pt x="11" y="58"/>
                    <a:pt x="13" y="52"/>
                  </a:cubicBezTo>
                  <a:cubicBezTo>
                    <a:pt x="15" y="46"/>
                    <a:pt x="15" y="12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7"/>
                    <a:pt x="13" y="24"/>
                    <a:pt x="13" y="30"/>
                  </a:cubicBezTo>
                  <a:cubicBezTo>
                    <a:pt x="13" y="36"/>
                    <a:pt x="13" y="48"/>
                    <a:pt x="12" y="45"/>
                  </a:cubicBezTo>
                  <a:cubicBezTo>
                    <a:pt x="10" y="42"/>
                    <a:pt x="6" y="40"/>
                    <a:pt x="8" y="45"/>
                  </a:cubicBezTo>
                  <a:cubicBezTo>
                    <a:pt x="11" y="51"/>
                    <a:pt x="11" y="58"/>
                    <a:pt x="9" y="55"/>
                  </a:cubicBezTo>
                  <a:cubicBezTo>
                    <a:pt x="7" y="53"/>
                    <a:pt x="7" y="55"/>
                    <a:pt x="7" y="60"/>
                  </a:cubicBezTo>
                  <a:cubicBezTo>
                    <a:pt x="7" y="65"/>
                    <a:pt x="7" y="68"/>
                    <a:pt x="4" y="67"/>
                  </a:cubicBezTo>
                  <a:cubicBezTo>
                    <a:pt x="1" y="66"/>
                    <a:pt x="0" y="66"/>
                    <a:pt x="0" y="66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44">
              <a:extLst>
                <a:ext uri="{FF2B5EF4-FFF2-40B4-BE49-F238E27FC236}">
                  <a16:creationId xmlns:a16="http://schemas.microsoft.com/office/drawing/2014/main" id="{2226E6E1-EE17-408A-8FB5-74862E871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8" y="1351"/>
              <a:ext cx="45" cy="24"/>
            </a:xfrm>
            <a:custGeom>
              <a:avLst/>
              <a:gdLst>
                <a:gd name="T0" fmla="*/ 17 w 19"/>
                <a:gd name="T1" fmla="*/ 3 h 10"/>
                <a:gd name="T2" fmla="*/ 6 w 19"/>
                <a:gd name="T3" fmla="*/ 9 h 10"/>
                <a:gd name="T4" fmla="*/ 5 w 19"/>
                <a:gd name="T5" fmla="*/ 8 h 10"/>
                <a:gd name="T6" fmla="*/ 14 w 19"/>
                <a:gd name="T7" fmla="*/ 3 h 10"/>
                <a:gd name="T8" fmla="*/ 17 w 19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7" y="3"/>
                  </a:moveTo>
                  <a:cubicBezTo>
                    <a:pt x="14" y="6"/>
                    <a:pt x="10" y="9"/>
                    <a:pt x="6" y="9"/>
                  </a:cubicBezTo>
                  <a:cubicBezTo>
                    <a:pt x="1" y="10"/>
                    <a:pt x="0" y="9"/>
                    <a:pt x="5" y="8"/>
                  </a:cubicBezTo>
                  <a:cubicBezTo>
                    <a:pt x="9" y="7"/>
                    <a:pt x="12" y="5"/>
                    <a:pt x="14" y="3"/>
                  </a:cubicBezTo>
                  <a:cubicBezTo>
                    <a:pt x="15" y="0"/>
                    <a:pt x="19" y="0"/>
                    <a:pt x="17" y="3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45">
              <a:extLst>
                <a:ext uri="{FF2B5EF4-FFF2-40B4-BE49-F238E27FC236}">
                  <a16:creationId xmlns:a16="http://schemas.microsoft.com/office/drawing/2014/main" id="{20518D98-2D6D-4748-8391-8A4626489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" y="1149"/>
              <a:ext cx="70" cy="199"/>
            </a:xfrm>
            <a:custGeom>
              <a:avLst/>
              <a:gdLst>
                <a:gd name="T0" fmla="*/ 8 w 29"/>
                <a:gd name="T1" fmla="*/ 0 h 83"/>
                <a:gd name="T2" fmla="*/ 7 w 29"/>
                <a:gd name="T3" fmla="*/ 3 h 83"/>
                <a:gd name="T4" fmla="*/ 3 w 29"/>
                <a:gd name="T5" fmla="*/ 28 h 83"/>
                <a:gd name="T6" fmla="*/ 7 w 29"/>
                <a:gd name="T7" fmla="*/ 39 h 83"/>
                <a:gd name="T8" fmla="*/ 9 w 29"/>
                <a:gd name="T9" fmla="*/ 42 h 83"/>
                <a:gd name="T10" fmla="*/ 12 w 29"/>
                <a:gd name="T11" fmla="*/ 57 h 83"/>
                <a:gd name="T12" fmla="*/ 21 w 29"/>
                <a:gd name="T13" fmla="*/ 74 h 83"/>
                <a:gd name="T14" fmla="*/ 18 w 29"/>
                <a:gd name="T15" fmla="*/ 78 h 83"/>
                <a:gd name="T16" fmla="*/ 29 w 29"/>
                <a:gd name="T17" fmla="*/ 80 h 83"/>
                <a:gd name="T18" fmla="*/ 23 w 29"/>
                <a:gd name="T19" fmla="*/ 80 h 83"/>
                <a:gd name="T20" fmla="*/ 13 w 29"/>
                <a:gd name="T21" fmla="*/ 81 h 83"/>
                <a:gd name="T22" fmla="*/ 11 w 29"/>
                <a:gd name="T23" fmla="*/ 62 h 83"/>
                <a:gd name="T24" fmla="*/ 0 w 29"/>
                <a:gd name="T25" fmla="*/ 39 h 83"/>
                <a:gd name="T26" fmla="*/ 0 w 29"/>
                <a:gd name="T27" fmla="*/ 39 h 83"/>
                <a:gd name="T28" fmla="*/ 0 w 29"/>
                <a:gd name="T29" fmla="*/ 38 h 83"/>
                <a:gd name="T30" fmla="*/ 8 w 29"/>
                <a:gd name="T3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83">
                  <a:moveTo>
                    <a:pt x="8" y="0"/>
                  </a:moveTo>
                  <a:cubicBezTo>
                    <a:pt x="8" y="1"/>
                    <a:pt x="7" y="2"/>
                    <a:pt x="7" y="3"/>
                  </a:cubicBezTo>
                  <a:cubicBezTo>
                    <a:pt x="6" y="10"/>
                    <a:pt x="4" y="22"/>
                    <a:pt x="3" y="28"/>
                  </a:cubicBezTo>
                  <a:cubicBezTo>
                    <a:pt x="3" y="35"/>
                    <a:pt x="4" y="41"/>
                    <a:pt x="7" y="39"/>
                  </a:cubicBezTo>
                  <a:cubicBezTo>
                    <a:pt x="9" y="37"/>
                    <a:pt x="12" y="35"/>
                    <a:pt x="9" y="42"/>
                  </a:cubicBezTo>
                  <a:cubicBezTo>
                    <a:pt x="6" y="48"/>
                    <a:pt x="11" y="48"/>
                    <a:pt x="12" y="57"/>
                  </a:cubicBezTo>
                  <a:cubicBezTo>
                    <a:pt x="12" y="66"/>
                    <a:pt x="16" y="74"/>
                    <a:pt x="21" y="74"/>
                  </a:cubicBezTo>
                  <a:cubicBezTo>
                    <a:pt x="26" y="73"/>
                    <a:pt x="17" y="74"/>
                    <a:pt x="18" y="78"/>
                  </a:cubicBezTo>
                  <a:cubicBezTo>
                    <a:pt x="19" y="81"/>
                    <a:pt x="27" y="78"/>
                    <a:pt x="29" y="80"/>
                  </a:cubicBezTo>
                  <a:cubicBezTo>
                    <a:pt x="27" y="80"/>
                    <a:pt x="25" y="80"/>
                    <a:pt x="23" y="80"/>
                  </a:cubicBezTo>
                  <a:cubicBezTo>
                    <a:pt x="18" y="81"/>
                    <a:pt x="12" y="83"/>
                    <a:pt x="13" y="81"/>
                  </a:cubicBezTo>
                  <a:cubicBezTo>
                    <a:pt x="13" y="80"/>
                    <a:pt x="15" y="72"/>
                    <a:pt x="11" y="62"/>
                  </a:cubicBezTo>
                  <a:cubicBezTo>
                    <a:pt x="7" y="52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0"/>
                    <a:pt x="2" y="19"/>
                    <a:pt x="8" y="0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46">
              <a:extLst>
                <a:ext uri="{FF2B5EF4-FFF2-40B4-BE49-F238E27FC236}">
                  <a16:creationId xmlns:a16="http://schemas.microsoft.com/office/drawing/2014/main" id="{ACC37E0F-611A-422D-A620-3CA826E44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4" y="1365"/>
              <a:ext cx="48" cy="24"/>
            </a:xfrm>
            <a:custGeom>
              <a:avLst/>
              <a:gdLst>
                <a:gd name="T0" fmla="*/ 18 w 20"/>
                <a:gd name="T1" fmla="*/ 2 h 10"/>
                <a:gd name="T2" fmla="*/ 6 w 20"/>
                <a:gd name="T3" fmla="*/ 8 h 10"/>
                <a:gd name="T4" fmla="*/ 6 w 20"/>
                <a:gd name="T5" fmla="*/ 7 h 10"/>
                <a:gd name="T6" fmla="*/ 16 w 20"/>
                <a:gd name="T7" fmla="*/ 2 h 10"/>
                <a:gd name="T8" fmla="*/ 18 w 20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0">
                  <a:moveTo>
                    <a:pt x="18" y="2"/>
                  </a:moveTo>
                  <a:cubicBezTo>
                    <a:pt x="18" y="5"/>
                    <a:pt x="12" y="10"/>
                    <a:pt x="6" y="8"/>
                  </a:cubicBezTo>
                  <a:cubicBezTo>
                    <a:pt x="0" y="7"/>
                    <a:pt x="0" y="7"/>
                    <a:pt x="6" y="7"/>
                  </a:cubicBezTo>
                  <a:cubicBezTo>
                    <a:pt x="12" y="7"/>
                    <a:pt x="14" y="3"/>
                    <a:pt x="16" y="2"/>
                  </a:cubicBezTo>
                  <a:cubicBezTo>
                    <a:pt x="17" y="0"/>
                    <a:pt x="20" y="0"/>
                    <a:pt x="18" y="2"/>
                  </a:cubicBezTo>
                  <a:close/>
                </a:path>
              </a:pathLst>
            </a:custGeom>
            <a:solidFill>
              <a:srgbClr val="1649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147">
              <a:extLst>
                <a:ext uri="{FF2B5EF4-FFF2-40B4-BE49-F238E27FC236}">
                  <a16:creationId xmlns:a16="http://schemas.microsoft.com/office/drawing/2014/main" id="{3FAD502F-7B10-4F57-89BF-F03C3D56B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1" y="855"/>
              <a:ext cx="60" cy="149"/>
            </a:xfrm>
            <a:custGeom>
              <a:avLst/>
              <a:gdLst>
                <a:gd name="T0" fmla="*/ 5 w 25"/>
                <a:gd name="T1" fmla="*/ 62 h 62"/>
                <a:gd name="T2" fmla="*/ 20 w 25"/>
                <a:gd name="T3" fmla="*/ 17 h 62"/>
                <a:gd name="T4" fmla="*/ 20 w 25"/>
                <a:gd name="T5" fmla="*/ 10 h 62"/>
                <a:gd name="T6" fmla="*/ 25 w 25"/>
                <a:gd name="T7" fmla="*/ 6 h 62"/>
                <a:gd name="T8" fmla="*/ 19 w 25"/>
                <a:gd name="T9" fmla="*/ 0 h 62"/>
                <a:gd name="T10" fmla="*/ 23 w 25"/>
                <a:gd name="T11" fmla="*/ 6 h 62"/>
                <a:gd name="T12" fmla="*/ 18 w 25"/>
                <a:gd name="T13" fmla="*/ 8 h 62"/>
                <a:gd name="T14" fmla="*/ 19 w 25"/>
                <a:gd name="T15" fmla="*/ 15 h 62"/>
                <a:gd name="T16" fmla="*/ 5 w 25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62">
                  <a:moveTo>
                    <a:pt x="5" y="62"/>
                  </a:moveTo>
                  <a:cubicBezTo>
                    <a:pt x="0" y="47"/>
                    <a:pt x="11" y="28"/>
                    <a:pt x="20" y="17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2" y="2"/>
                    <a:pt x="19" y="0"/>
                  </a:cubicBezTo>
                  <a:cubicBezTo>
                    <a:pt x="21" y="1"/>
                    <a:pt x="23" y="6"/>
                    <a:pt x="23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9" y="25"/>
                    <a:pt x="0" y="47"/>
                    <a:pt x="5" y="62"/>
                  </a:cubicBez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148">
              <a:extLst>
                <a:ext uri="{FF2B5EF4-FFF2-40B4-BE49-F238E27FC236}">
                  <a16:creationId xmlns:a16="http://schemas.microsoft.com/office/drawing/2014/main" id="{928C11D9-F48B-4C6C-B59A-5ADF64124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" y="1031"/>
              <a:ext cx="58" cy="17"/>
            </a:xfrm>
            <a:custGeom>
              <a:avLst/>
              <a:gdLst>
                <a:gd name="T0" fmla="*/ 24 w 24"/>
                <a:gd name="T1" fmla="*/ 3 h 7"/>
                <a:gd name="T2" fmla="*/ 0 w 24"/>
                <a:gd name="T3" fmla="*/ 6 h 7"/>
                <a:gd name="T4" fmla="*/ 0 w 24"/>
                <a:gd name="T5" fmla="*/ 3 h 7"/>
                <a:gd name="T6" fmla="*/ 23 w 24"/>
                <a:gd name="T7" fmla="*/ 0 h 7"/>
                <a:gd name="T8" fmla="*/ 24 w 24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7">
                  <a:moveTo>
                    <a:pt x="24" y="3"/>
                  </a:moveTo>
                  <a:cubicBezTo>
                    <a:pt x="24" y="3"/>
                    <a:pt x="0" y="7"/>
                    <a:pt x="0" y="6"/>
                  </a:cubicBezTo>
                  <a:cubicBezTo>
                    <a:pt x="0" y="5"/>
                    <a:pt x="0" y="3"/>
                    <a:pt x="0" y="3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24" y="3"/>
                  </a:lnTo>
                  <a:close/>
                </a:path>
              </a:pathLst>
            </a:custGeom>
            <a:solidFill>
              <a:srgbClr val="3D39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149">
              <a:extLst>
                <a:ext uri="{FF2B5EF4-FFF2-40B4-BE49-F238E27FC236}">
                  <a16:creationId xmlns:a16="http://schemas.microsoft.com/office/drawing/2014/main" id="{94C2BC3A-C428-47BA-8CDA-08F7CFB760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9" y="1072"/>
              <a:ext cx="22" cy="26"/>
            </a:xfrm>
            <a:custGeom>
              <a:avLst/>
              <a:gdLst>
                <a:gd name="T0" fmla="*/ 8 w 9"/>
                <a:gd name="T1" fmla="*/ 0 h 11"/>
                <a:gd name="T2" fmla="*/ 8 w 9"/>
                <a:gd name="T3" fmla="*/ 2 h 11"/>
                <a:gd name="T4" fmla="*/ 6 w 9"/>
                <a:gd name="T5" fmla="*/ 4 h 11"/>
                <a:gd name="T6" fmla="*/ 4 w 9"/>
                <a:gd name="T7" fmla="*/ 2 h 11"/>
                <a:gd name="T8" fmla="*/ 8 w 9"/>
                <a:gd name="T9" fmla="*/ 0 h 11"/>
                <a:gd name="T10" fmla="*/ 3 w 9"/>
                <a:gd name="T11" fmla="*/ 7 h 11"/>
                <a:gd name="T12" fmla="*/ 6 w 9"/>
                <a:gd name="T13" fmla="*/ 10 h 11"/>
                <a:gd name="T14" fmla="*/ 0 w 9"/>
                <a:gd name="T15" fmla="*/ 10 h 11"/>
                <a:gd name="T16" fmla="*/ 2 w 9"/>
                <a:gd name="T17" fmla="*/ 9 h 11"/>
                <a:gd name="T18" fmla="*/ 3 w 9"/>
                <a:gd name="T19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1">
                  <a:moveTo>
                    <a:pt x="8" y="0"/>
                  </a:moveTo>
                  <a:cubicBezTo>
                    <a:pt x="8" y="1"/>
                    <a:pt x="8" y="1"/>
                    <a:pt x="8" y="2"/>
                  </a:cubicBezTo>
                  <a:cubicBezTo>
                    <a:pt x="9" y="6"/>
                    <a:pt x="7" y="6"/>
                    <a:pt x="6" y="4"/>
                  </a:cubicBezTo>
                  <a:cubicBezTo>
                    <a:pt x="6" y="3"/>
                    <a:pt x="5" y="2"/>
                    <a:pt x="4" y="2"/>
                  </a:cubicBezTo>
                  <a:cubicBezTo>
                    <a:pt x="8" y="0"/>
                    <a:pt x="8" y="0"/>
                    <a:pt x="8" y="0"/>
                  </a:cubicBezTo>
                  <a:close/>
                  <a:moveTo>
                    <a:pt x="3" y="7"/>
                  </a:moveTo>
                  <a:cubicBezTo>
                    <a:pt x="4" y="7"/>
                    <a:pt x="9" y="7"/>
                    <a:pt x="6" y="10"/>
                  </a:cubicBezTo>
                  <a:cubicBezTo>
                    <a:pt x="5" y="10"/>
                    <a:pt x="2" y="11"/>
                    <a:pt x="0" y="10"/>
                  </a:cubicBezTo>
                  <a:cubicBezTo>
                    <a:pt x="2" y="9"/>
                    <a:pt x="2" y="9"/>
                    <a:pt x="2" y="9"/>
                  </a:cubicBezTo>
                  <a:lnTo>
                    <a:pt x="3" y="7"/>
                  </a:lnTo>
                  <a:close/>
                </a:path>
              </a:pathLst>
            </a:custGeom>
            <a:solidFill>
              <a:srgbClr val="F6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150">
              <a:extLst>
                <a:ext uri="{FF2B5EF4-FFF2-40B4-BE49-F238E27FC236}">
                  <a16:creationId xmlns:a16="http://schemas.microsoft.com/office/drawing/2014/main" id="{E3861F2E-9F7D-4614-B129-D58975DFF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" y="843"/>
              <a:ext cx="53" cy="29"/>
            </a:xfrm>
            <a:custGeom>
              <a:avLst/>
              <a:gdLst>
                <a:gd name="T0" fmla="*/ 48 w 53"/>
                <a:gd name="T1" fmla="*/ 0 h 29"/>
                <a:gd name="T2" fmla="*/ 53 w 53"/>
                <a:gd name="T3" fmla="*/ 7 h 29"/>
                <a:gd name="T4" fmla="*/ 36 w 53"/>
                <a:gd name="T5" fmla="*/ 29 h 29"/>
                <a:gd name="T6" fmla="*/ 19 w 53"/>
                <a:gd name="T7" fmla="*/ 17 h 29"/>
                <a:gd name="T8" fmla="*/ 5 w 53"/>
                <a:gd name="T9" fmla="*/ 24 h 29"/>
                <a:gd name="T10" fmla="*/ 0 w 53"/>
                <a:gd name="T11" fmla="*/ 12 h 29"/>
                <a:gd name="T12" fmla="*/ 7 w 53"/>
                <a:gd name="T13" fmla="*/ 5 h 29"/>
                <a:gd name="T14" fmla="*/ 19 w 53"/>
                <a:gd name="T15" fmla="*/ 17 h 29"/>
                <a:gd name="T16" fmla="*/ 48 w 53"/>
                <a:gd name="T1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9">
                  <a:moveTo>
                    <a:pt x="48" y="0"/>
                  </a:moveTo>
                  <a:lnTo>
                    <a:pt x="53" y="7"/>
                  </a:lnTo>
                  <a:lnTo>
                    <a:pt x="36" y="29"/>
                  </a:lnTo>
                  <a:lnTo>
                    <a:pt x="19" y="17"/>
                  </a:lnTo>
                  <a:lnTo>
                    <a:pt x="5" y="24"/>
                  </a:lnTo>
                  <a:lnTo>
                    <a:pt x="0" y="12"/>
                  </a:lnTo>
                  <a:lnTo>
                    <a:pt x="7" y="5"/>
                  </a:lnTo>
                  <a:lnTo>
                    <a:pt x="19" y="17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1" name="Oval 340">
            <a:extLst>
              <a:ext uri="{FF2B5EF4-FFF2-40B4-BE49-F238E27FC236}">
                <a16:creationId xmlns:a16="http://schemas.microsoft.com/office/drawing/2014/main" id="{4CD5A1BB-FB24-4766-9F27-E5F4D0876679}"/>
              </a:ext>
            </a:extLst>
          </p:cNvPr>
          <p:cNvSpPr/>
          <p:nvPr/>
        </p:nvSpPr>
        <p:spPr>
          <a:xfrm>
            <a:off x="4835164" y="2755044"/>
            <a:ext cx="2502082" cy="2502080"/>
          </a:xfrm>
          <a:prstGeom prst="ellipse">
            <a:avLst/>
          </a:prstGeom>
          <a:noFill/>
          <a:ln w="76200">
            <a:solidFill>
              <a:srgbClr val="3A07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0" rtlCol="0" anchor="t"/>
          <a:lstStyle/>
          <a:p>
            <a:pPr algn="ctr" defTabSz="1117588"/>
            <a:r>
              <a:rPr lang="ru-RU" sz="1600" b="1" dirty="0">
                <a:solidFill>
                  <a:srgbClr val="3A07DF"/>
                </a:solidFill>
              </a:rPr>
              <a:t>Комплаенс </a:t>
            </a:r>
            <a:r>
              <a:rPr lang="ru-RU" sz="1600" b="1" dirty="0" err="1">
                <a:solidFill>
                  <a:srgbClr val="3A07DF"/>
                </a:solidFill>
              </a:rPr>
              <a:t>бўлинма</a:t>
            </a:r>
            <a:endParaRPr lang="ru-RU" sz="1600" b="1" dirty="0">
              <a:solidFill>
                <a:srgbClr val="3A07DF"/>
              </a:solidFill>
            </a:endParaRPr>
          </a:p>
        </p:txBody>
      </p:sp>
      <p:sp>
        <p:nvSpPr>
          <p:cNvPr id="350" name="Sev01">
            <a:extLst>
              <a:ext uri="{FF2B5EF4-FFF2-40B4-BE49-F238E27FC236}">
                <a16:creationId xmlns:a16="http://schemas.microsoft.com/office/drawing/2014/main" id="{0F72A217-5B32-4227-A768-4B42B3FA680F}"/>
              </a:ext>
            </a:extLst>
          </p:cNvPr>
          <p:cNvSpPr>
            <a:spLocks noChangeAspect="1"/>
          </p:cNvSpPr>
          <p:nvPr/>
        </p:nvSpPr>
        <p:spPr>
          <a:xfrm flipH="1">
            <a:off x="4997344" y="2762689"/>
            <a:ext cx="493802" cy="493800"/>
          </a:xfrm>
          <a:prstGeom prst="ellipse">
            <a:avLst/>
          </a:prstGeom>
          <a:solidFill>
            <a:schemeClr val="bg1"/>
          </a:solidFill>
          <a:ln w="12700">
            <a:solidFill>
              <a:srgbClr val="2112A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117588"/>
            <a:r>
              <a:rPr lang="ru-RU" b="1" dirty="0">
                <a:solidFill>
                  <a:srgbClr val="3A07DF"/>
                </a:solidFill>
              </a:rPr>
              <a:t>01</a:t>
            </a:r>
            <a:endParaRPr lang="en-US" b="1" dirty="0">
              <a:solidFill>
                <a:srgbClr val="3A07DF"/>
              </a:solidFill>
            </a:endParaRPr>
          </a:p>
        </p:txBody>
      </p:sp>
      <p:pic>
        <p:nvPicPr>
          <p:cNvPr id="367" name="Picture 366">
            <a:extLst>
              <a:ext uri="{FF2B5EF4-FFF2-40B4-BE49-F238E27FC236}">
                <a16:creationId xmlns:a16="http://schemas.microsoft.com/office/drawing/2014/main" id="{FB34D169-9BE2-4B7B-AF99-CBD2DBFD43A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80"/>
          <a:stretch/>
        </p:blipFill>
        <p:spPr>
          <a:xfrm>
            <a:off x="5345395" y="3658533"/>
            <a:ext cx="1417850" cy="1580528"/>
          </a:xfrm>
          <a:prstGeom prst="rect">
            <a:avLst/>
          </a:prstGeom>
        </p:spPr>
      </p:pic>
      <p:grpSp>
        <p:nvGrpSpPr>
          <p:cNvPr id="386" name="Group 385">
            <a:extLst>
              <a:ext uri="{FF2B5EF4-FFF2-40B4-BE49-F238E27FC236}">
                <a16:creationId xmlns:a16="http://schemas.microsoft.com/office/drawing/2014/main" id="{20458D49-55D1-4C6D-8A1F-5B728CA6F46C}"/>
              </a:ext>
            </a:extLst>
          </p:cNvPr>
          <p:cNvGrpSpPr/>
          <p:nvPr/>
        </p:nvGrpSpPr>
        <p:grpSpPr>
          <a:xfrm>
            <a:off x="452588" y="2768163"/>
            <a:ext cx="4320000" cy="521132"/>
            <a:chOff x="431998" y="1497505"/>
            <a:chExt cx="7042690" cy="591271"/>
          </a:xfrm>
        </p:grpSpPr>
        <p:sp>
          <p:nvSpPr>
            <p:cNvPr id="387" name="Rectangle: Rounded Corners 386">
              <a:extLst>
                <a:ext uri="{FF2B5EF4-FFF2-40B4-BE49-F238E27FC236}">
                  <a16:creationId xmlns:a16="http://schemas.microsoft.com/office/drawing/2014/main" id="{DB179FCC-04D3-4F3E-BB4F-04E79AED9CE6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88" name="Rectangle: Rounded Corners 387">
              <a:extLst>
                <a:ext uri="{FF2B5EF4-FFF2-40B4-BE49-F238E27FC236}">
                  <a16:creationId xmlns:a16="http://schemas.microsoft.com/office/drawing/2014/main" id="{649FE731-D21E-4A9E-8F04-D51D398C422D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Давлат 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ташкилотининг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uz-Cyrl-UZ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раҳбари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389" name="Sev01">
            <a:extLst>
              <a:ext uri="{FF2B5EF4-FFF2-40B4-BE49-F238E27FC236}">
                <a16:creationId xmlns:a16="http://schemas.microsoft.com/office/drawing/2014/main" id="{5CFC4E12-2FC9-4847-9718-A925653CE0F5}"/>
              </a:ext>
            </a:extLst>
          </p:cNvPr>
          <p:cNvSpPr>
            <a:spLocks noChangeAspect="1"/>
          </p:cNvSpPr>
          <p:nvPr/>
        </p:nvSpPr>
        <p:spPr>
          <a:xfrm flipH="1">
            <a:off x="4588263" y="3403611"/>
            <a:ext cx="493802" cy="493800"/>
          </a:xfrm>
          <a:prstGeom prst="ellipse">
            <a:avLst/>
          </a:prstGeom>
          <a:solidFill>
            <a:schemeClr val="bg1"/>
          </a:solidFill>
          <a:ln w="12700">
            <a:solidFill>
              <a:srgbClr val="2112A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117588"/>
            <a:r>
              <a:rPr lang="ru-RU" b="1" dirty="0">
                <a:solidFill>
                  <a:srgbClr val="3A07DF"/>
                </a:solidFill>
              </a:rPr>
              <a:t>0</a:t>
            </a:r>
            <a:r>
              <a:rPr lang="en-US" b="1" dirty="0">
                <a:solidFill>
                  <a:srgbClr val="3A07DF"/>
                </a:solidFill>
              </a:rPr>
              <a:t>2</a:t>
            </a:r>
          </a:p>
        </p:txBody>
      </p: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45292CEA-D911-4EC5-8FCB-D21772314560}"/>
              </a:ext>
            </a:extLst>
          </p:cNvPr>
          <p:cNvGrpSpPr/>
          <p:nvPr/>
        </p:nvGrpSpPr>
        <p:grpSpPr>
          <a:xfrm>
            <a:off x="462318" y="3439711"/>
            <a:ext cx="4007142" cy="521132"/>
            <a:chOff x="431998" y="1497505"/>
            <a:chExt cx="7042690" cy="591271"/>
          </a:xfrm>
        </p:grpSpPr>
        <p:sp>
          <p:nvSpPr>
            <p:cNvPr id="391" name="Rectangle: Rounded Corners 390">
              <a:extLst>
                <a:ext uri="{FF2B5EF4-FFF2-40B4-BE49-F238E27FC236}">
                  <a16:creationId xmlns:a16="http://schemas.microsoft.com/office/drawing/2014/main" id="{E8DD1396-CE7F-4BE9-A686-0384255418B5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92" name="Rectangle: Rounded Corners 391">
              <a:extLst>
                <a:ext uri="{FF2B5EF4-FFF2-40B4-BE49-F238E27FC236}">
                  <a16:creationId xmlns:a16="http://schemas.microsoft.com/office/drawing/2014/main" id="{8EAEC428-02D2-4432-8D40-14C3FC805D62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Кадрлар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бўлими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</a:p>
          </p:txBody>
        </p:sp>
      </p:grpSp>
      <p:sp>
        <p:nvSpPr>
          <p:cNvPr id="393" name="Sev01">
            <a:extLst>
              <a:ext uri="{FF2B5EF4-FFF2-40B4-BE49-F238E27FC236}">
                <a16:creationId xmlns:a16="http://schemas.microsoft.com/office/drawing/2014/main" id="{1224724B-F1F7-4010-876F-53FF48D21E2C}"/>
              </a:ext>
            </a:extLst>
          </p:cNvPr>
          <p:cNvSpPr>
            <a:spLocks noChangeAspect="1"/>
          </p:cNvSpPr>
          <p:nvPr/>
        </p:nvSpPr>
        <p:spPr>
          <a:xfrm flipH="1">
            <a:off x="4578533" y="4123186"/>
            <a:ext cx="493802" cy="493800"/>
          </a:xfrm>
          <a:prstGeom prst="ellipse">
            <a:avLst/>
          </a:prstGeom>
          <a:solidFill>
            <a:schemeClr val="bg1"/>
          </a:solidFill>
          <a:ln w="12700">
            <a:solidFill>
              <a:srgbClr val="2112A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117588"/>
            <a:r>
              <a:rPr lang="ru-RU" b="1" dirty="0">
                <a:solidFill>
                  <a:srgbClr val="3A07DF"/>
                </a:solidFill>
              </a:rPr>
              <a:t>0</a:t>
            </a:r>
            <a:r>
              <a:rPr lang="en-US" b="1" dirty="0">
                <a:solidFill>
                  <a:srgbClr val="3A07DF"/>
                </a:solidFill>
              </a:rPr>
              <a:t>3</a:t>
            </a:r>
          </a:p>
        </p:txBody>
      </p:sp>
      <p:grpSp>
        <p:nvGrpSpPr>
          <p:cNvPr id="394" name="Group 393">
            <a:extLst>
              <a:ext uri="{FF2B5EF4-FFF2-40B4-BE49-F238E27FC236}">
                <a16:creationId xmlns:a16="http://schemas.microsoft.com/office/drawing/2014/main" id="{3D8E8580-D83B-41F2-8778-30AEE0A5A138}"/>
              </a:ext>
            </a:extLst>
          </p:cNvPr>
          <p:cNvGrpSpPr/>
          <p:nvPr/>
        </p:nvGrpSpPr>
        <p:grpSpPr>
          <a:xfrm>
            <a:off x="452588" y="4176193"/>
            <a:ext cx="4007142" cy="521132"/>
            <a:chOff x="431998" y="1497505"/>
            <a:chExt cx="7042690" cy="591271"/>
          </a:xfrm>
        </p:grpSpPr>
        <p:sp>
          <p:nvSpPr>
            <p:cNvPr id="395" name="Rectangle: Rounded Corners 394">
              <a:extLst>
                <a:ext uri="{FF2B5EF4-FFF2-40B4-BE49-F238E27FC236}">
                  <a16:creationId xmlns:a16="http://schemas.microsoft.com/office/drawing/2014/main" id="{684B146F-E5F2-4B35-B4ED-6DEE126D3599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96" name="Rectangle: Rounded Corners 395">
              <a:extLst>
                <a:ext uri="{FF2B5EF4-FFF2-40B4-BE49-F238E27FC236}">
                  <a16:creationId xmlns:a16="http://schemas.microsoft.com/office/drawing/2014/main" id="{2DDE67BF-7E07-4A22-9E5F-4891029147F2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Ички аудит</a:t>
              </a:r>
            </a:p>
          </p:txBody>
        </p:sp>
      </p:grpSp>
      <p:sp>
        <p:nvSpPr>
          <p:cNvPr id="397" name="Sev01">
            <a:extLst>
              <a:ext uri="{FF2B5EF4-FFF2-40B4-BE49-F238E27FC236}">
                <a16:creationId xmlns:a16="http://schemas.microsoft.com/office/drawing/2014/main" id="{9AD468FE-3F4D-4519-9CDF-01161B6C4D94}"/>
              </a:ext>
            </a:extLst>
          </p:cNvPr>
          <p:cNvSpPr>
            <a:spLocks noChangeAspect="1"/>
          </p:cNvSpPr>
          <p:nvPr/>
        </p:nvSpPr>
        <p:spPr>
          <a:xfrm flipH="1">
            <a:off x="4997344" y="4762942"/>
            <a:ext cx="493802" cy="493800"/>
          </a:xfrm>
          <a:prstGeom prst="ellipse">
            <a:avLst/>
          </a:prstGeom>
          <a:solidFill>
            <a:schemeClr val="bg1"/>
          </a:solidFill>
          <a:ln w="12700">
            <a:solidFill>
              <a:srgbClr val="2112A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117588"/>
            <a:r>
              <a:rPr lang="ru-RU" b="1" dirty="0">
                <a:solidFill>
                  <a:srgbClr val="3A07DF"/>
                </a:solidFill>
              </a:rPr>
              <a:t>0</a:t>
            </a:r>
            <a:r>
              <a:rPr lang="en-US" b="1" dirty="0">
                <a:solidFill>
                  <a:srgbClr val="3A07DF"/>
                </a:solidFill>
              </a:rPr>
              <a:t>4</a:t>
            </a:r>
          </a:p>
        </p:txBody>
      </p:sp>
      <p:grpSp>
        <p:nvGrpSpPr>
          <p:cNvPr id="398" name="Group 397">
            <a:extLst>
              <a:ext uri="{FF2B5EF4-FFF2-40B4-BE49-F238E27FC236}">
                <a16:creationId xmlns:a16="http://schemas.microsoft.com/office/drawing/2014/main" id="{D6B94D87-959C-4D85-961F-17E688D34157}"/>
              </a:ext>
            </a:extLst>
          </p:cNvPr>
          <p:cNvGrpSpPr/>
          <p:nvPr/>
        </p:nvGrpSpPr>
        <p:grpSpPr>
          <a:xfrm>
            <a:off x="452588" y="4849076"/>
            <a:ext cx="4320000" cy="521132"/>
            <a:chOff x="431998" y="1497505"/>
            <a:chExt cx="7042690" cy="591271"/>
          </a:xfrm>
        </p:grpSpPr>
        <p:sp>
          <p:nvSpPr>
            <p:cNvPr id="399" name="Rectangle: Rounded Corners 398">
              <a:extLst>
                <a:ext uri="{FF2B5EF4-FFF2-40B4-BE49-F238E27FC236}">
                  <a16:creationId xmlns:a16="http://schemas.microsoft.com/office/drawing/2014/main" id="{6C4A85F1-0AB3-48C4-8A2E-9A7DB72BDD3B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00" name="Rectangle: Rounded Corners 399">
              <a:extLst>
                <a:ext uri="{FF2B5EF4-FFF2-40B4-BE49-F238E27FC236}">
                  <a16:creationId xmlns:a16="http://schemas.microsoft.com/office/drawing/2014/main" id="{321A0AA3-52D2-4B58-95C4-33196C2A24D1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Одоб-ахлоқ 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комиссияси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401" name="Sev01">
            <a:extLst>
              <a:ext uri="{FF2B5EF4-FFF2-40B4-BE49-F238E27FC236}">
                <a16:creationId xmlns:a16="http://schemas.microsoft.com/office/drawing/2014/main" id="{D40F5C45-208E-4145-AE50-D9454EFFEEB9}"/>
              </a:ext>
            </a:extLst>
          </p:cNvPr>
          <p:cNvSpPr>
            <a:spLocks noChangeAspect="1"/>
          </p:cNvSpPr>
          <p:nvPr/>
        </p:nvSpPr>
        <p:spPr>
          <a:xfrm flipH="1">
            <a:off x="5849099" y="5061100"/>
            <a:ext cx="493802" cy="493800"/>
          </a:xfrm>
          <a:prstGeom prst="ellipse">
            <a:avLst/>
          </a:prstGeom>
          <a:solidFill>
            <a:schemeClr val="bg1"/>
          </a:solidFill>
          <a:ln w="12700">
            <a:solidFill>
              <a:srgbClr val="2112A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117588"/>
            <a:r>
              <a:rPr lang="ru-RU" b="1" dirty="0">
                <a:solidFill>
                  <a:srgbClr val="3A07DF"/>
                </a:solidFill>
              </a:rPr>
              <a:t>0</a:t>
            </a:r>
            <a:r>
              <a:rPr lang="en-US" b="1" dirty="0">
                <a:solidFill>
                  <a:srgbClr val="3A07DF"/>
                </a:solidFill>
              </a:rPr>
              <a:t>5</a:t>
            </a:r>
          </a:p>
        </p:txBody>
      </p:sp>
      <p:grpSp>
        <p:nvGrpSpPr>
          <p:cNvPr id="402" name="Group 401">
            <a:extLst>
              <a:ext uri="{FF2B5EF4-FFF2-40B4-BE49-F238E27FC236}">
                <a16:creationId xmlns:a16="http://schemas.microsoft.com/office/drawing/2014/main" id="{72AB066E-7160-476C-9AD1-F05D8A41C48D}"/>
              </a:ext>
            </a:extLst>
          </p:cNvPr>
          <p:cNvGrpSpPr/>
          <p:nvPr/>
        </p:nvGrpSpPr>
        <p:grpSpPr>
          <a:xfrm>
            <a:off x="3924195" y="5698599"/>
            <a:ext cx="4320000" cy="521132"/>
            <a:chOff x="431998" y="1497505"/>
            <a:chExt cx="7042690" cy="591271"/>
          </a:xfrm>
        </p:grpSpPr>
        <p:sp>
          <p:nvSpPr>
            <p:cNvPr id="403" name="Rectangle: Rounded Corners 402">
              <a:extLst>
                <a:ext uri="{FF2B5EF4-FFF2-40B4-BE49-F238E27FC236}">
                  <a16:creationId xmlns:a16="http://schemas.microsoft.com/office/drawing/2014/main" id="{9EB55FDC-D23A-4877-A249-C54BA96E577F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04" name="Rectangle: Rounded Corners 403">
              <a:extLst>
                <a:ext uri="{FF2B5EF4-FFF2-40B4-BE49-F238E27FC236}">
                  <a16:creationId xmlns:a16="http://schemas.microsoft.com/office/drawing/2014/main" id="{4B549356-8134-4D4F-AD4C-1208BD826A28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pPr algn="ctr"/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Мурожаатлар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билан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ишлаш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сектори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4D970E5-592B-4289-9D2A-127375D05304}"/>
              </a:ext>
            </a:extLst>
          </p:cNvPr>
          <p:cNvGrpSpPr/>
          <p:nvPr/>
        </p:nvGrpSpPr>
        <p:grpSpPr>
          <a:xfrm flipH="1">
            <a:off x="6674169" y="2762689"/>
            <a:ext cx="912613" cy="2494053"/>
            <a:chOff x="7191495" y="2762689"/>
            <a:chExt cx="912613" cy="2494053"/>
          </a:xfrm>
        </p:grpSpPr>
        <p:sp>
          <p:nvSpPr>
            <p:cNvPr id="405" name="Sev01">
              <a:extLst>
                <a:ext uri="{FF2B5EF4-FFF2-40B4-BE49-F238E27FC236}">
                  <a16:creationId xmlns:a16="http://schemas.microsoft.com/office/drawing/2014/main" id="{C1654DD7-9697-41F7-93F1-9EEFD4AD6D71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610306" y="2762689"/>
              <a:ext cx="493802" cy="4938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2112AE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117588"/>
              <a:r>
                <a:rPr lang="ru-RU" b="1" dirty="0">
                  <a:solidFill>
                    <a:srgbClr val="3A07DF"/>
                  </a:solidFill>
                </a:rPr>
                <a:t>0</a:t>
              </a:r>
              <a:r>
                <a:rPr lang="en-US" b="1" dirty="0">
                  <a:solidFill>
                    <a:srgbClr val="3A07DF"/>
                  </a:solidFill>
                </a:rPr>
                <a:t>9</a:t>
              </a:r>
            </a:p>
          </p:txBody>
        </p:sp>
        <p:sp>
          <p:nvSpPr>
            <p:cNvPr id="406" name="Sev01">
              <a:extLst>
                <a:ext uri="{FF2B5EF4-FFF2-40B4-BE49-F238E27FC236}">
                  <a16:creationId xmlns:a16="http://schemas.microsoft.com/office/drawing/2014/main" id="{0EDA9FFD-9F8B-40F8-8298-360FE0244BCF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201225" y="3403611"/>
              <a:ext cx="493802" cy="4938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2112AE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117588"/>
              <a:r>
                <a:rPr lang="ru-RU" b="1" dirty="0">
                  <a:solidFill>
                    <a:srgbClr val="3A07DF"/>
                  </a:solidFill>
                </a:rPr>
                <a:t>0</a:t>
              </a:r>
              <a:r>
                <a:rPr lang="en-US" b="1" dirty="0">
                  <a:solidFill>
                    <a:srgbClr val="3A07DF"/>
                  </a:solidFill>
                </a:rPr>
                <a:t>8</a:t>
              </a:r>
            </a:p>
          </p:txBody>
        </p:sp>
        <p:sp>
          <p:nvSpPr>
            <p:cNvPr id="407" name="Sev01">
              <a:extLst>
                <a:ext uri="{FF2B5EF4-FFF2-40B4-BE49-F238E27FC236}">
                  <a16:creationId xmlns:a16="http://schemas.microsoft.com/office/drawing/2014/main" id="{81EC82DC-0319-41A0-9E83-AEE0B5CF3896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191495" y="4123186"/>
              <a:ext cx="493802" cy="4938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2112AE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117588"/>
              <a:r>
                <a:rPr lang="ru-RU" b="1" dirty="0">
                  <a:solidFill>
                    <a:srgbClr val="3A07DF"/>
                  </a:solidFill>
                </a:rPr>
                <a:t>0</a:t>
              </a:r>
              <a:r>
                <a:rPr lang="en-US" b="1" dirty="0">
                  <a:solidFill>
                    <a:srgbClr val="3A07DF"/>
                  </a:solidFill>
                </a:rPr>
                <a:t>7</a:t>
              </a:r>
            </a:p>
          </p:txBody>
        </p:sp>
        <p:sp>
          <p:nvSpPr>
            <p:cNvPr id="408" name="Sev01">
              <a:extLst>
                <a:ext uri="{FF2B5EF4-FFF2-40B4-BE49-F238E27FC236}">
                  <a16:creationId xmlns:a16="http://schemas.microsoft.com/office/drawing/2014/main" id="{CEAE6A21-00E4-4E51-8F01-5EBDD62E408F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7610306" y="4762942"/>
              <a:ext cx="493802" cy="4938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2112AE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117588"/>
              <a:r>
                <a:rPr lang="ru-RU" b="1" dirty="0">
                  <a:solidFill>
                    <a:srgbClr val="3A07DF"/>
                  </a:solidFill>
                </a:rPr>
                <a:t>0</a:t>
              </a:r>
              <a:r>
                <a:rPr lang="en-US" b="1" dirty="0">
                  <a:solidFill>
                    <a:srgbClr val="3A07DF"/>
                  </a:solidFill>
                </a:rPr>
                <a:t>6</a:t>
              </a:r>
            </a:p>
          </p:txBody>
        </p:sp>
      </p:grpSp>
      <p:grpSp>
        <p:nvGrpSpPr>
          <p:cNvPr id="409" name="Group 408">
            <a:extLst>
              <a:ext uri="{FF2B5EF4-FFF2-40B4-BE49-F238E27FC236}">
                <a16:creationId xmlns:a16="http://schemas.microsoft.com/office/drawing/2014/main" id="{F63DF0BF-BC59-49F9-A880-B9C1C5F43A01}"/>
              </a:ext>
            </a:extLst>
          </p:cNvPr>
          <p:cNvGrpSpPr/>
          <p:nvPr/>
        </p:nvGrpSpPr>
        <p:grpSpPr>
          <a:xfrm>
            <a:off x="7451677" y="2768163"/>
            <a:ext cx="4320000" cy="521132"/>
            <a:chOff x="431998" y="1497505"/>
            <a:chExt cx="7042690" cy="591271"/>
          </a:xfrm>
        </p:grpSpPr>
        <p:sp>
          <p:nvSpPr>
            <p:cNvPr id="410" name="Rectangle: Rounded Corners 409">
              <a:extLst>
                <a:ext uri="{FF2B5EF4-FFF2-40B4-BE49-F238E27FC236}">
                  <a16:creationId xmlns:a16="http://schemas.microsoft.com/office/drawing/2014/main" id="{DF4FB05D-F4F1-49A2-B201-C5E457A70F0E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11" name="Rectangle: Rounded Corners 410">
              <a:extLst>
                <a:ext uri="{FF2B5EF4-FFF2-40B4-BE49-F238E27FC236}">
                  <a16:creationId xmlns:a16="http://schemas.microsoft.com/office/drawing/2014/main" id="{65E6C560-1FC5-41B4-926B-35131D1387A2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Юридик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хизмат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</a:p>
          </p:txBody>
        </p:sp>
      </p:grp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FECB6080-161D-4E17-BDF3-5F154CC4FBD9}"/>
              </a:ext>
            </a:extLst>
          </p:cNvPr>
          <p:cNvGrpSpPr/>
          <p:nvPr/>
        </p:nvGrpSpPr>
        <p:grpSpPr>
          <a:xfrm>
            <a:off x="7764535" y="3439711"/>
            <a:ext cx="4007142" cy="521132"/>
            <a:chOff x="431998" y="1497505"/>
            <a:chExt cx="7042690" cy="591271"/>
          </a:xfrm>
        </p:grpSpPr>
        <p:sp>
          <p:nvSpPr>
            <p:cNvPr id="413" name="Rectangle: Rounded Corners 412">
              <a:extLst>
                <a:ext uri="{FF2B5EF4-FFF2-40B4-BE49-F238E27FC236}">
                  <a16:creationId xmlns:a16="http://schemas.microsoft.com/office/drawing/2014/main" id="{44C54D91-8199-4516-A07F-9485723A5823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14" name="Rectangle: Rounded Corners 413">
              <a:extLst>
                <a:ext uri="{FF2B5EF4-FFF2-40B4-BE49-F238E27FC236}">
                  <a16:creationId xmlns:a16="http://schemas.microsoft.com/office/drawing/2014/main" id="{7B584DA8-3A93-4992-BABA-381C113EB429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Бухгалтерия</a:t>
              </a:r>
            </a:p>
          </p:txBody>
        </p:sp>
      </p:grpSp>
      <p:grpSp>
        <p:nvGrpSpPr>
          <p:cNvPr id="415" name="Group 414">
            <a:extLst>
              <a:ext uri="{FF2B5EF4-FFF2-40B4-BE49-F238E27FC236}">
                <a16:creationId xmlns:a16="http://schemas.microsoft.com/office/drawing/2014/main" id="{E3D2519B-367A-4577-9E06-1097D203E117}"/>
              </a:ext>
            </a:extLst>
          </p:cNvPr>
          <p:cNvGrpSpPr/>
          <p:nvPr/>
        </p:nvGrpSpPr>
        <p:grpSpPr>
          <a:xfrm>
            <a:off x="7764535" y="4176193"/>
            <a:ext cx="4007142" cy="521132"/>
            <a:chOff x="431998" y="1497505"/>
            <a:chExt cx="7042690" cy="591271"/>
          </a:xfrm>
        </p:grpSpPr>
        <p:sp>
          <p:nvSpPr>
            <p:cNvPr id="416" name="Rectangle: Rounded Corners 415">
              <a:extLst>
                <a:ext uri="{FF2B5EF4-FFF2-40B4-BE49-F238E27FC236}">
                  <a16:creationId xmlns:a16="http://schemas.microsoft.com/office/drawing/2014/main" id="{C0C162F4-2C16-42A7-BC54-747940A42C97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17" name="Rectangle: Rounded Corners 416">
              <a:extLst>
                <a:ext uri="{FF2B5EF4-FFF2-40B4-BE49-F238E27FC236}">
                  <a16:creationId xmlns:a16="http://schemas.microsoft.com/office/drawing/2014/main" id="{37121869-C9DF-4A37-AA2A-4C94C37A42AA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Харид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комиссияси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418" name="Group 417">
            <a:extLst>
              <a:ext uri="{FF2B5EF4-FFF2-40B4-BE49-F238E27FC236}">
                <a16:creationId xmlns:a16="http://schemas.microsoft.com/office/drawing/2014/main" id="{7031D14B-6CAF-44AB-9BF1-0ACA7DC8003A}"/>
              </a:ext>
            </a:extLst>
          </p:cNvPr>
          <p:cNvGrpSpPr/>
          <p:nvPr/>
        </p:nvGrpSpPr>
        <p:grpSpPr>
          <a:xfrm>
            <a:off x="7451677" y="4849076"/>
            <a:ext cx="4320000" cy="521132"/>
            <a:chOff x="431998" y="1497505"/>
            <a:chExt cx="7042690" cy="591271"/>
          </a:xfrm>
        </p:grpSpPr>
        <p:sp>
          <p:nvSpPr>
            <p:cNvPr id="419" name="Rectangle: Rounded Corners 418">
              <a:extLst>
                <a:ext uri="{FF2B5EF4-FFF2-40B4-BE49-F238E27FC236}">
                  <a16:creationId xmlns:a16="http://schemas.microsoft.com/office/drawing/2014/main" id="{BD5771FC-AC6E-47EE-A56E-378FBB4C0917}"/>
                </a:ext>
              </a:extLst>
            </p:cNvPr>
            <p:cNvSpPr/>
            <p:nvPr/>
          </p:nvSpPr>
          <p:spPr>
            <a:xfrm>
              <a:off x="552610" y="1567216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20" name="Rectangle: Rounded Corners 419">
              <a:extLst>
                <a:ext uri="{FF2B5EF4-FFF2-40B4-BE49-F238E27FC236}">
                  <a16:creationId xmlns:a16="http://schemas.microsoft.com/office/drawing/2014/main" id="{985CC844-F7F0-4B3D-BCFA-0ACB2EA7BD18}"/>
                </a:ext>
              </a:extLst>
            </p:cNvPr>
            <p:cNvSpPr/>
            <p:nvPr/>
          </p:nvSpPr>
          <p:spPr>
            <a:xfrm>
              <a:off x="431998" y="1497505"/>
              <a:ext cx="6979805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Матбуот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+mj-lt"/>
                  <a:ea typeface="Golos Text" panose="020B0503020202020204" pitchFamily="34" charset="0"/>
                </a:rPr>
                <a:t>хизмати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36708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9453C43-565A-4C25-BFBB-A1F03FB07CB3}"/>
              </a:ext>
            </a:extLst>
          </p:cNvPr>
          <p:cNvSpPr txBox="1"/>
          <p:nvPr/>
        </p:nvSpPr>
        <p:spPr>
          <a:xfrm>
            <a:off x="838199" y="432642"/>
            <a:ext cx="1056552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3BA6E7-64A1-4B2E-ADE4-3761F96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Комплаенс </a:t>
            </a:r>
            <a:r>
              <a:rPr lang="ru-RU" sz="2200" dirty="0" err="1"/>
              <a:t>бўлинманинг</a:t>
            </a:r>
            <a:r>
              <a:rPr lang="ru-RU" sz="2200" dirty="0"/>
              <a:t> </a:t>
            </a:r>
            <a:r>
              <a:rPr lang="ru-RU" sz="2200" dirty="0" err="1"/>
              <a:t>ўрни</a:t>
            </a:r>
            <a:r>
              <a:rPr lang="ru-RU" sz="2200" dirty="0"/>
              <a:t> </a:t>
            </a:r>
            <a:r>
              <a:rPr lang="ru-RU" sz="2200" dirty="0" err="1"/>
              <a:t>ва</a:t>
            </a:r>
            <a:r>
              <a:rPr lang="ru-RU" sz="2200" dirty="0"/>
              <a:t> роли: </a:t>
            </a:r>
            <a:br>
              <a:rPr lang="ru-RU" sz="2200" dirty="0"/>
            </a:br>
            <a:r>
              <a:rPr lang="ru-RU" sz="2200" dirty="0"/>
              <a:t>Ўзбекистон </a:t>
            </a:r>
            <a:r>
              <a:rPr lang="ru-RU" sz="2200" dirty="0" err="1"/>
              <a:t>Республикасида</a:t>
            </a:r>
            <a:r>
              <a:rPr lang="ru-RU" sz="2200" dirty="0"/>
              <a:t> комплаенс </a:t>
            </a:r>
            <a:r>
              <a:rPr lang="ru-RU" sz="2200" dirty="0" err="1"/>
              <a:t>функцияларини</a:t>
            </a:r>
            <a:r>
              <a:rPr lang="ru-RU" sz="2200" dirty="0"/>
              <a:t> </a:t>
            </a:r>
            <a:r>
              <a:rPr lang="ru-RU" sz="2200" dirty="0" err="1"/>
              <a:t>ташкил</a:t>
            </a:r>
            <a:r>
              <a:rPr lang="ru-RU" sz="2200" dirty="0"/>
              <a:t> </a:t>
            </a:r>
            <a:r>
              <a:rPr lang="ru-RU" sz="2200" dirty="0" err="1"/>
              <a:t>этиш</a:t>
            </a:r>
            <a:r>
              <a:rPr lang="ru-RU" sz="2200" dirty="0"/>
              <a:t> </a:t>
            </a:r>
            <a:r>
              <a:rPr lang="ru-RU" sz="2200" dirty="0" err="1"/>
              <a:t>амалиёти</a:t>
            </a:r>
            <a:r>
              <a:rPr lang="ru-RU" sz="2200" dirty="0"/>
              <a:t> (7/9)</a:t>
            </a:r>
            <a:endParaRPr lang="en-US" sz="22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9E3422E-A004-4445-963F-94854DB5792A}"/>
              </a:ext>
            </a:extLst>
          </p:cNvPr>
          <p:cNvGrpSpPr/>
          <p:nvPr/>
        </p:nvGrpSpPr>
        <p:grpSpPr>
          <a:xfrm>
            <a:off x="448934" y="1139479"/>
            <a:ext cx="11300154" cy="1588083"/>
            <a:chOff x="448934" y="1139479"/>
            <a:chExt cx="11300154" cy="1588083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33D30F16-89FA-4F90-AEFA-A3D1859C7797}"/>
                </a:ext>
              </a:extLst>
            </p:cNvPr>
            <p:cNvSpPr/>
            <p:nvPr/>
          </p:nvSpPr>
          <p:spPr>
            <a:xfrm>
              <a:off x="448935" y="2106349"/>
              <a:ext cx="3537195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ррупцияга қарши курашиш комплаенс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изимининг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ишлаш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давлат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от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узилмасин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сдиқлаш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ресурсларн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қсимлаш</a:t>
              </a:r>
              <a:endPara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ррупцияга қарши ички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ҳужжатларн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сдиқлаш</a:t>
              </a:r>
              <a:endPara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доб-ахлоқ 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коррупцияга қарши курашиш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оҳасидаг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оидабузарликлар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интизомий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жавобгарликк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ортиш</a:t>
              </a:r>
              <a:endPara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ррупцияга қарши курашиш комплаенс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изимининг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ҳолат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ўғрисидаг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ҳисоботларн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ўриб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чиқиш</a:t>
              </a:r>
              <a:endPara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DC70BEA-D492-4827-AF51-D143BC96D2B9}"/>
                </a:ext>
              </a:extLst>
            </p:cNvPr>
            <p:cNvGrpSpPr/>
            <p:nvPr/>
          </p:nvGrpSpPr>
          <p:grpSpPr>
            <a:xfrm>
              <a:off x="448934" y="1139479"/>
              <a:ext cx="3581162" cy="981502"/>
              <a:chOff x="448933" y="916722"/>
              <a:chExt cx="2110629" cy="981502"/>
            </a:xfrm>
          </p:grpSpPr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A691F954-42D8-41DE-A19F-7EA4A256EC7D}"/>
                  </a:ext>
                </a:extLst>
              </p:cNvPr>
              <p:cNvSpPr/>
              <p:nvPr/>
            </p:nvSpPr>
            <p:spPr>
              <a:xfrm>
                <a:off x="448933" y="1712800"/>
                <a:ext cx="2084718" cy="14175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F0145756-2D2A-4B58-986C-330F4E384E8F}"/>
                  </a:ext>
                </a:extLst>
              </p:cNvPr>
              <p:cNvSpPr/>
              <p:nvPr/>
            </p:nvSpPr>
            <p:spPr>
              <a:xfrm>
                <a:off x="453588" y="916722"/>
                <a:ext cx="861633" cy="981502"/>
              </a:xfrm>
              <a:prstGeom prst="rect">
                <a:avLst/>
              </a:prstGeom>
            </p:spPr>
            <p:txBody>
              <a:bodyPr wrap="none" lIns="0" tIns="0" bIns="0" anchor="t">
                <a:noAutofit/>
              </a:bodyPr>
              <a:lstStyle/>
              <a:p>
                <a:r>
                  <a:rPr lang="ru-RU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01</a:t>
                </a:r>
                <a:endParaRPr lang="en-US" sz="6000" spc="-244" dirty="0">
                  <a:solidFill>
                    <a:schemeClr val="accent4">
                      <a:lumMod val="40000"/>
                      <a:lumOff val="60000"/>
                      <a:alpha val="36000"/>
                    </a:schemeClr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924F2114-3A07-420E-A9C1-47044D41C033}"/>
                  </a:ext>
                </a:extLst>
              </p:cNvPr>
              <p:cNvSpPr/>
              <p:nvPr/>
            </p:nvSpPr>
            <p:spPr>
              <a:xfrm>
                <a:off x="474844" y="1210818"/>
                <a:ext cx="2084718" cy="62121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4371" tIns="44371" rIns="44371" bIns="44371" rtlCol="0" anchor="b">
                <a:noAutofit/>
              </a:bodyPr>
              <a:lstStyle/>
              <a:p>
                <a:r>
                  <a:rPr lang="ru-RU" sz="16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Давлат </a:t>
                </a:r>
                <a:r>
                  <a:rPr lang="ru-RU" sz="16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ташкилотининг</a:t>
                </a:r>
                <a:r>
                  <a:rPr lang="ru-RU" sz="16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 </a:t>
                </a:r>
              </a:p>
              <a:p>
                <a:r>
                  <a:rPr lang="ru-RU" sz="16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раҳбари</a:t>
                </a:r>
                <a:endPara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endParaRPr>
              </a:p>
            </p:txBody>
          </p:sp>
        </p:grp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DAF6784-F4C6-484F-A7A1-EF2F15A5DDC8}"/>
                </a:ext>
              </a:extLst>
            </p:cNvPr>
            <p:cNvSpPr/>
            <p:nvPr/>
          </p:nvSpPr>
          <p:spPr>
            <a:xfrm>
              <a:off x="4330413" y="2106349"/>
              <a:ext cx="3640938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одимлар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иш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этикас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коррупцияга қарши курашиш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мплаенс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оҳасидаг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ички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ужжатлар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илан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ништириш</a:t>
              </a:r>
              <a:endParaRPr lang="ru-RU" sz="13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одимлар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доб-ахлоқ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коррупцияга қарши комплаенс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йич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ўқитиш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жараёни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этиш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ўллаб-қувватлаш</a:t>
              </a:r>
              <a:endParaRPr lang="ru-RU" sz="13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нфаатлар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ўқнашув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вжудлиги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/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йўқлиги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декларация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илиниши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декларациялар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ақланиши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ъминланиши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этиш</a:t>
              </a:r>
              <a:endParaRPr lang="ru-RU" sz="13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нфаатлар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ўқнашув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реестри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юритиш</a:t>
              </a:r>
              <a:endParaRPr lang="ru-RU" sz="13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доб-ахлоқ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коррупцияга қарши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мплаенс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оҳасидаг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оидабузарликлар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ергов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илишд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иштирок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этиш</a:t>
              </a:r>
              <a:endParaRPr lang="ru-RU" sz="13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ррупцияга қарши курашиш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оҳасид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ўқитиш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йич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статистик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ълумотлар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узиш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ларни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комплаенс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линмасига</a:t>
              </a:r>
              <a:r>
                <a:rPr lang="ru-RU" sz="13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ўтказиш</a:t>
              </a:r>
              <a:endParaRPr lang="ru-RU" sz="13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433B93B-E45B-4632-9CC4-BBC7CBFD5C86}"/>
                </a:ext>
              </a:extLst>
            </p:cNvPr>
            <p:cNvGrpSpPr/>
            <p:nvPr/>
          </p:nvGrpSpPr>
          <p:grpSpPr>
            <a:xfrm>
              <a:off x="4330410" y="1139479"/>
              <a:ext cx="3537200" cy="981502"/>
              <a:chOff x="448932" y="916722"/>
              <a:chExt cx="2084719" cy="981502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150DEF11-D8E1-4C2F-98E9-7B920322C64F}"/>
                  </a:ext>
                </a:extLst>
              </p:cNvPr>
              <p:cNvSpPr/>
              <p:nvPr/>
            </p:nvSpPr>
            <p:spPr>
              <a:xfrm>
                <a:off x="453588" y="916722"/>
                <a:ext cx="861633" cy="981502"/>
              </a:xfrm>
              <a:prstGeom prst="rect">
                <a:avLst/>
              </a:prstGeom>
            </p:spPr>
            <p:txBody>
              <a:bodyPr wrap="none" lIns="0" tIns="0" bIns="0" anchor="t">
                <a:noAutofit/>
              </a:bodyPr>
              <a:lstStyle/>
              <a:p>
                <a:r>
                  <a:rPr lang="ru-RU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0</a:t>
                </a:r>
                <a:r>
                  <a:rPr lang="en-US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3AEDCD43-6798-4104-ACA4-71A0E7D6488E}"/>
                  </a:ext>
                </a:extLst>
              </p:cNvPr>
              <p:cNvSpPr/>
              <p:nvPr/>
            </p:nvSpPr>
            <p:spPr>
              <a:xfrm>
                <a:off x="448933" y="1712800"/>
                <a:ext cx="2084718" cy="14175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6AC22751-EAA7-4A50-A9A9-0C357E7DA82C}"/>
                  </a:ext>
                </a:extLst>
              </p:cNvPr>
              <p:cNvSpPr/>
              <p:nvPr/>
            </p:nvSpPr>
            <p:spPr>
              <a:xfrm>
                <a:off x="448932" y="1244854"/>
                <a:ext cx="2084718" cy="62121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4371" tIns="44371" rIns="44371" bIns="44371" rtlCol="0" anchor="b">
                <a:noAutofit/>
              </a:bodyPr>
              <a:lstStyle/>
              <a:p>
                <a:r>
                  <a:rPr lang="ru-RU" sz="16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Кадрлар</a:t>
                </a:r>
                <a:br>
                  <a:rPr lang="ru-RU" sz="16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</a:br>
                <a:r>
                  <a:rPr lang="ru-RU" sz="16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бўлими</a:t>
                </a:r>
                <a:endPara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endParaRPr>
              </a:p>
            </p:txBody>
          </p:sp>
        </p:grp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5E47043B-A766-4A05-B80A-3D026A95E4BE}"/>
                </a:ext>
              </a:extLst>
            </p:cNvPr>
            <p:cNvSpPr/>
            <p:nvPr/>
          </p:nvSpPr>
          <p:spPr>
            <a:xfrm>
              <a:off x="8211891" y="2106349"/>
              <a:ext cx="3537195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ррупция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авфиг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дучор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ладиган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функцияларн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екшириш</a:t>
              </a:r>
              <a:endPara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ррупцияга қарши курашиш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изимин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онун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ҳужжатлариг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ISO37001:2016 га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увофиқлиг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юзасидан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унтазам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ички аудит</a:t>
              </a:r>
            </a:p>
            <a:p>
              <a:pPr marL="285750" indent="-285750">
                <a:spcAft>
                  <a:spcPts val="600"/>
                </a:spcAft>
                <a:buClr>
                  <a:schemeClr val="accent4"/>
                </a:buClr>
                <a:buFont typeface="Arial" panose="020B0604020202020204" pitchFamily="34" charset="0"/>
                <a:buChar char="►"/>
              </a:pP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ррупцияга қарши курашиш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ртиб-таомилларин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амалг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шириш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комиллаштириш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йич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клифлар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ишлаб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чиқиш</a:t>
              </a:r>
              <a:endPara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59DCC04-BB90-4989-A458-2267AEF2187C}"/>
                </a:ext>
              </a:extLst>
            </p:cNvPr>
            <p:cNvGrpSpPr/>
            <p:nvPr/>
          </p:nvGrpSpPr>
          <p:grpSpPr>
            <a:xfrm>
              <a:off x="8211888" y="1139479"/>
              <a:ext cx="3537200" cy="981502"/>
              <a:chOff x="448932" y="916722"/>
              <a:chExt cx="2084719" cy="981502"/>
            </a:xfrm>
          </p:grpSpPr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65F376D8-B0BE-4867-A1F6-872C260E6AAB}"/>
                  </a:ext>
                </a:extLst>
              </p:cNvPr>
              <p:cNvSpPr/>
              <p:nvPr/>
            </p:nvSpPr>
            <p:spPr>
              <a:xfrm>
                <a:off x="448933" y="1712800"/>
                <a:ext cx="2084718" cy="14175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6E65FEB8-7553-4166-A35B-6785EB5E98F1}"/>
                  </a:ext>
                </a:extLst>
              </p:cNvPr>
              <p:cNvSpPr/>
              <p:nvPr/>
            </p:nvSpPr>
            <p:spPr>
              <a:xfrm>
                <a:off x="453588" y="916722"/>
                <a:ext cx="861633" cy="981502"/>
              </a:xfrm>
              <a:prstGeom prst="rect">
                <a:avLst/>
              </a:prstGeom>
            </p:spPr>
            <p:txBody>
              <a:bodyPr wrap="none" lIns="0" tIns="0" bIns="0" anchor="t">
                <a:noAutofit/>
              </a:bodyPr>
              <a:lstStyle/>
              <a:p>
                <a:r>
                  <a:rPr lang="ru-RU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0</a:t>
                </a:r>
                <a:r>
                  <a:rPr lang="en-US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9B4C723A-C447-46CD-9608-35A87B6A7C21}"/>
                  </a:ext>
                </a:extLst>
              </p:cNvPr>
              <p:cNvSpPr/>
              <p:nvPr/>
            </p:nvSpPr>
            <p:spPr>
              <a:xfrm>
                <a:off x="448932" y="1244854"/>
                <a:ext cx="2084718" cy="62121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4371" tIns="44371" rIns="44371" bIns="44371" rtlCol="0" anchor="b">
                <a:noAutofit/>
              </a:bodyPr>
              <a:lstStyle/>
              <a:p>
                <a:r>
                  <a:rPr lang="ru-RU" sz="16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Ички </a:t>
                </a:r>
              </a:p>
              <a:p>
                <a:r>
                  <a:rPr lang="ru-RU" sz="16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аудит</a:t>
                </a:r>
              </a:p>
            </p:txBody>
          </p:sp>
        </p:grpSp>
        <p:grpSp>
          <p:nvGrpSpPr>
            <p:cNvPr id="62" name="Group 2089">
              <a:extLst>
                <a:ext uri="{FF2B5EF4-FFF2-40B4-BE49-F238E27FC236}">
                  <a16:creationId xmlns:a16="http://schemas.microsoft.com/office/drawing/2014/main" id="{B84F82AC-5A1B-40C2-B1BD-4AAE28EFFC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24123" y="1377065"/>
              <a:ext cx="705054" cy="705057"/>
              <a:chOff x="7085" y="1222"/>
              <a:chExt cx="173" cy="173"/>
            </a:xfrm>
            <a:solidFill>
              <a:srgbClr val="B1C7F7">
                <a:alpha val="50000"/>
              </a:srgbClr>
            </a:solidFill>
          </p:grpSpPr>
          <p:sp>
            <p:nvSpPr>
              <p:cNvPr id="63" name="Freeform 2090">
                <a:extLst>
                  <a:ext uri="{FF2B5EF4-FFF2-40B4-BE49-F238E27FC236}">
                    <a16:creationId xmlns:a16="http://schemas.microsoft.com/office/drawing/2014/main" id="{38D3E08E-ABC6-4C97-9150-B770B6B44D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85" y="1222"/>
                <a:ext cx="173" cy="173"/>
              </a:xfrm>
              <a:custGeom>
                <a:avLst/>
                <a:gdLst>
                  <a:gd name="T0" fmla="*/ 6933 w 8267"/>
                  <a:gd name="T1" fmla="*/ 2098 h 8267"/>
                  <a:gd name="T2" fmla="*/ 5467 w 8267"/>
                  <a:gd name="T3" fmla="*/ 1333 h 8267"/>
                  <a:gd name="T4" fmla="*/ 3078 w 8267"/>
                  <a:gd name="T5" fmla="*/ 2504 h 8267"/>
                  <a:gd name="T6" fmla="*/ 1867 w 8267"/>
                  <a:gd name="T7" fmla="*/ 0 h 8267"/>
                  <a:gd name="T8" fmla="*/ 475 w 8267"/>
                  <a:gd name="T9" fmla="*/ 2558 h 8267"/>
                  <a:gd name="T10" fmla="*/ 552 w 8267"/>
                  <a:gd name="T11" fmla="*/ 2814 h 8267"/>
                  <a:gd name="T12" fmla="*/ 2546 w 8267"/>
                  <a:gd name="T13" fmla="*/ 3495 h 8267"/>
                  <a:gd name="T14" fmla="*/ 1333 w 8267"/>
                  <a:gd name="T15" fmla="*/ 5501 h 8267"/>
                  <a:gd name="T16" fmla="*/ 1733 w 8267"/>
                  <a:gd name="T17" fmla="*/ 7733 h 8267"/>
                  <a:gd name="T18" fmla="*/ 8267 w 8267"/>
                  <a:gd name="T19" fmla="*/ 7600 h 8267"/>
                  <a:gd name="T20" fmla="*/ 7333 w 8267"/>
                  <a:gd name="T21" fmla="*/ 4533 h 8267"/>
                  <a:gd name="T22" fmla="*/ 5367 w 8267"/>
                  <a:gd name="T23" fmla="*/ 2729 h 8267"/>
                  <a:gd name="T24" fmla="*/ 8000 w 8267"/>
                  <a:gd name="T25" fmla="*/ 3197 h 8267"/>
                  <a:gd name="T26" fmla="*/ 1922 w 8267"/>
                  <a:gd name="T27" fmla="*/ 933 h 8267"/>
                  <a:gd name="T28" fmla="*/ 1200 w 8267"/>
                  <a:gd name="T29" fmla="*/ 933 h 8267"/>
                  <a:gd name="T30" fmla="*/ 1600 w 8267"/>
                  <a:gd name="T31" fmla="*/ 1104 h 8267"/>
                  <a:gd name="T32" fmla="*/ 1200 w 8267"/>
                  <a:gd name="T33" fmla="*/ 1333 h 8267"/>
                  <a:gd name="T34" fmla="*/ 2133 w 8267"/>
                  <a:gd name="T35" fmla="*/ 2227 h 8267"/>
                  <a:gd name="T36" fmla="*/ 5867 w 8267"/>
                  <a:gd name="T37" fmla="*/ 5501 h 8267"/>
                  <a:gd name="T38" fmla="*/ 5124 w 8267"/>
                  <a:gd name="T39" fmla="*/ 5061 h 8267"/>
                  <a:gd name="T40" fmla="*/ 4133 w 8267"/>
                  <a:gd name="T41" fmla="*/ 6100 h 8267"/>
                  <a:gd name="T42" fmla="*/ 3895 w 8267"/>
                  <a:gd name="T43" fmla="*/ 6254 h 8267"/>
                  <a:gd name="T44" fmla="*/ 4281 w 8267"/>
                  <a:gd name="T45" fmla="*/ 7067 h 8267"/>
                  <a:gd name="T46" fmla="*/ 3963 w 8267"/>
                  <a:gd name="T47" fmla="*/ 6800 h 8267"/>
                  <a:gd name="T48" fmla="*/ 4372 w 8267"/>
                  <a:gd name="T49" fmla="*/ 6254 h 8267"/>
                  <a:gd name="T50" fmla="*/ 5363 w 8267"/>
                  <a:gd name="T51" fmla="*/ 4669 h 8267"/>
                  <a:gd name="T52" fmla="*/ 5363 w 8267"/>
                  <a:gd name="T53" fmla="*/ 4669 h 8267"/>
                  <a:gd name="T54" fmla="*/ 3786 w 8267"/>
                  <a:gd name="T55" fmla="*/ 4000 h 8267"/>
                  <a:gd name="T56" fmla="*/ 3072 w 8267"/>
                  <a:gd name="T57" fmla="*/ 4777 h 8267"/>
                  <a:gd name="T58" fmla="*/ 3072 w 8267"/>
                  <a:gd name="T59" fmla="*/ 4777 h 8267"/>
                  <a:gd name="T60" fmla="*/ 3258 w 8267"/>
                  <a:gd name="T61" fmla="*/ 5758 h 8267"/>
                  <a:gd name="T62" fmla="*/ 1867 w 8267"/>
                  <a:gd name="T63" fmla="*/ 3467 h 8267"/>
                  <a:gd name="T64" fmla="*/ 2039 w 8267"/>
                  <a:gd name="T65" fmla="*/ 4039 h 8267"/>
                  <a:gd name="T66" fmla="*/ 1200 w 8267"/>
                  <a:gd name="T67" fmla="*/ 4400 h 8267"/>
                  <a:gd name="T68" fmla="*/ 2533 w 8267"/>
                  <a:gd name="T69" fmla="*/ 4533 h 8267"/>
                  <a:gd name="T70" fmla="*/ 2133 w 8267"/>
                  <a:gd name="T71" fmla="*/ 5563 h 8267"/>
                  <a:gd name="T72" fmla="*/ 1600 w 8267"/>
                  <a:gd name="T73" fmla="*/ 7333 h 8267"/>
                  <a:gd name="T74" fmla="*/ 267 w 8267"/>
                  <a:gd name="T75" fmla="*/ 7333 h 8267"/>
                  <a:gd name="T76" fmla="*/ 2323 w 8267"/>
                  <a:gd name="T77" fmla="*/ 5756 h 8267"/>
                  <a:gd name="T78" fmla="*/ 2000 w 8267"/>
                  <a:gd name="T79" fmla="*/ 7067 h 8267"/>
                  <a:gd name="T80" fmla="*/ 3652 w 8267"/>
                  <a:gd name="T81" fmla="*/ 6711 h 8267"/>
                  <a:gd name="T82" fmla="*/ 2667 w 8267"/>
                  <a:gd name="T83" fmla="*/ 6933 h 8267"/>
                  <a:gd name="T84" fmla="*/ 7715 w 8267"/>
                  <a:gd name="T85" fmla="*/ 6014 h 8267"/>
                  <a:gd name="T86" fmla="*/ 7200 w 8267"/>
                  <a:gd name="T87" fmla="*/ 6400 h 8267"/>
                  <a:gd name="T88" fmla="*/ 5600 w 8267"/>
                  <a:gd name="T89" fmla="*/ 8000 h 8267"/>
                  <a:gd name="T90" fmla="*/ 4536 w 8267"/>
                  <a:gd name="T91" fmla="*/ 6948 h 8267"/>
                  <a:gd name="T92" fmla="*/ 6267 w 8267"/>
                  <a:gd name="T93" fmla="*/ 6903 h 8267"/>
                  <a:gd name="T94" fmla="*/ 5438 w 8267"/>
                  <a:gd name="T95" fmla="*/ 5908 h 8267"/>
                  <a:gd name="T96" fmla="*/ 6667 w 8267"/>
                  <a:gd name="T97" fmla="*/ 5563 h 8267"/>
                  <a:gd name="T98" fmla="*/ 6667 w 8267"/>
                  <a:gd name="T99" fmla="*/ 5427 h 8267"/>
                  <a:gd name="T100" fmla="*/ 5811 w 8267"/>
                  <a:gd name="T101" fmla="*/ 4400 h 8267"/>
                  <a:gd name="T102" fmla="*/ 6400 w 8267"/>
                  <a:gd name="T103" fmla="*/ 5200 h 8267"/>
                  <a:gd name="T104" fmla="*/ 6133 w 8267"/>
                  <a:gd name="T105" fmla="*/ 3945 h 8267"/>
                  <a:gd name="T106" fmla="*/ 5467 w 8267"/>
                  <a:gd name="T107" fmla="*/ 3878 h 8267"/>
                  <a:gd name="T108" fmla="*/ 3786 w 8267"/>
                  <a:gd name="T109" fmla="*/ 3733 h 8267"/>
                  <a:gd name="T110" fmla="*/ 4987 w 8267"/>
                  <a:gd name="T111" fmla="*/ 2775 h 8267"/>
                  <a:gd name="T112" fmla="*/ 6400 w 8267"/>
                  <a:gd name="T113" fmla="*/ 267 h 8267"/>
                  <a:gd name="T114" fmla="*/ 6572 w 8267"/>
                  <a:gd name="T115" fmla="*/ 839 h 8267"/>
                  <a:gd name="T116" fmla="*/ 5733 w 8267"/>
                  <a:gd name="T117" fmla="*/ 1200 h 8267"/>
                  <a:gd name="T118" fmla="*/ 7067 w 8267"/>
                  <a:gd name="T119" fmla="*/ 1333 h 8267"/>
                  <a:gd name="T120" fmla="*/ 6133 w 8267"/>
                  <a:gd name="T121" fmla="*/ 2227 h 8267"/>
                  <a:gd name="T122" fmla="*/ 6400 w 8267"/>
                  <a:gd name="T123" fmla="*/ 2533 h 8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267" h="8267">
                    <a:moveTo>
                      <a:pt x="8267" y="4267"/>
                    </a:moveTo>
                    <a:lnTo>
                      <a:pt x="8267" y="3197"/>
                    </a:lnTo>
                    <a:cubicBezTo>
                      <a:pt x="8267" y="2900"/>
                      <a:pt x="8076" y="2643"/>
                      <a:pt x="7792" y="2558"/>
                    </a:cubicBezTo>
                    <a:lnTo>
                      <a:pt x="6933" y="2301"/>
                    </a:lnTo>
                    <a:lnTo>
                      <a:pt x="6933" y="2098"/>
                    </a:lnTo>
                    <a:cubicBezTo>
                      <a:pt x="7175" y="1929"/>
                      <a:pt x="7333" y="1650"/>
                      <a:pt x="7333" y="1333"/>
                    </a:cubicBezTo>
                    <a:lnTo>
                      <a:pt x="7333" y="933"/>
                    </a:lnTo>
                    <a:cubicBezTo>
                      <a:pt x="7333" y="419"/>
                      <a:pt x="6915" y="0"/>
                      <a:pt x="6400" y="0"/>
                    </a:cubicBezTo>
                    <a:cubicBezTo>
                      <a:pt x="5885" y="0"/>
                      <a:pt x="5467" y="419"/>
                      <a:pt x="5467" y="933"/>
                    </a:cubicBezTo>
                    <a:lnTo>
                      <a:pt x="5467" y="1333"/>
                    </a:lnTo>
                    <a:cubicBezTo>
                      <a:pt x="5467" y="1650"/>
                      <a:pt x="5625" y="1929"/>
                      <a:pt x="5867" y="2098"/>
                    </a:cubicBezTo>
                    <a:lnTo>
                      <a:pt x="5867" y="2301"/>
                    </a:lnTo>
                    <a:lnTo>
                      <a:pt x="5110" y="2528"/>
                    </a:lnTo>
                    <a:cubicBezTo>
                      <a:pt x="4826" y="2274"/>
                      <a:pt x="4465" y="2133"/>
                      <a:pt x="4081" y="2133"/>
                    </a:cubicBezTo>
                    <a:cubicBezTo>
                      <a:pt x="3698" y="2133"/>
                      <a:pt x="3349" y="2273"/>
                      <a:pt x="3078" y="2504"/>
                    </a:cubicBezTo>
                    <a:lnTo>
                      <a:pt x="2400" y="2301"/>
                    </a:lnTo>
                    <a:lnTo>
                      <a:pt x="2400" y="2098"/>
                    </a:lnTo>
                    <a:cubicBezTo>
                      <a:pt x="2641" y="1929"/>
                      <a:pt x="2800" y="1650"/>
                      <a:pt x="2800" y="1333"/>
                    </a:cubicBezTo>
                    <a:lnTo>
                      <a:pt x="2800" y="933"/>
                    </a:lnTo>
                    <a:cubicBezTo>
                      <a:pt x="2800" y="419"/>
                      <a:pt x="2381" y="0"/>
                      <a:pt x="1867" y="0"/>
                    </a:cubicBezTo>
                    <a:cubicBezTo>
                      <a:pt x="1352" y="0"/>
                      <a:pt x="933" y="419"/>
                      <a:pt x="933" y="933"/>
                    </a:cubicBezTo>
                    <a:lnTo>
                      <a:pt x="933" y="1333"/>
                    </a:lnTo>
                    <a:cubicBezTo>
                      <a:pt x="933" y="1650"/>
                      <a:pt x="1092" y="1929"/>
                      <a:pt x="1333" y="2098"/>
                    </a:cubicBezTo>
                    <a:lnTo>
                      <a:pt x="1333" y="2301"/>
                    </a:lnTo>
                    <a:lnTo>
                      <a:pt x="475" y="2558"/>
                    </a:lnTo>
                    <a:cubicBezTo>
                      <a:pt x="191" y="2643"/>
                      <a:pt x="0" y="2900"/>
                      <a:pt x="0" y="3197"/>
                    </a:cubicBezTo>
                    <a:lnTo>
                      <a:pt x="0" y="4267"/>
                    </a:lnTo>
                    <a:lnTo>
                      <a:pt x="267" y="4267"/>
                    </a:lnTo>
                    <a:lnTo>
                      <a:pt x="267" y="3197"/>
                    </a:lnTo>
                    <a:cubicBezTo>
                      <a:pt x="267" y="3019"/>
                      <a:pt x="381" y="2865"/>
                      <a:pt x="552" y="2814"/>
                    </a:cubicBezTo>
                    <a:lnTo>
                      <a:pt x="1410" y="2556"/>
                    </a:lnTo>
                    <a:cubicBezTo>
                      <a:pt x="1488" y="2657"/>
                      <a:pt x="1638" y="2800"/>
                      <a:pt x="1867" y="2800"/>
                    </a:cubicBezTo>
                    <a:cubicBezTo>
                      <a:pt x="2095" y="2800"/>
                      <a:pt x="2245" y="2657"/>
                      <a:pt x="2323" y="2556"/>
                    </a:cubicBezTo>
                    <a:lnTo>
                      <a:pt x="2870" y="2720"/>
                    </a:lnTo>
                    <a:cubicBezTo>
                      <a:pt x="2696" y="2938"/>
                      <a:pt x="2581" y="3204"/>
                      <a:pt x="2546" y="3495"/>
                    </a:cubicBezTo>
                    <a:cubicBezTo>
                      <a:pt x="2375" y="3314"/>
                      <a:pt x="2134" y="3200"/>
                      <a:pt x="1867" y="3200"/>
                    </a:cubicBezTo>
                    <a:cubicBezTo>
                      <a:pt x="1352" y="3200"/>
                      <a:pt x="933" y="3619"/>
                      <a:pt x="933" y="4133"/>
                    </a:cubicBezTo>
                    <a:lnTo>
                      <a:pt x="933" y="4533"/>
                    </a:lnTo>
                    <a:cubicBezTo>
                      <a:pt x="933" y="4850"/>
                      <a:pt x="1092" y="5129"/>
                      <a:pt x="1333" y="5298"/>
                    </a:cubicBezTo>
                    <a:lnTo>
                      <a:pt x="1333" y="5501"/>
                    </a:lnTo>
                    <a:lnTo>
                      <a:pt x="475" y="5758"/>
                    </a:lnTo>
                    <a:cubicBezTo>
                      <a:pt x="191" y="5843"/>
                      <a:pt x="0" y="6100"/>
                      <a:pt x="0" y="6397"/>
                    </a:cubicBezTo>
                    <a:lnTo>
                      <a:pt x="0" y="7600"/>
                    </a:lnTo>
                    <a:lnTo>
                      <a:pt x="1600" y="7600"/>
                    </a:lnTo>
                    <a:cubicBezTo>
                      <a:pt x="1673" y="7600"/>
                      <a:pt x="1733" y="7660"/>
                      <a:pt x="1733" y="7733"/>
                    </a:cubicBezTo>
                    <a:lnTo>
                      <a:pt x="1733" y="8267"/>
                    </a:lnTo>
                    <a:lnTo>
                      <a:pt x="6533" y="8267"/>
                    </a:lnTo>
                    <a:lnTo>
                      <a:pt x="6533" y="7733"/>
                    </a:lnTo>
                    <a:cubicBezTo>
                      <a:pt x="6533" y="7660"/>
                      <a:pt x="6593" y="7600"/>
                      <a:pt x="6667" y="7600"/>
                    </a:cubicBezTo>
                    <a:lnTo>
                      <a:pt x="8267" y="7600"/>
                    </a:lnTo>
                    <a:lnTo>
                      <a:pt x="8267" y="6397"/>
                    </a:lnTo>
                    <a:cubicBezTo>
                      <a:pt x="8267" y="6100"/>
                      <a:pt x="8076" y="5843"/>
                      <a:pt x="7792" y="5758"/>
                    </a:cubicBezTo>
                    <a:lnTo>
                      <a:pt x="6933" y="5501"/>
                    </a:lnTo>
                    <a:lnTo>
                      <a:pt x="6933" y="5298"/>
                    </a:lnTo>
                    <a:cubicBezTo>
                      <a:pt x="7175" y="5129"/>
                      <a:pt x="7333" y="4850"/>
                      <a:pt x="7333" y="4533"/>
                    </a:cubicBezTo>
                    <a:lnTo>
                      <a:pt x="7333" y="4133"/>
                    </a:lnTo>
                    <a:cubicBezTo>
                      <a:pt x="7333" y="3619"/>
                      <a:pt x="6915" y="3200"/>
                      <a:pt x="6400" y="3200"/>
                    </a:cubicBezTo>
                    <a:cubicBezTo>
                      <a:pt x="6139" y="3200"/>
                      <a:pt x="5903" y="3308"/>
                      <a:pt x="5733" y="3481"/>
                    </a:cubicBezTo>
                    <a:lnTo>
                      <a:pt x="5733" y="3355"/>
                    </a:lnTo>
                    <a:cubicBezTo>
                      <a:pt x="5733" y="3092"/>
                      <a:pt x="5590" y="2855"/>
                      <a:pt x="5367" y="2729"/>
                    </a:cubicBezTo>
                    <a:lnTo>
                      <a:pt x="5944" y="2556"/>
                    </a:lnTo>
                    <a:cubicBezTo>
                      <a:pt x="6021" y="2657"/>
                      <a:pt x="6171" y="2800"/>
                      <a:pt x="6400" y="2800"/>
                    </a:cubicBezTo>
                    <a:cubicBezTo>
                      <a:pt x="6629" y="2800"/>
                      <a:pt x="6779" y="2657"/>
                      <a:pt x="6856" y="2556"/>
                    </a:cubicBezTo>
                    <a:lnTo>
                      <a:pt x="7715" y="2814"/>
                    </a:lnTo>
                    <a:cubicBezTo>
                      <a:pt x="7885" y="2865"/>
                      <a:pt x="8000" y="3019"/>
                      <a:pt x="8000" y="3197"/>
                    </a:cubicBezTo>
                    <a:lnTo>
                      <a:pt x="8000" y="4267"/>
                    </a:lnTo>
                    <a:lnTo>
                      <a:pt x="8267" y="4267"/>
                    </a:lnTo>
                    <a:close/>
                    <a:moveTo>
                      <a:pt x="1867" y="267"/>
                    </a:moveTo>
                    <a:cubicBezTo>
                      <a:pt x="2234" y="267"/>
                      <a:pt x="2533" y="566"/>
                      <a:pt x="2533" y="933"/>
                    </a:cubicBezTo>
                    <a:lnTo>
                      <a:pt x="1922" y="933"/>
                    </a:lnTo>
                    <a:cubicBezTo>
                      <a:pt x="1837" y="933"/>
                      <a:pt x="1754" y="899"/>
                      <a:pt x="1694" y="839"/>
                    </a:cubicBezTo>
                    <a:lnTo>
                      <a:pt x="1600" y="745"/>
                    </a:lnTo>
                    <a:lnTo>
                      <a:pt x="1506" y="839"/>
                    </a:lnTo>
                    <a:cubicBezTo>
                      <a:pt x="1446" y="899"/>
                      <a:pt x="1363" y="933"/>
                      <a:pt x="1278" y="933"/>
                    </a:cubicBezTo>
                    <a:lnTo>
                      <a:pt x="1200" y="933"/>
                    </a:lnTo>
                    <a:cubicBezTo>
                      <a:pt x="1200" y="566"/>
                      <a:pt x="1499" y="267"/>
                      <a:pt x="1867" y="267"/>
                    </a:cubicBezTo>
                    <a:close/>
                    <a:moveTo>
                      <a:pt x="1200" y="1333"/>
                    </a:moveTo>
                    <a:lnTo>
                      <a:pt x="1200" y="1200"/>
                    </a:lnTo>
                    <a:lnTo>
                      <a:pt x="1278" y="1200"/>
                    </a:lnTo>
                    <a:cubicBezTo>
                      <a:pt x="1394" y="1200"/>
                      <a:pt x="1505" y="1167"/>
                      <a:pt x="1600" y="1104"/>
                    </a:cubicBezTo>
                    <a:cubicBezTo>
                      <a:pt x="1695" y="1167"/>
                      <a:pt x="1806" y="1200"/>
                      <a:pt x="1922" y="1200"/>
                    </a:cubicBezTo>
                    <a:lnTo>
                      <a:pt x="2533" y="1200"/>
                    </a:lnTo>
                    <a:lnTo>
                      <a:pt x="2533" y="1333"/>
                    </a:lnTo>
                    <a:cubicBezTo>
                      <a:pt x="2533" y="1701"/>
                      <a:pt x="2234" y="2000"/>
                      <a:pt x="1867" y="2000"/>
                    </a:cubicBezTo>
                    <a:cubicBezTo>
                      <a:pt x="1499" y="2000"/>
                      <a:pt x="1200" y="1701"/>
                      <a:pt x="1200" y="1333"/>
                    </a:cubicBezTo>
                    <a:close/>
                    <a:moveTo>
                      <a:pt x="1867" y="2533"/>
                    </a:moveTo>
                    <a:cubicBezTo>
                      <a:pt x="1725" y="2533"/>
                      <a:pt x="1633" y="2414"/>
                      <a:pt x="1600" y="2363"/>
                    </a:cubicBezTo>
                    <a:lnTo>
                      <a:pt x="1600" y="2227"/>
                    </a:lnTo>
                    <a:cubicBezTo>
                      <a:pt x="1685" y="2253"/>
                      <a:pt x="1774" y="2267"/>
                      <a:pt x="1867" y="2267"/>
                    </a:cubicBezTo>
                    <a:cubicBezTo>
                      <a:pt x="1959" y="2267"/>
                      <a:pt x="2049" y="2253"/>
                      <a:pt x="2133" y="2227"/>
                    </a:cubicBezTo>
                    <a:lnTo>
                      <a:pt x="2133" y="2363"/>
                    </a:lnTo>
                    <a:cubicBezTo>
                      <a:pt x="2100" y="2414"/>
                      <a:pt x="2008" y="2533"/>
                      <a:pt x="1867" y="2533"/>
                    </a:cubicBezTo>
                    <a:close/>
                    <a:moveTo>
                      <a:pt x="5532" y="4874"/>
                    </a:moveTo>
                    <a:cubicBezTo>
                      <a:pt x="5600" y="5046"/>
                      <a:pt x="5717" y="5193"/>
                      <a:pt x="5867" y="5298"/>
                    </a:cubicBezTo>
                    <a:lnTo>
                      <a:pt x="5867" y="5501"/>
                    </a:lnTo>
                    <a:lnTo>
                      <a:pt x="5009" y="5758"/>
                    </a:lnTo>
                    <a:cubicBezTo>
                      <a:pt x="4980" y="5767"/>
                      <a:pt x="4953" y="5778"/>
                      <a:pt x="4926" y="5790"/>
                    </a:cubicBezTo>
                    <a:lnTo>
                      <a:pt x="4800" y="5761"/>
                    </a:lnTo>
                    <a:lnTo>
                      <a:pt x="4800" y="5498"/>
                    </a:lnTo>
                    <a:cubicBezTo>
                      <a:pt x="4943" y="5383"/>
                      <a:pt x="5055" y="5233"/>
                      <a:pt x="5124" y="5061"/>
                    </a:cubicBezTo>
                    <a:cubicBezTo>
                      <a:pt x="5277" y="5047"/>
                      <a:pt x="5421" y="4982"/>
                      <a:pt x="5532" y="4874"/>
                    </a:cubicBezTo>
                    <a:close/>
                    <a:moveTo>
                      <a:pt x="4133" y="5733"/>
                    </a:moveTo>
                    <a:cubicBezTo>
                      <a:pt x="4275" y="5733"/>
                      <a:pt x="4410" y="5705"/>
                      <a:pt x="4533" y="5655"/>
                    </a:cubicBezTo>
                    <a:lnTo>
                      <a:pt x="4533" y="5800"/>
                    </a:lnTo>
                    <a:lnTo>
                      <a:pt x="4133" y="6100"/>
                    </a:lnTo>
                    <a:lnTo>
                      <a:pt x="3733" y="5800"/>
                    </a:lnTo>
                    <a:lnTo>
                      <a:pt x="3733" y="5655"/>
                    </a:lnTo>
                    <a:cubicBezTo>
                      <a:pt x="3857" y="5705"/>
                      <a:pt x="3992" y="5733"/>
                      <a:pt x="4133" y="5733"/>
                    </a:cubicBezTo>
                    <a:close/>
                    <a:moveTo>
                      <a:pt x="3570" y="6011"/>
                    </a:moveTo>
                    <a:lnTo>
                      <a:pt x="3895" y="6254"/>
                    </a:lnTo>
                    <a:lnTo>
                      <a:pt x="3560" y="6455"/>
                    </a:lnTo>
                    <a:lnTo>
                      <a:pt x="3476" y="6032"/>
                    </a:lnTo>
                    <a:lnTo>
                      <a:pt x="3570" y="6011"/>
                    </a:lnTo>
                    <a:close/>
                    <a:moveTo>
                      <a:pt x="3986" y="7067"/>
                    </a:moveTo>
                    <a:lnTo>
                      <a:pt x="4281" y="7067"/>
                    </a:lnTo>
                    <a:lnTo>
                      <a:pt x="4384" y="8000"/>
                    </a:lnTo>
                    <a:lnTo>
                      <a:pt x="3882" y="8000"/>
                    </a:lnTo>
                    <a:lnTo>
                      <a:pt x="3986" y="7067"/>
                    </a:lnTo>
                    <a:close/>
                    <a:moveTo>
                      <a:pt x="4304" y="6800"/>
                    </a:moveTo>
                    <a:lnTo>
                      <a:pt x="3963" y="6800"/>
                    </a:lnTo>
                    <a:lnTo>
                      <a:pt x="3886" y="6570"/>
                    </a:lnTo>
                    <a:lnTo>
                      <a:pt x="4133" y="6422"/>
                    </a:lnTo>
                    <a:lnTo>
                      <a:pt x="4380" y="6570"/>
                    </a:lnTo>
                    <a:lnTo>
                      <a:pt x="4304" y="6800"/>
                    </a:lnTo>
                    <a:close/>
                    <a:moveTo>
                      <a:pt x="4372" y="6254"/>
                    </a:moveTo>
                    <a:lnTo>
                      <a:pt x="4697" y="6011"/>
                    </a:lnTo>
                    <a:lnTo>
                      <a:pt x="4791" y="6032"/>
                    </a:lnTo>
                    <a:lnTo>
                      <a:pt x="4706" y="6455"/>
                    </a:lnTo>
                    <a:lnTo>
                      <a:pt x="4372" y="6254"/>
                    </a:lnTo>
                    <a:close/>
                    <a:moveTo>
                      <a:pt x="5363" y="4669"/>
                    </a:moveTo>
                    <a:cubicBezTo>
                      <a:pt x="5317" y="4720"/>
                      <a:pt x="5258" y="4755"/>
                      <a:pt x="5194" y="4777"/>
                    </a:cubicBezTo>
                    <a:cubicBezTo>
                      <a:pt x="5198" y="4741"/>
                      <a:pt x="5200" y="4704"/>
                      <a:pt x="5200" y="4667"/>
                    </a:cubicBezTo>
                    <a:lnTo>
                      <a:pt x="5200" y="4029"/>
                    </a:lnTo>
                    <a:cubicBezTo>
                      <a:pt x="5343" y="4083"/>
                      <a:pt x="5450" y="4209"/>
                      <a:pt x="5465" y="4360"/>
                    </a:cubicBezTo>
                    <a:cubicBezTo>
                      <a:pt x="5476" y="4475"/>
                      <a:pt x="5439" y="4585"/>
                      <a:pt x="5363" y="4669"/>
                    </a:cubicBezTo>
                    <a:close/>
                    <a:moveTo>
                      <a:pt x="4933" y="4667"/>
                    </a:moveTo>
                    <a:cubicBezTo>
                      <a:pt x="4933" y="5108"/>
                      <a:pt x="4575" y="5467"/>
                      <a:pt x="4133" y="5467"/>
                    </a:cubicBezTo>
                    <a:cubicBezTo>
                      <a:pt x="3692" y="5467"/>
                      <a:pt x="3333" y="5108"/>
                      <a:pt x="3333" y="4667"/>
                    </a:cubicBezTo>
                    <a:lnTo>
                      <a:pt x="3333" y="4000"/>
                    </a:lnTo>
                    <a:lnTo>
                      <a:pt x="3786" y="4000"/>
                    </a:lnTo>
                    <a:cubicBezTo>
                      <a:pt x="4077" y="4000"/>
                      <a:pt x="4359" y="3927"/>
                      <a:pt x="4612" y="3789"/>
                    </a:cubicBezTo>
                    <a:lnTo>
                      <a:pt x="4718" y="4000"/>
                    </a:lnTo>
                    <a:lnTo>
                      <a:pt x="4933" y="4000"/>
                    </a:lnTo>
                    <a:lnTo>
                      <a:pt x="4933" y="4667"/>
                    </a:lnTo>
                    <a:close/>
                    <a:moveTo>
                      <a:pt x="3072" y="4777"/>
                    </a:moveTo>
                    <a:cubicBezTo>
                      <a:pt x="3009" y="4755"/>
                      <a:pt x="2950" y="4720"/>
                      <a:pt x="2904" y="4669"/>
                    </a:cubicBezTo>
                    <a:cubicBezTo>
                      <a:pt x="2827" y="4585"/>
                      <a:pt x="2791" y="4475"/>
                      <a:pt x="2802" y="4360"/>
                    </a:cubicBezTo>
                    <a:cubicBezTo>
                      <a:pt x="2816" y="4209"/>
                      <a:pt x="2923" y="4083"/>
                      <a:pt x="3067" y="4029"/>
                    </a:cubicBezTo>
                    <a:lnTo>
                      <a:pt x="3067" y="4667"/>
                    </a:lnTo>
                    <a:cubicBezTo>
                      <a:pt x="3067" y="4704"/>
                      <a:pt x="3069" y="4741"/>
                      <a:pt x="3072" y="4777"/>
                    </a:cubicBezTo>
                    <a:close/>
                    <a:moveTo>
                      <a:pt x="3143" y="5061"/>
                    </a:moveTo>
                    <a:cubicBezTo>
                      <a:pt x="3212" y="5233"/>
                      <a:pt x="3324" y="5383"/>
                      <a:pt x="3467" y="5498"/>
                    </a:cubicBezTo>
                    <a:lnTo>
                      <a:pt x="3467" y="5761"/>
                    </a:lnTo>
                    <a:lnTo>
                      <a:pt x="3341" y="5790"/>
                    </a:lnTo>
                    <a:cubicBezTo>
                      <a:pt x="3314" y="5778"/>
                      <a:pt x="3286" y="5767"/>
                      <a:pt x="3258" y="5758"/>
                    </a:cubicBezTo>
                    <a:lnTo>
                      <a:pt x="2400" y="5501"/>
                    </a:lnTo>
                    <a:lnTo>
                      <a:pt x="2400" y="5298"/>
                    </a:lnTo>
                    <a:cubicBezTo>
                      <a:pt x="2550" y="5193"/>
                      <a:pt x="2667" y="5046"/>
                      <a:pt x="2735" y="4874"/>
                    </a:cubicBezTo>
                    <a:cubicBezTo>
                      <a:pt x="2845" y="4982"/>
                      <a:pt x="2989" y="5047"/>
                      <a:pt x="3143" y="5061"/>
                    </a:cubicBezTo>
                    <a:close/>
                    <a:moveTo>
                      <a:pt x="1867" y="3467"/>
                    </a:moveTo>
                    <a:cubicBezTo>
                      <a:pt x="2234" y="3467"/>
                      <a:pt x="2533" y="3766"/>
                      <a:pt x="2533" y="4133"/>
                    </a:cubicBezTo>
                    <a:lnTo>
                      <a:pt x="2455" y="4133"/>
                    </a:lnTo>
                    <a:cubicBezTo>
                      <a:pt x="2371" y="4133"/>
                      <a:pt x="2287" y="4099"/>
                      <a:pt x="2228" y="4039"/>
                    </a:cubicBezTo>
                    <a:lnTo>
                      <a:pt x="2133" y="3945"/>
                    </a:lnTo>
                    <a:lnTo>
                      <a:pt x="2039" y="4039"/>
                    </a:lnTo>
                    <a:cubicBezTo>
                      <a:pt x="1979" y="4099"/>
                      <a:pt x="1896" y="4133"/>
                      <a:pt x="1811" y="4133"/>
                    </a:cubicBezTo>
                    <a:lnTo>
                      <a:pt x="1200" y="4133"/>
                    </a:lnTo>
                    <a:cubicBezTo>
                      <a:pt x="1200" y="3766"/>
                      <a:pt x="1499" y="3467"/>
                      <a:pt x="1867" y="3467"/>
                    </a:cubicBezTo>
                    <a:close/>
                    <a:moveTo>
                      <a:pt x="1200" y="4533"/>
                    </a:moveTo>
                    <a:lnTo>
                      <a:pt x="1200" y="4400"/>
                    </a:lnTo>
                    <a:lnTo>
                      <a:pt x="1811" y="4400"/>
                    </a:lnTo>
                    <a:cubicBezTo>
                      <a:pt x="1928" y="4400"/>
                      <a:pt x="2039" y="4367"/>
                      <a:pt x="2133" y="4304"/>
                    </a:cubicBezTo>
                    <a:cubicBezTo>
                      <a:pt x="2228" y="4367"/>
                      <a:pt x="2339" y="4400"/>
                      <a:pt x="2455" y="4400"/>
                    </a:cubicBezTo>
                    <a:lnTo>
                      <a:pt x="2533" y="4400"/>
                    </a:lnTo>
                    <a:lnTo>
                      <a:pt x="2533" y="4533"/>
                    </a:lnTo>
                    <a:cubicBezTo>
                      <a:pt x="2533" y="4901"/>
                      <a:pt x="2234" y="5200"/>
                      <a:pt x="1867" y="5200"/>
                    </a:cubicBezTo>
                    <a:cubicBezTo>
                      <a:pt x="1499" y="5200"/>
                      <a:pt x="1200" y="4901"/>
                      <a:pt x="1200" y="4533"/>
                    </a:cubicBezTo>
                    <a:close/>
                    <a:moveTo>
                      <a:pt x="1867" y="5467"/>
                    </a:moveTo>
                    <a:cubicBezTo>
                      <a:pt x="1959" y="5467"/>
                      <a:pt x="2049" y="5453"/>
                      <a:pt x="2133" y="5427"/>
                    </a:cubicBezTo>
                    <a:lnTo>
                      <a:pt x="2133" y="5563"/>
                    </a:lnTo>
                    <a:cubicBezTo>
                      <a:pt x="2100" y="5614"/>
                      <a:pt x="2008" y="5733"/>
                      <a:pt x="1867" y="5733"/>
                    </a:cubicBezTo>
                    <a:cubicBezTo>
                      <a:pt x="1725" y="5733"/>
                      <a:pt x="1633" y="5614"/>
                      <a:pt x="1600" y="5563"/>
                    </a:cubicBezTo>
                    <a:lnTo>
                      <a:pt x="1600" y="5427"/>
                    </a:lnTo>
                    <a:cubicBezTo>
                      <a:pt x="1685" y="5453"/>
                      <a:pt x="1774" y="5467"/>
                      <a:pt x="1867" y="5467"/>
                    </a:cubicBezTo>
                    <a:close/>
                    <a:moveTo>
                      <a:pt x="1600" y="7333"/>
                    </a:moveTo>
                    <a:lnTo>
                      <a:pt x="1067" y="7333"/>
                    </a:lnTo>
                    <a:lnTo>
                      <a:pt x="1067" y="6400"/>
                    </a:lnTo>
                    <a:lnTo>
                      <a:pt x="800" y="6400"/>
                    </a:lnTo>
                    <a:lnTo>
                      <a:pt x="800" y="7333"/>
                    </a:lnTo>
                    <a:lnTo>
                      <a:pt x="267" y="7333"/>
                    </a:lnTo>
                    <a:lnTo>
                      <a:pt x="267" y="6397"/>
                    </a:lnTo>
                    <a:cubicBezTo>
                      <a:pt x="267" y="6219"/>
                      <a:pt x="381" y="6065"/>
                      <a:pt x="552" y="6014"/>
                    </a:cubicBezTo>
                    <a:lnTo>
                      <a:pt x="1410" y="5756"/>
                    </a:lnTo>
                    <a:cubicBezTo>
                      <a:pt x="1488" y="5857"/>
                      <a:pt x="1638" y="6000"/>
                      <a:pt x="1867" y="6000"/>
                    </a:cubicBezTo>
                    <a:cubicBezTo>
                      <a:pt x="2095" y="6000"/>
                      <a:pt x="2245" y="5857"/>
                      <a:pt x="2323" y="5756"/>
                    </a:cubicBezTo>
                    <a:lnTo>
                      <a:pt x="2829" y="5908"/>
                    </a:lnTo>
                    <a:lnTo>
                      <a:pt x="2457" y="5994"/>
                    </a:lnTo>
                    <a:cubicBezTo>
                      <a:pt x="2031" y="6092"/>
                      <a:pt x="1733" y="6466"/>
                      <a:pt x="1733" y="6903"/>
                    </a:cubicBezTo>
                    <a:lnTo>
                      <a:pt x="1733" y="7067"/>
                    </a:lnTo>
                    <a:lnTo>
                      <a:pt x="2000" y="7067"/>
                    </a:lnTo>
                    <a:lnTo>
                      <a:pt x="2000" y="6903"/>
                    </a:lnTo>
                    <a:cubicBezTo>
                      <a:pt x="2000" y="6591"/>
                      <a:pt x="2213" y="6324"/>
                      <a:pt x="2517" y="6253"/>
                    </a:cubicBezTo>
                    <a:lnTo>
                      <a:pt x="3216" y="6092"/>
                    </a:lnTo>
                    <a:lnTo>
                      <a:pt x="3373" y="6878"/>
                    </a:lnTo>
                    <a:lnTo>
                      <a:pt x="3652" y="6711"/>
                    </a:lnTo>
                    <a:lnTo>
                      <a:pt x="3731" y="6948"/>
                    </a:lnTo>
                    <a:lnTo>
                      <a:pt x="3614" y="8000"/>
                    </a:lnTo>
                    <a:lnTo>
                      <a:pt x="2933" y="8000"/>
                    </a:lnTo>
                    <a:lnTo>
                      <a:pt x="2933" y="6933"/>
                    </a:lnTo>
                    <a:lnTo>
                      <a:pt x="2667" y="6933"/>
                    </a:lnTo>
                    <a:lnTo>
                      <a:pt x="2667" y="8000"/>
                    </a:lnTo>
                    <a:lnTo>
                      <a:pt x="2000" y="8000"/>
                    </a:lnTo>
                    <a:lnTo>
                      <a:pt x="2000" y="7733"/>
                    </a:lnTo>
                    <a:cubicBezTo>
                      <a:pt x="2000" y="7513"/>
                      <a:pt x="1821" y="7333"/>
                      <a:pt x="1600" y="7333"/>
                    </a:cubicBezTo>
                    <a:close/>
                    <a:moveTo>
                      <a:pt x="7715" y="6014"/>
                    </a:moveTo>
                    <a:cubicBezTo>
                      <a:pt x="7885" y="6065"/>
                      <a:pt x="8000" y="6219"/>
                      <a:pt x="8000" y="6397"/>
                    </a:cubicBezTo>
                    <a:lnTo>
                      <a:pt x="8000" y="7333"/>
                    </a:lnTo>
                    <a:lnTo>
                      <a:pt x="7467" y="7333"/>
                    </a:lnTo>
                    <a:lnTo>
                      <a:pt x="7467" y="6400"/>
                    </a:lnTo>
                    <a:lnTo>
                      <a:pt x="7200" y="6400"/>
                    </a:lnTo>
                    <a:lnTo>
                      <a:pt x="7200" y="7333"/>
                    </a:lnTo>
                    <a:lnTo>
                      <a:pt x="6667" y="7333"/>
                    </a:lnTo>
                    <a:cubicBezTo>
                      <a:pt x="6446" y="7333"/>
                      <a:pt x="6267" y="7513"/>
                      <a:pt x="6267" y="7733"/>
                    </a:cubicBezTo>
                    <a:lnTo>
                      <a:pt x="6267" y="8000"/>
                    </a:lnTo>
                    <a:lnTo>
                      <a:pt x="5600" y="8000"/>
                    </a:lnTo>
                    <a:lnTo>
                      <a:pt x="5600" y="6933"/>
                    </a:lnTo>
                    <a:lnTo>
                      <a:pt x="5333" y="6933"/>
                    </a:lnTo>
                    <a:lnTo>
                      <a:pt x="5333" y="8000"/>
                    </a:lnTo>
                    <a:lnTo>
                      <a:pt x="4653" y="8000"/>
                    </a:lnTo>
                    <a:lnTo>
                      <a:pt x="4536" y="6948"/>
                    </a:lnTo>
                    <a:lnTo>
                      <a:pt x="4615" y="6711"/>
                    </a:lnTo>
                    <a:lnTo>
                      <a:pt x="4894" y="6878"/>
                    </a:lnTo>
                    <a:lnTo>
                      <a:pt x="5051" y="6092"/>
                    </a:lnTo>
                    <a:lnTo>
                      <a:pt x="5750" y="6253"/>
                    </a:lnTo>
                    <a:cubicBezTo>
                      <a:pt x="6054" y="6324"/>
                      <a:pt x="6267" y="6591"/>
                      <a:pt x="6267" y="6903"/>
                    </a:cubicBezTo>
                    <a:lnTo>
                      <a:pt x="6267" y="7067"/>
                    </a:lnTo>
                    <a:lnTo>
                      <a:pt x="6533" y="7067"/>
                    </a:lnTo>
                    <a:lnTo>
                      <a:pt x="6533" y="6903"/>
                    </a:lnTo>
                    <a:cubicBezTo>
                      <a:pt x="6533" y="6466"/>
                      <a:pt x="6236" y="6092"/>
                      <a:pt x="5810" y="5994"/>
                    </a:cubicBezTo>
                    <a:lnTo>
                      <a:pt x="5438" y="5908"/>
                    </a:lnTo>
                    <a:lnTo>
                      <a:pt x="5944" y="5756"/>
                    </a:lnTo>
                    <a:cubicBezTo>
                      <a:pt x="6021" y="5857"/>
                      <a:pt x="6171" y="6000"/>
                      <a:pt x="6400" y="6000"/>
                    </a:cubicBezTo>
                    <a:cubicBezTo>
                      <a:pt x="6629" y="6000"/>
                      <a:pt x="6779" y="5857"/>
                      <a:pt x="6856" y="5756"/>
                    </a:cubicBezTo>
                    <a:lnTo>
                      <a:pt x="7715" y="6014"/>
                    </a:lnTo>
                    <a:close/>
                    <a:moveTo>
                      <a:pt x="6667" y="5563"/>
                    </a:moveTo>
                    <a:cubicBezTo>
                      <a:pt x="6634" y="5614"/>
                      <a:pt x="6542" y="5733"/>
                      <a:pt x="6400" y="5733"/>
                    </a:cubicBezTo>
                    <a:cubicBezTo>
                      <a:pt x="6258" y="5733"/>
                      <a:pt x="6166" y="5614"/>
                      <a:pt x="6133" y="5563"/>
                    </a:cubicBezTo>
                    <a:lnTo>
                      <a:pt x="6133" y="5427"/>
                    </a:lnTo>
                    <a:cubicBezTo>
                      <a:pt x="6218" y="5453"/>
                      <a:pt x="6307" y="5467"/>
                      <a:pt x="6400" y="5467"/>
                    </a:cubicBezTo>
                    <a:cubicBezTo>
                      <a:pt x="6493" y="5467"/>
                      <a:pt x="6582" y="5453"/>
                      <a:pt x="6667" y="5427"/>
                    </a:cubicBezTo>
                    <a:lnTo>
                      <a:pt x="6667" y="5563"/>
                    </a:lnTo>
                    <a:close/>
                    <a:moveTo>
                      <a:pt x="6400" y="5200"/>
                    </a:moveTo>
                    <a:cubicBezTo>
                      <a:pt x="6032" y="5200"/>
                      <a:pt x="5733" y="4901"/>
                      <a:pt x="5733" y="4533"/>
                    </a:cubicBezTo>
                    <a:lnTo>
                      <a:pt x="5733" y="4400"/>
                    </a:lnTo>
                    <a:lnTo>
                      <a:pt x="5811" y="4400"/>
                    </a:lnTo>
                    <a:cubicBezTo>
                      <a:pt x="5928" y="4400"/>
                      <a:pt x="6039" y="4367"/>
                      <a:pt x="6133" y="4304"/>
                    </a:cubicBezTo>
                    <a:cubicBezTo>
                      <a:pt x="6228" y="4367"/>
                      <a:pt x="6339" y="4400"/>
                      <a:pt x="6455" y="4400"/>
                    </a:cubicBezTo>
                    <a:lnTo>
                      <a:pt x="7067" y="4400"/>
                    </a:lnTo>
                    <a:lnTo>
                      <a:pt x="7067" y="4533"/>
                    </a:lnTo>
                    <a:cubicBezTo>
                      <a:pt x="7067" y="4901"/>
                      <a:pt x="6768" y="5200"/>
                      <a:pt x="6400" y="5200"/>
                    </a:cubicBezTo>
                    <a:close/>
                    <a:moveTo>
                      <a:pt x="6400" y="3467"/>
                    </a:moveTo>
                    <a:cubicBezTo>
                      <a:pt x="6768" y="3467"/>
                      <a:pt x="7067" y="3766"/>
                      <a:pt x="7067" y="4133"/>
                    </a:cubicBezTo>
                    <a:lnTo>
                      <a:pt x="6455" y="4133"/>
                    </a:lnTo>
                    <a:cubicBezTo>
                      <a:pt x="6371" y="4133"/>
                      <a:pt x="6287" y="4099"/>
                      <a:pt x="6228" y="4039"/>
                    </a:cubicBezTo>
                    <a:lnTo>
                      <a:pt x="6133" y="3945"/>
                    </a:lnTo>
                    <a:lnTo>
                      <a:pt x="6039" y="4039"/>
                    </a:lnTo>
                    <a:cubicBezTo>
                      <a:pt x="5979" y="4099"/>
                      <a:pt x="5896" y="4133"/>
                      <a:pt x="5811" y="4133"/>
                    </a:cubicBezTo>
                    <a:lnTo>
                      <a:pt x="5733" y="4133"/>
                    </a:lnTo>
                    <a:cubicBezTo>
                      <a:pt x="5733" y="3766"/>
                      <a:pt x="6032" y="3467"/>
                      <a:pt x="6400" y="3467"/>
                    </a:cubicBezTo>
                    <a:close/>
                    <a:moveTo>
                      <a:pt x="5467" y="3878"/>
                    </a:moveTo>
                    <a:cubicBezTo>
                      <a:pt x="5349" y="3789"/>
                      <a:pt x="5202" y="3733"/>
                      <a:pt x="5044" y="3733"/>
                    </a:cubicBezTo>
                    <a:lnTo>
                      <a:pt x="4882" y="3733"/>
                    </a:lnTo>
                    <a:lnTo>
                      <a:pt x="4718" y="3405"/>
                    </a:lnTo>
                    <a:lnTo>
                      <a:pt x="4593" y="3489"/>
                    </a:lnTo>
                    <a:cubicBezTo>
                      <a:pt x="4353" y="3649"/>
                      <a:pt x="4074" y="3733"/>
                      <a:pt x="3786" y="3733"/>
                    </a:cubicBezTo>
                    <a:lnTo>
                      <a:pt x="3223" y="3733"/>
                    </a:lnTo>
                    <a:cubicBezTo>
                      <a:pt x="3065" y="3733"/>
                      <a:pt x="2918" y="3789"/>
                      <a:pt x="2800" y="3878"/>
                    </a:cubicBezTo>
                    <a:lnTo>
                      <a:pt x="2800" y="3681"/>
                    </a:lnTo>
                    <a:cubicBezTo>
                      <a:pt x="2800" y="2975"/>
                      <a:pt x="3375" y="2400"/>
                      <a:pt x="4081" y="2400"/>
                    </a:cubicBezTo>
                    <a:cubicBezTo>
                      <a:pt x="4423" y="2400"/>
                      <a:pt x="4745" y="2533"/>
                      <a:pt x="4987" y="2775"/>
                    </a:cubicBezTo>
                    <a:lnTo>
                      <a:pt x="5128" y="2917"/>
                    </a:lnTo>
                    <a:lnTo>
                      <a:pt x="5158" y="2927"/>
                    </a:lnTo>
                    <a:cubicBezTo>
                      <a:pt x="5343" y="2988"/>
                      <a:pt x="5467" y="3160"/>
                      <a:pt x="5467" y="3355"/>
                    </a:cubicBezTo>
                    <a:lnTo>
                      <a:pt x="5467" y="3878"/>
                    </a:lnTo>
                    <a:close/>
                    <a:moveTo>
                      <a:pt x="6400" y="267"/>
                    </a:moveTo>
                    <a:cubicBezTo>
                      <a:pt x="6768" y="267"/>
                      <a:pt x="7067" y="566"/>
                      <a:pt x="7067" y="933"/>
                    </a:cubicBezTo>
                    <a:lnTo>
                      <a:pt x="6989" y="933"/>
                    </a:lnTo>
                    <a:cubicBezTo>
                      <a:pt x="6904" y="933"/>
                      <a:pt x="6821" y="899"/>
                      <a:pt x="6761" y="839"/>
                    </a:cubicBezTo>
                    <a:lnTo>
                      <a:pt x="6667" y="745"/>
                    </a:lnTo>
                    <a:lnTo>
                      <a:pt x="6572" y="839"/>
                    </a:lnTo>
                    <a:cubicBezTo>
                      <a:pt x="6513" y="899"/>
                      <a:pt x="6429" y="933"/>
                      <a:pt x="6345" y="933"/>
                    </a:cubicBezTo>
                    <a:lnTo>
                      <a:pt x="5733" y="933"/>
                    </a:lnTo>
                    <a:cubicBezTo>
                      <a:pt x="5733" y="566"/>
                      <a:pt x="6032" y="267"/>
                      <a:pt x="6400" y="267"/>
                    </a:cubicBezTo>
                    <a:close/>
                    <a:moveTo>
                      <a:pt x="5733" y="1333"/>
                    </a:moveTo>
                    <a:lnTo>
                      <a:pt x="5733" y="1200"/>
                    </a:lnTo>
                    <a:lnTo>
                      <a:pt x="6345" y="1200"/>
                    </a:lnTo>
                    <a:cubicBezTo>
                      <a:pt x="6461" y="1200"/>
                      <a:pt x="6572" y="1167"/>
                      <a:pt x="6667" y="1104"/>
                    </a:cubicBezTo>
                    <a:cubicBezTo>
                      <a:pt x="6761" y="1167"/>
                      <a:pt x="6872" y="1200"/>
                      <a:pt x="6989" y="1200"/>
                    </a:cubicBezTo>
                    <a:lnTo>
                      <a:pt x="7067" y="1200"/>
                    </a:lnTo>
                    <a:lnTo>
                      <a:pt x="7067" y="1333"/>
                    </a:lnTo>
                    <a:cubicBezTo>
                      <a:pt x="7067" y="1701"/>
                      <a:pt x="6768" y="2000"/>
                      <a:pt x="6400" y="2000"/>
                    </a:cubicBezTo>
                    <a:cubicBezTo>
                      <a:pt x="6032" y="2000"/>
                      <a:pt x="5733" y="1701"/>
                      <a:pt x="5733" y="1333"/>
                    </a:cubicBezTo>
                    <a:close/>
                    <a:moveTo>
                      <a:pt x="6400" y="2533"/>
                    </a:moveTo>
                    <a:cubicBezTo>
                      <a:pt x="6258" y="2533"/>
                      <a:pt x="6166" y="2414"/>
                      <a:pt x="6133" y="2363"/>
                    </a:cubicBezTo>
                    <a:lnTo>
                      <a:pt x="6133" y="2227"/>
                    </a:lnTo>
                    <a:cubicBezTo>
                      <a:pt x="6218" y="2253"/>
                      <a:pt x="6307" y="2267"/>
                      <a:pt x="6400" y="2267"/>
                    </a:cubicBezTo>
                    <a:cubicBezTo>
                      <a:pt x="6493" y="2267"/>
                      <a:pt x="6582" y="2253"/>
                      <a:pt x="6667" y="2227"/>
                    </a:cubicBezTo>
                    <a:lnTo>
                      <a:pt x="6667" y="2363"/>
                    </a:lnTo>
                    <a:cubicBezTo>
                      <a:pt x="6634" y="2414"/>
                      <a:pt x="6542" y="2533"/>
                      <a:pt x="6400" y="2533"/>
                    </a:cubicBezTo>
                    <a:close/>
                    <a:moveTo>
                      <a:pt x="6400" y="2533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091">
                <a:extLst>
                  <a:ext uri="{FF2B5EF4-FFF2-40B4-BE49-F238E27FC236}">
                    <a16:creationId xmlns:a16="http://schemas.microsoft.com/office/drawing/2014/main" id="{2903438F-B4DF-4ED9-BDC0-C127094FED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49" y="1222"/>
                <a:ext cx="6" cy="6"/>
              </a:xfrm>
              <a:custGeom>
                <a:avLst/>
                <a:gdLst>
                  <a:gd name="T0" fmla="*/ 0 w 266"/>
                  <a:gd name="T1" fmla="*/ 0 h 267"/>
                  <a:gd name="T2" fmla="*/ 266 w 266"/>
                  <a:gd name="T3" fmla="*/ 0 h 267"/>
                  <a:gd name="T4" fmla="*/ 266 w 266"/>
                  <a:gd name="T5" fmla="*/ 267 h 267"/>
                  <a:gd name="T6" fmla="*/ 0 w 266"/>
                  <a:gd name="T7" fmla="*/ 267 h 267"/>
                  <a:gd name="T8" fmla="*/ 0 w 266"/>
                  <a:gd name="T9" fmla="*/ 0 h 267"/>
                  <a:gd name="T10" fmla="*/ 0 w 266"/>
                  <a:gd name="T11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6" h="267">
                    <a:moveTo>
                      <a:pt x="0" y="0"/>
                    </a:moveTo>
                    <a:lnTo>
                      <a:pt x="266" y="0"/>
                    </a:lnTo>
                    <a:lnTo>
                      <a:pt x="266" y="267"/>
                    </a:lnTo>
                    <a:lnTo>
                      <a:pt x="0" y="267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092">
                <a:extLst>
                  <a:ext uri="{FF2B5EF4-FFF2-40B4-BE49-F238E27FC236}">
                    <a16:creationId xmlns:a16="http://schemas.microsoft.com/office/drawing/2014/main" id="{E7A81A3C-C237-4874-8634-BE47AD0155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49" y="1233"/>
                <a:ext cx="6" cy="31"/>
              </a:xfrm>
              <a:custGeom>
                <a:avLst/>
                <a:gdLst>
                  <a:gd name="T0" fmla="*/ 0 w 266"/>
                  <a:gd name="T1" fmla="*/ 0 h 1467"/>
                  <a:gd name="T2" fmla="*/ 266 w 266"/>
                  <a:gd name="T3" fmla="*/ 0 h 1467"/>
                  <a:gd name="T4" fmla="*/ 266 w 266"/>
                  <a:gd name="T5" fmla="*/ 1467 h 1467"/>
                  <a:gd name="T6" fmla="*/ 0 w 266"/>
                  <a:gd name="T7" fmla="*/ 1467 h 1467"/>
                  <a:gd name="T8" fmla="*/ 0 w 266"/>
                  <a:gd name="T9" fmla="*/ 0 h 1467"/>
                  <a:gd name="T10" fmla="*/ 0 w 266"/>
                  <a:gd name="T11" fmla="*/ 0 h 1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6" h="1467">
                    <a:moveTo>
                      <a:pt x="0" y="0"/>
                    </a:moveTo>
                    <a:lnTo>
                      <a:pt x="266" y="0"/>
                    </a:lnTo>
                    <a:lnTo>
                      <a:pt x="266" y="1467"/>
                    </a:lnTo>
                    <a:lnTo>
                      <a:pt x="0" y="1467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2093">
                <a:extLst>
                  <a:ext uri="{FF2B5EF4-FFF2-40B4-BE49-F238E27FC236}">
                    <a16:creationId xmlns:a16="http://schemas.microsoft.com/office/drawing/2014/main" id="{DD5B3A07-8B70-420D-84C6-4875E1409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88" y="1222"/>
                <a:ext cx="6" cy="6"/>
              </a:xfrm>
              <a:custGeom>
                <a:avLst/>
                <a:gdLst>
                  <a:gd name="T0" fmla="*/ 0 w 267"/>
                  <a:gd name="T1" fmla="*/ 0 h 267"/>
                  <a:gd name="T2" fmla="*/ 267 w 267"/>
                  <a:gd name="T3" fmla="*/ 0 h 267"/>
                  <a:gd name="T4" fmla="*/ 267 w 267"/>
                  <a:gd name="T5" fmla="*/ 267 h 267"/>
                  <a:gd name="T6" fmla="*/ 0 w 267"/>
                  <a:gd name="T7" fmla="*/ 267 h 267"/>
                  <a:gd name="T8" fmla="*/ 0 w 267"/>
                  <a:gd name="T9" fmla="*/ 0 h 267"/>
                  <a:gd name="T10" fmla="*/ 0 w 267"/>
                  <a:gd name="T11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267">
                    <a:moveTo>
                      <a:pt x="0" y="0"/>
                    </a:moveTo>
                    <a:lnTo>
                      <a:pt x="267" y="0"/>
                    </a:lnTo>
                    <a:lnTo>
                      <a:pt x="267" y="267"/>
                    </a:lnTo>
                    <a:lnTo>
                      <a:pt x="0" y="267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2094">
                <a:extLst>
                  <a:ext uri="{FF2B5EF4-FFF2-40B4-BE49-F238E27FC236}">
                    <a16:creationId xmlns:a16="http://schemas.microsoft.com/office/drawing/2014/main" id="{DA0651F2-0322-4B6B-9DBA-2F226E5771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88" y="1233"/>
                <a:ext cx="6" cy="31"/>
              </a:xfrm>
              <a:custGeom>
                <a:avLst/>
                <a:gdLst>
                  <a:gd name="T0" fmla="*/ 0 w 267"/>
                  <a:gd name="T1" fmla="*/ 0 h 1467"/>
                  <a:gd name="T2" fmla="*/ 267 w 267"/>
                  <a:gd name="T3" fmla="*/ 0 h 1467"/>
                  <a:gd name="T4" fmla="*/ 267 w 267"/>
                  <a:gd name="T5" fmla="*/ 1467 h 1467"/>
                  <a:gd name="T6" fmla="*/ 0 w 267"/>
                  <a:gd name="T7" fmla="*/ 1467 h 1467"/>
                  <a:gd name="T8" fmla="*/ 0 w 267"/>
                  <a:gd name="T9" fmla="*/ 0 h 1467"/>
                  <a:gd name="T10" fmla="*/ 0 w 267"/>
                  <a:gd name="T11" fmla="*/ 0 h 1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1467">
                    <a:moveTo>
                      <a:pt x="0" y="0"/>
                    </a:moveTo>
                    <a:lnTo>
                      <a:pt x="267" y="0"/>
                    </a:lnTo>
                    <a:lnTo>
                      <a:pt x="267" y="1467"/>
                    </a:lnTo>
                    <a:lnTo>
                      <a:pt x="0" y="1467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095">
                <a:extLst>
                  <a:ext uri="{FF2B5EF4-FFF2-40B4-BE49-F238E27FC236}">
                    <a16:creationId xmlns:a16="http://schemas.microsoft.com/office/drawing/2014/main" id="{B6EC7D0A-E25F-42D2-A129-6497752516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0" y="1233"/>
                <a:ext cx="6" cy="20"/>
              </a:xfrm>
              <a:custGeom>
                <a:avLst/>
                <a:gdLst>
                  <a:gd name="T0" fmla="*/ 0 w 267"/>
                  <a:gd name="T1" fmla="*/ 0 h 934"/>
                  <a:gd name="T2" fmla="*/ 267 w 267"/>
                  <a:gd name="T3" fmla="*/ 0 h 934"/>
                  <a:gd name="T4" fmla="*/ 267 w 267"/>
                  <a:gd name="T5" fmla="*/ 934 h 934"/>
                  <a:gd name="T6" fmla="*/ 0 w 267"/>
                  <a:gd name="T7" fmla="*/ 934 h 934"/>
                  <a:gd name="T8" fmla="*/ 0 w 267"/>
                  <a:gd name="T9" fmla="*/ 0 h 934"/>
                  <a:gd name="T10" fmla="*/ 0 w 267"/>
                  <a:gd name="T11" fmla="*/ 0 h 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934">
                    <a:moveTo>
                      <a:pt x="0" y="0"/>
                    </a:moveTo>
                    <a:lnTo>
                      <a:pt x="267" y="0"/>
                    </a:lnTo>
                    <a:lnTo>
                      <a:pt x="267" y="934"/>
                    </a:lnTo>
                    <a:lnTo>
                      <a:pt x="0" y="934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096">
                <a:extLst>
                  <a:ext uri="{FF2B5EF4-FFF2-40B4-BE49-F238E27FC236}">
                    <a16:creationId xmlns:a16="http://schemas.microsoft.com/office/drawing/2014/main" id="{94687F2C-F073-49DE-8681-4E1C962993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0" y="1258"/>
                <a:ext cx="6" cy="6"/>
              </a:xfrm>
              <a:custGeom>
                <a:avLst/>
                <a:gdLst>
                  <a:gd name="T0" fmla="*/ 0 w 267"/>
                  <a:gd name="T1" fmla="*/ 0 h 267"/>
                  <a:gd name="T2" fmla="*/ 267 w 267"/>
                  <a:gd name="T3" fmla="*/ 0 h 267"/>
                  <a:gd name="T4" fmla="*/ 267 w 267"/>
                  <a:gd name="T5" fmla="*/ 267 h 267"/>
                  <a:gd name="T6" fmla="*/ 0 w 267"/>
                  <a:gd name="T7" fmla="*/ 267 h 267"/>
                  <a:gd name="T8" fmla="*/ 0 w 267"/>
                  <a:gd name="T9" fmla="*/ 0 h 267"/>
                  <a:gd name="T10" fmla="*/ 0 w 267"/>
                  <a:gd name="T11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267">
                    <a:moveTo>
                      <a:pt x="0" y="0"/>
                    </a:moveTo>
                    <a:lnTo>
                      <a:pt x="267" y="0"/>
                    </a:lnTo>
                    <a:lnTo>
                      <a:pt x="267" y="267"/>
                    </a:lnTo>
                    <a:lnTo>
                      <a:pt x="0" y="267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097">
                <a:extLst>
                  <a:ext uri="{FF2B5EF4-FFF2-40B4-BE49-F238E27FC236}">
                    <a16:creationId xmlns:a16="http://schemas.microsoft.com/office/drawing/2014/main" id="{88F7160B-5458-4C3B-9CB6-E996BF792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7" y="1233"/>
                <a:ext cx="6" cy="20"/>
              </a:xfrm>
              <a:custGeom>
                <a:avLst/>
                <a:gdLst>
                  <a:gd name="T0" fmla="*/ 0 w 267"/>
                  <a:gd name="T1" fmla="*/ 0 h 934"/>
                  <a:gd name="T2" fmla="*/ 267 w 267"/>
                  <a:gd name="T3" fmla="*/ 0 h 934"/>
                  <a:gd name="T4" fmla="*/ 267 w 267"/>
                  <a:gd name="T5" fmla="*/ 934 h 934"/>
                  <a:gd name="T6" fmla="*/ 0 w 267"/>
                  <a:gd name="T7" fmla="*/ 934 h 934"/>
                  <a:gd name="T8" fmla="*/ 0 w 267"/>
                  <a:gd name="T9" fmla="*/ 0 h 934"/>
                  <a:gd name="T10" fmla="*/ 0 w 267"/>
                  <a:gd name="T11" fmla="*/ 0 h 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934">
                    <a:moveTo>
                      <a:pt x="0" y="0"/>
                    </a:moveTo>
                    <a:lnTo>
                      <a:pt x="267" y="0"/>
                    </a:lnTo>
                    <a:lnTo>
                      <a:pt x="267" y="934"/>
                    </a:lnTo>
                    <a:lnTo>
                      <a:pt x="0" y="934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098">
                <a:extLst>
                  <a:ext uri="{FF2B5EF4-FFF2-40B4-BE49-F238E27FC236}">
                    <a16:creationId xmlns:a16="http://schemas.microsoft.com/office/drawing/2014/main" id="{B29C49CF-D375-4884-8405-1688E2A70C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7" y="1258"/>
                <a:ext cx="6" cy="6"/>
              </a:xfrm>
              <a:custGeom>
                <a:avLst/>
                <a:gdLst>
                  <a:gd name="T0" fmla="*/ 0 w 267"/>
                  <a:gd name="T1" fmla="*/ 0 h 267"/>
                  <a:gd name="T2" fmla="*/ 267 w 267"/>
                  <a:gd name="T3" fmla="*/ 0 h 267"/>
                  <a:gd name="T4" fmla="*/ 267 w 267"/>
                  <a:gd name="T5" fmla="*/ 267 h 267"/>
                  <a:gd name="T6" fmla="*/ 0 w 267"/>
                  <a:gd name="T7" fmla="*/ 267 h 267"/>
                  <a:gd name="T8" fmla="*/ 0 w 267"/>
                  <a:gd name="T9" fmla="*/ 0 h 267"/>
                  <a:gd name="T10" fmla="*/ 0 w 267"/>
                  <a:gd name="T11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267">
                    <a:moveTo>
                      <a:pt x="0" y="0"/>
                    </a:moveTo>
                    <a:lnTo>
                      <a:pt x="267" y="0"/>
                    </a:lnTo>
                    <a:lnTo>
                      <a:pt x="267" y="267"/>
                    </a:lnTo>
                    <a:lnTo>
                      <a:pt x="0" y="267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442C5019-260D-4EB0-AA35-7D4F59377F1B}"/>
                </a:ext>
              </a:extLst>
            </p:cNvPr>
            <p:cNvGrpSpPr/>
            <p:nvPr/>
          </p:nvGrpSpPr>
          <p:grpSpPr>
            <a:xfrm>
              <a:off x="11056842" y="1365091"/>
              <a:ext cx="678326" cy="678326"/>
              <a:chOff x="3101975" y="2686050"/>
              <a:chExt cx="857250" cy="857250"/>
            </a:xfrm>
            <a:solidFill>
              <a:srgbClr val="B1C7F7">
                <a:alpha val="50000"/>
              </a:srgbClr>
            </a:solidFill>
          </p:grpSpPr>
          <p:sp>
            <p:nvSpPr>
              <p:cNvPr id="73" name="Freeform 111">
                <a:extLst>
                  <a:ext uri="{FF2B5EF4-FFF2-40B4-BE49-F238E27FC236}">
                    <a16:creationId xmlns:a16="http://schemas.microsoft.com/office/drawing/2014/main" id="{6639FB56-B31A-4D16-82D8-4EEFECFB7A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01975" y="2686050"/>
                <a:ext cx="857250" cy="857250"/>
              </a:xfrm>
              <a:custGeom>
                <a:avLst/>
                <a:gdLst>
                  <a:gd name="T0" fmla="*/ 7515 w 8267"/>
                  <a:gd name="T1" fmla="*/ 2933 h 8267"/>
                  <a:gd name="T2" fmla="*/ 6267 w 8267"/>
                  <a:gd name="T3" fmla="*/ 0 h 8267"/>
                  <a:gd name="T4" fmla="*/ 5019 w 8267"/>
                  <a:gd name="T5" fmla="*/ 2933 h 8267"/>
                  <a:gd name="T6" fmla="*/ 4267 w 8267"/>
                  <a:gd name="T7" fmla="*/ 933 h 8267"/>
                  <a:gd name="T8" fmla="*/ 3428 w 8267"/>
                  <a:gd name="T9" fmla="*/ 39 h 8267"/>
                  <a:gd name="T10" fmla="*/ 133 w 8267"/>
                  <a:gd name="T11" fmla="*/ 0 h 8267"/>
                  <a:gd name="T12" fmla="*/ 0 w 8267"/>
                  <a:gd name="T13" fmla="*/ 5200 h 8267"/>
                  <a:gd name="T14" fmla="*/ 1067 w 8267"/>
                  <a:gd name="T15" fmla="*/ 5333 h 8267"/>
                  <a:gd name="T16" fmla="*/ 1467 w 8267"/>
                  <a:gd name="T17" fmla="*/ 6933 h 8267"/>
                  <a:gd name="T18" fmla="*/ 4133 w 8267"/>
                  <a:gd name="T19" fmla="*/ 7467 h 8267"/>
                  <a:gd name="T20" fmla="*/ 2800 w 8267"/>
                  <a:gd name="T21" fmla="*/ 8133 h 8267"/>
                  <a:gd name="T22" fmla="*/ 6400 w 8267"/>
                  <a:gd name="T23" fmla="*/ 8267 h 8267"/>
                  <a:gd name="T24" fmla="*/ 5867 w 8267"/>
                  <a:gd name="T25" fmla="*/ 7467 h 8267"/>
                  <a:gd name="T26" fmla="*/ 5200 w 8267"/>
                  <a:gd name="T27" fmla="*/ 6933 h 8267"/>
                  <a:gd name="T28" fmla="*/ 8267 w 8267"/>
                  <a:gd name="T29" fmla="*/ 6533 h 8267"/>
                  <a:gd name="T30" fmla="*/ 7867 w 8267"/>
                  <a:gd name="T31" fmla="*/ 2933 h 8267"/>
                  <a:gd name="T32" fmla="*/ 7733 w 8267"/>
                  <a:gd name="T33" fmla="*/ 1733 h 8267"/>
                  <a:gd name="T34" fmla="*/ 4800 w 8267"/>
                  <a:gd name="T35" fmla="*/ 1733 h 8267"/>
                  <a:gd name="T36" fmla="*/ 6000 w 8267"/>
                  <a:gd name="T37" fmla="*/ 4533 h 8267"/>
                  <a:gd name="T38" fmla="*/ 6533 w 8267"/>
                  <a:gd name="T39" fmla="*/ 5867 h 8267"/>
                  <a:gd name="T40" fmla="*/ 6000 w 8267"/>
                  <a:gd name="T41" fmla="*/ 5867 h 8267"/>
                  <a:gd name="T42" fmla="*/ 6000 w 8267"/>
                  <a:gd name="T43" fmla="*/ 4267 h 8267"/>
                  <a:gd name="T44" fmla="*/ 6533 w 8267"/>
                  <a:gd name="T45" fmla="*/ 4000 h 8267"/>
                  <a:gd name="T46" fmla="*/ 6000 w 8267"/>
                  <a:gd name="T47" fmla="*/ 4267 h 8267"/>
                  <a:gd name="T48" fmla="*/ 6000 w 8267"/>
                  <a:gd name="T49" fmla="*/ 3733 h 8267"/>
                  <a:gd name="T50" fmla="*/ 6267 w 8267"/>
                  <a:gd name="T51" fmla="*/ 3467 h 8267"/>
                  <a:gd name="T52" fmla="*/ 6533 w 8267"/>
                  <a:gd name="T53" fmla="*/ 3733 h 8267"/>
                  <a:gd name="T54" fmla="*/ 5733 w 8267"/>
                  <a:gd name="T55" fmla="*/ 3382 h 8267"/>
                  <a:gd name="T56" fmla="*/ 4267 w 8267"/>
                  <a:gd name="T57" fmla="*/ 3467 h 8267"/>
                  <a:gd name="T58" fmla="*/ 5347 w 8267"/>
                  <a:gd name="T59" fmla="*/ 3200 h 8267"/>
                  <a:gd name="T60" fmla="*/ 3811 w 8267"/>
                  <a:gd name="T61" fmla="*/ 800 h 8267"/>
                  <a:gd name="T62" fmla="*/ 3467 w 8267"/>
                  <a:gd name="T63" fmla="*/ 455 h 8267"/>
                  <a:gd name="T64" fmla="*/ 3200 w 8267"/>
                  <a:gd name="T65" fmla="*/ 267 h 8267"/>
                  <a:gd name="T66" fmla="*/ 3333 w 8267"/>
                  <a:gd name="T67" fmla="*/ 1067 h 8267"/>
                  <a:gd name="T68" fmla="*/ 4000 w 8267"/>
                  <a:gd name="T69" fmla="*/ 5067 h 8267"/>
                  <a:gd name="T70" fmla="*/ 267 w 8267"/>
                  <a:gd name="T71" fmla="*/ 267 h 8267"/>
                  <a:gd name="T72" fmla="*/ 3089 w 8267"/>
                  <a:gd name="T73" fmla="*/ 8000 h 8267"/>
                  <a:gd name="T74" fmla="*/ 5867 w 8267"/>
                  <a:gd name="T75" fmla="*/ 7733 h 8267"/>
                  <a:gd name="T76" fmla="*/ 4933 w 8267"/>
                  <a:gd name="T77" fmla="*/ 7467 h 8267"/>
                  <a:gd name="T78" fmla="*/ 4400 w 8267"/>
                  <a:gd name="T79" fmla="*/ 6933 h 8267"/>
                  <a:gd name="T80" fmla="*/ 4933 w 8267"/>
                  <a:gd name="T81" fmla="*/ 7467 h 8267"/>
                  <a:gd name="T82" fmla="*/ 7867 w 8267"/>
                  <a:gd name="T83" fmla="*/ 6667 h 8267"/>
                  <a:gd name="T84" fmla="*/ 1333 w 8267"/>
                  <a:gd name="T85" fmla="*/ 6533 h 8267"/>
                  <a:gd name="T86" fmla="*/ 1600 w 8267"/>
                  <a:gd name="T87" fmla="*/ 5333 h 8267"/>
                  <a:gd name="T88" fmla="*/ 1733 w 8267"/>
                  <a:gd name="T89" fmla="*/ 6400 h 8267"/>
                  <a:gd name="T90" fmla="*/ 5467 w 8267"/>
                  <a:gd name="T91" fmla="*/ 6133 h 8267"/>
                  <a:gd name="T92" fmla="*/ 1867 w 8267"/>
                  <a:gd name="T93" fmla="*/ 5333 h 8267"/>
                  <a:gd name="T94" fmla="*/ 4267 w 8267"/>
                  <a:gd name="T95" fmla="*/ 5200 h 8267"/>
                  <a:gd name="T96" fmla="*/ 5733 w 8267"/>
                  <a:gd name="T97" fmla="*/ 3733 h 8267"/>
                  <a:gd name="T98" fmla="*/ 5467 w 8267"/>
                  <a:gd name="T99" fmla="*/ 4267 h 8267"/>
                  <a:gd name="T100" fmla="*/ 5733 w 8267"/>
                  <a:gd name="T101" fmla="*/ 4533 h 8267"/>
                  <a:gd name="T102" fmla="*/ 6267 w 8267"/>
                  <a:gd name="T103" fmla="*/ 6400 h 8267"/>
                  <a:gd name="T104" fmla="*/ 6800 w 8267"/>
                  <a:gd name="T105" fmla="*/ 4533 h 8267"/>
                  <a:gd name="T106" fmla="*/ 7067 w 8267"/>
                  <a:gd name="T107" fmla="*/ 4267 h 8267"/>
                  <a:gd name="T108" fmla="*/ 6800 w 8267"/>
                  <a:gd name="T109" fmla="*/ 3733 h 8267"/>
                  <a:gd name="T110" fmla="*/ 7467 w 8267"/>
                  <a:gd name="T111" fmla="*/ 6133 h 8267"/>
                  <a:gd name="T112" fmla="*/ 7067 w 8267"/>
                  <a:gd name="T113" fmla="*/ 6400 h 8267"/>
                  <a:gd name="T114" fmla="*/ 7733 w 8267"/>
                  <a:gd name="T115" fmla="*/ 6267 h 8267"/>
                  <a:gd name="T116" fmla="*/ 7600 w 8267"/>
                  <a:gd name="T117" fmla="*/ 3467 h 8267"/>
                  <a:gd name="T118" fmla="*/ 6800 w 8267"/>
                  <a:gd name="T119" fmla="*/ 3382 h 8267"/>
                  <a:gd name="T120" fmla="*/ 7867 w 8267"/>
                  <a:gd name="T121" fmla="*/ 3200 h 8267"/>
                  <a:gd name="T122" fmla="*/ 8000 w 8267"/>
                  <a:gd name="T123" fmla="*/ 6533 h 8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267" h="8267">
                    <a:moveTo>
                      <a:pt x="7867" y="2933"/>
                    </a:moveTo>
                    <a:lnTo>
                      <a:pt x="7515" y="2933"/>
                    </a:lnTo>
                    <a:cubicBezTo>
                      <a:pt x="7814" y="2622"/>
                      <a:pt x="8000" y="2199"/>
                      <a:pt x="8000" y="1733"/>
                    </a:cubicBezTo>
                    <a:cubicBezTo>
                      <a:pt x="8000" y="778"/>
                      <a:pt x="7222" y="0"/>
                      <a:pt x="6267" y="0"/>
                    </a:cubicBezTo>
                    <a:cubicBezTo>
                      <a:pt x="5311" y="0"/>
                      <a:pt x="4533" y="778"/>
                      <a:pt x="4533" y="1733"/>
                    </a:cubicBezTo>
                    <a:cubicBezTo>
                      <a:pt x="4533" y="2199"/>
                      <a:pt x="4719" y="2622"/>
                      <a:pt x="5019" y="2933"/>
                    </a:cubicBezTo>
                    <a:lnTo>
                      <a:pt x="4267" y="2933"/>
                    </a:lnTo>
                    <a:lnTo>
                      <a:pt x="4267" y="933"/>
                    </a:lnTo>
                    <a:cubicBezTo>
                      <a:pt x="4267" y="896"/>
                      <a:pt x="4252" y="863"/>
                      <a:pt x="4227" y="839"/>
                    </a:cubicBezTo>
                    <a:lnTo>
                      <a:pt x="3428" y="39"/>
                    </a:lnTo>
                    <a:cubicBezTo>
                      <a:pt x="3404" y="15"/>
                      <a:pt x="3370" y="0"/>
                      <a:pt x="3333" y="0"/>
                    </a:cubicBezTo>
                    <a:lnTo>
                      <a:pt x="133" y="0"/>
                    </a:lnTo>
                    <a:cubicBezTo>
                      <a:pt x="60" y="0"/>
                      <a:pt x="0" y="60"/>
                      <a:pt x="0" y="133"/>
                    </a:cubicBezTo>
                    <a:lnTo>
                      <a:pt x="0" y="5200"/>
                    </a:lnTo>
                    <a:cubicBezTo>
                      <a:pt x="0" y="5274"/>
                      <a:pt x="60" y="5333"/>
                      <a:pt x="133" y="5333"/>
                    </a:cubicBezTo>
                    <a:lnTo>
                      <a:pt x="1067" y="5333"/>
                    </a:lnTo>
                    <a:lnTo>
                      <a:pt x="1067" y="6533"/>
                    </a:lnTo>
                    <a:cubicBezTo>
                      <a:pt x="1067" y="6754"/>
                      <a:pt x="1246" y="6933"/>
                      <a:pt x="1467" y="6933"/>
                    </a:cubicBezTo>
                    <a:lnTo>
                      <a:pt x="4133" y="6933"/>
                    </a:lnTo>
                    <a:lnTo>
                      <a:pt x="4133" y="7467"/>
                    </a:lnTo>
                    <a:lnTo>
                      <a:pt x="3467" y="7467"/>
                    </a:lnTo>
                    <a:cubicBezTo>
                      <a:pt x="3099" y="7467"/>
                      <a:pt x="2800" y="7766"/>
                      <a:pt x="2800" y="8133"/>
                    </a:cubicBezTo>
                    <a:cubicBezTo>
                      <a:pt x="2800" y="8207"/>
                      <a:pt x="2860" y="8267"/>
                      <a:pt x="2933" y="8267"/>
                    </a:cubicBezTo>
                    <a:lnTo>
                      <a:pt x="6400" y="8267"/>
                    </a:lnTo>
                    <a:cubicBezTo>
                      <a:pt x="6474" y="8267"/>
                      <a:pt x="6533" y="8207"/>
                      <a:pt x="6533" y="8133"/>
                    </a:cubicBezTo>
                    <a:cubicBezTo>
                      <a:pt x="6533" y="7766"/>
                      <a:pt x="6234" y="7467"/>
                      <a:pt x="5867" y="7467"/>
                    </a:cubicBezTo>
                    <a:lnTo>
                      <a:pt x="5200" y="7467"/>
                    </a:lnTo>
                    <a:lnTo>
                      <a:pt x="5200" y="6933"/>
                    </a:lnTo>
                    <a:lnTo>
                      <a:pt x="7867" y="6933"/>
                    </a:lnTo>
                    <a:cubicBezTo>
                      <a:pt x="8087" y="6933"/>
                      <a:pt x="8267" y="6754"/>
                      <a:pt x="8267" y="6533"/>
                    </a:cubicBezTo>
                    <a:lnTo>
                      <a:pt x="8267" y="3333"/>
                    </a:lnTo>
                    <a:cubicBezTo>
                      <a:pt x="8267" y="3113"/>
                      <a:pt x="8087" y="2933"/>
                      <a:pt x="7867" y="2933"/>
                    </a:cubicBezTo>
                    <a:close/>
                    <a:moveTo>
                      <a:pt x="6267" y="267"/>
                    </a:moveTo>
                    <a:cubicBezTo>
                      <a:pt x="7075" y="267"/>
                      <a:pt x="7733" y="925"/>
                      <a:pt x="7733" y="1733"/>
                    </a:cubicBezTo>
                    <a:cubicBezTo>
                      <a:pt x="7733" y="2542"/>
                      <a:pt x="7075" y="3200"/>
                      <a:pt x="6267" y="3200"/>
                    </a:cubicBezTo>
                    <a:cubicBezTo>
                      <a:pt x="5458" y="3200"/>
                      <a:pt x="4800" y="2542"/>
                      <a:pt x="4800" y="1733"/>
                    </a:cubicBezTo>
                    <a:cubicBezTo>
                      <a:pt x="4800" y="925"/>
                      <a:pt x="5458" y="267"/>
                      <a:pt x="6267" y="267"/>
                    </a:cubicBezTo>
                    <a:close/>
                    <a:moveTo>
                      <a:pt x="6000" y="4533"/>
                    </a:moveTo>
                    <a:lnTo>
                      <a:pt x="6533" y="4533"/>
                    </a:lnTo>
                    <a:lnTo>
                      <a:pt x="6533" y="5867"/>
                    </a:lnTo>
                    <a:cubicBezTo>
                      <a:pt x="6533" y="6014"/>
                      <a:pt x="6414" y="6133"/>
                      <a:pt x="6267" y="6133"/>
                    </a:cubicBezTo>
                    <a:cubicBezTo>
                      <a:pt x="6120" y="6133"/>
                      <a:pt x="6000" y="6014"/>
                      <a:pt x="6000" y="5867"/>
                    </a:cubicBezTo>
                    <a:lnTo>
                      <a:pt x="6000" y="4533"/>
                    </a:lnTo>
                    <a:close/>
                    <a:moveTo>
                      <a:pt x="6000" y="4267"/>
                    </a:moveTo>
                    <a:lnTo>
                      <a:pt x="6000" y="4000"/>
                    </a:lnTo>
                    <a:lnTo>
                      <a:pt x="6533" y="4000"/>
                    </a:lnTo>
                    <a:lnTo>
                      <a:pt x="6533" y="4267"/>
                    </a:lnTo>
                    <a:lnTo>
                      <a:pt x="6000" y="4267"/>
                    </a:lnTo>
                    <a:close/>
                    <a:moveTo>
                      <a:pt x="6533" y="3733"/>
                    </a:moveTo>
                    <a:lnTo>
                      <a:pt x="6000" y="3733"/>
                    </a:lnTo>
                    <a:lnTo>
                      <a:pt x="6000" y="3444"/>
                    </a:lnTo>
                    <a:cubicBezTo>
                      <a:pt x="6087" y="3458"/>
                      <a:pt x="6176" y="3467"/>
                      <a:pt x="6267" y="3467"/>
                    </a:cubicBezTo>
                    <a:cubicBezTo>
                      <a:pt x="6358" y="3467"/>
                      <a:pt x="6446" y="3457"/>
                      <a:pt x="6533" y="3444"/>
                    </a:cubicBezTo>
                    <a:lnTo>
                      <a:pt x="6533" y="3733"/>
                    </a:lnTo>
                    <a:close/>
                    <a:moveTo>
                      <a:pt x="5347" y="3200"/>
                    </a:moveTo>
                    <a:cubicBezTo>
                      <a:pt x="5467" y="3275"/>
                      <a:pt x="5596" y="3337"/>
                      <a:pt x="5733" y="3382"/>
                    </a:cubicBezTo>
                    <a:lnTo>
                      <a:pt x="5733" y="3467"/>
                    </a:lnTo>
                    <a:lnTo>
                      <a:pt x="4267" y="3467"/>
                    </a:lnTo>
                    <a:lnTo>
                      <a:pt x="4267" y="3200"/>
                    </a:lnTo>
                    <a:lnTo>
                      <a:pt x="5347" y="3200"/>
                    </a:lnTo>
                    <a:close/>
                    <a:moveTo>
                      <a:pt x="3467" y="455"/>
                    </a:moveTo>
                    <a:lnTo>
                      <a:pt x="3811" y="800"/>
                    </a:lnTo>
                    <a:lnTo>
                      <a:pt x="3467" y="800"/>
                    </a:lnTo>
                    <a:lnTo>
                      <a:pt x="3467" y="455"/>
                    </a:lnTo>
                    <a:close/>
                    <a:moveTo>
                      <a:pt x="267" y="267"/>
                    </a:moveTo>
                    <a:lnTo>
                      <a:pt x="3200" y="267"/>
                    </a:lnTo>
                    <a:lnTo>
                      <a:pt x="3200" y="933"/>
                    </a:lnTo>
                    <a:cubicBezTo>
                      <a:pt x="3200" y="1007"/>
                      <a:pt x="3260" y="1067"/>
                      <a:pt x="3333" y="1067"/>
                    </a:cubicBezTo>
                    <a:lnTo>
                      <a:pt x="4000" y="1067"/>
                    </a:lnTo>
                    <a:lnTo>
                      <a:pt x="4000" y="5067"/>
                    </a:lnTo>
                    <a:lnTo>
                      <a:pt x="267" y="5067"/>
                    </a:lnTo>
                    <a:lnTo>
                      <a:pt x="267" y="267"/>
                    </a:lnTo>
                    <a:close/>
                    <a:moveTo>
                      <a:pt x="6244" y="8000"/>
                    </a:moveTo>
                    <a:lnTo>
                      <a:pt x="3089" y="8000"/>
                    </a:lnTo>
                    <a:cubicBezTo>
                      <a:pt x="3145" y="7845"/>
                      <a:pt x="3293" y="7733"/>
                      <a:pt x="3467" y="7733"/>
                    </a:cubicBezTo>
                    <a:lnTo>
                      <a:pt x="5867" y="7733"/>
                    </a:lnTo>
                    <a:cubicBezTo>
                      <a:pt x="6041" y="7733"/>
                      <a:pt x="6189" y="7845"/>
                      <a:pt x="6244" y="8000"/>
                    </a:cubicBezTo>
                    <a:close/>
                    <a:moveTo>
                      <a:pt x="4933" y="7467"/>
                    </a:moveTo>
                    <a:lnTo>
                      <a:pt x="4400" y="7467"/>
                    </a:lnTo>
                    <a:lnTo>
                      <a:pt x="4400" y="6933"/>
                    </a:lnTo>
                    <a:lnTo>
                      <a:pt x="4933" y="6933"/>
                    </a:lnTo>
                    <a:lnTo>
                      <a:pt x="4933" y="7467"/>
                    </a:lnTo>
                    <a:close/>
                    <a:moveTo>
                      <a:pt x="8000" y="6533"/>
                    </a:moveTo>
                    <a:cubicBezTo>
                      <a:pt x="8000" y="6607"/>
                      <a:pt x="7940" y="6667"/>
                      <a:pt x="7867" y="6667"/>
                    </a:cubicBezTo>
                    <a:lnTo>
                      <a:pt x="1467" y="6667"/>
                    </a:lnTo>
                    <a:cubicBezTo>
                      <a:pt x="1393" y="6667"/>
                      <a:pt x="1333" y="6607"/>
                      <a:pt x="1333" y="6533"/>
                    </a:cubicBezTo>
                    <a:lnTo>
                      <a:pt x="1333" y="5333"/>
                    </a:lnTo>
                    <a:lnTo>
                      <a:pt x="1600" y="5333"/>
                    </a:lnTo>
                    <a:lnTo>
                      <a:pt x="1600" y="6267"/>
                    </a:lnTo>
                    <a:cubicBezTo>
                      <a:pt x="1600" y="6340"/>
                      <a:pt x="1660" y="6400"/>
                      <a:pt x="1733" y="6400"/>
                    </a:cubicBezTo>
                    <a:lnTo>
                      <a:pt x="5467" y="6400"/>
                    </a:lnTo>
                    <a:lnTo>
                      <a:pt x="5467" y="6133"/>
                    </a:lnTo>
                    <a:lnTo>
                      <a:pt x="1867" y="6133"/>
                    </a:lnTo>
                    <a:lnTo>
                      <a:pt x="1867" y="5333"/>
                    </a:lnTo>
                    <a:lnTo>
                      <a:pt x="4133" y="5333"/>
                    </a:lnTo>
                    <a:cubicBezTo>
                      <a:pt x="4207" y="5333"/>
                      <a:pt x="4267" y="5274"/>
                      <a:pt x="4267" y="5200"/>
                    </a:cubicBezTo>
                    <a:lnTo>
                      <a:pt x="4267" y="3733"/>
                    </a:lnTo>
                    <a:lnTo>
                      <a:pt x="5733" y="3733"/>
                    </a:lnTo>
                    <a:lnTo>
                      <a:pt x="5733" y="4267"/>
                    </a:lnTo>
                    <a:lnTo>
                      <a:pt x="5467" y="4267"/>
                    </a:lnTo>
                    <a:lnTo>
                      <a:pt x="5467" y="4533"/>
                    </a:lnTo>
                    <a:lnTo>
                      <a:pt x="5733" y="4533"/>
                    </a:lnTo>
                    <a:lnTo>
                      <a:pt x="5733" y="5867"/>
                    </a:lnTo>
                    <a:cubicBezTo>
                      <a:pt x="5733" y="6161"/>
                      <a:pt x="5973" y="6400"/>
                      <a:pt x="6267" y="6400"/>
                    </a:cubicBezTo>
                    <a:cubicBezTo>
                      <a:pt x="6561" y="6400"/>
                      <a:pt x="6800" y="6161"/>
                      <a:pt x="6800" y="5867"/>
                    </a:cubicBezTo>
                    <a:lnTo>
                      <a:pt x="6800" y="4533"/>
                    </a:lnTo>
                    <a:lnTo>
                      <a:pt x="7067" y="4533"/>
                    </a:lnTo>
                    <a:lnTo>
                      <a:pt x="7067" y="4267"/>
                    </a:lnTo>
                    <a:lnTo>
                      <a:pt x="6800" y="4267"/>
                    </a:lnTo>
                    <a:lnTo>
                      <a:pt x="6800" y="3733"/>
                    </a:lnTo>
                    <a:lnTo>
                      <a:pt x="7467" y="3733"/>
                    </a:lnTo>
                    <a:lnTo>
                      <a:pt x="7467" y="6133"/>
                    </a:lnTo>
                    <a:lnTo>
                      <a:pt x="7067" y="6133"/>
                    </a:lnTo>
                    <a:lnTo>
                      <a:pt x="7067" y="6400"/>
                    </a:lnTo>
                    <a:lnTo>
                      <a:pt x="7600" y="6400"/>
                    </a:lnTo>
                    <a:cubicBezTo>
                      <a:pt x="7674" y="6400"/>
                      <a:pt x="7733" y="6340"/>
                      <a:pt x="7733" y="6267"/>
                    </a:cubicBezTo>
                    <a:lnTo>
                      <a:pt x="7733" y="3600"/>
                    </a:lnTo>
                    <a:cubicBezTo>
                      <a:pt x="7733" y="3526"/>
                      <a:pt x="7674" y="3467"/>
                      <a:pt x="7600" y="3467"/>
                    </a:cubicBezTo>
                    <a:lnTo>
                      <a:pt x="6800" y="3467"/>
                    </a:lnTo>
                    <a:lnTo>
                      <a:pt x="6800" y="3382"/>
                    </a:lnTo>
                    <a:cubicBezTo>
                      <a:pt x="6937" y="3337"/>
                      <a:pt x="7066" y="3275"/>
                      <a:pt x="7186" y="3200"/>
                    </a:cubicBezTo>
                    <a:lnTo>
                      <a:pt x="7867" y="3200"/>
                    </a:lnTo>
                    <a:cubicBezTo>
                      <a:pt x="7940" y="3200"/>
                      <a:pt x="8000" y="3260"/>
                      <a:pt x="8000" y="3333"/>
                    </a:cubicBezTo>
                    <a:lnTo>
                      <a:pt x="8000" y="6533"/>
                    </a:lnTo>
                    <a:close/>
                    <a:moveTo>
                      <a:pt x="8000" y="6533"/>
                    </a:move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112">
                <a:extLst>
                  <a:ext uri="{FF2B5EF4-FFF2-40B4-BE49-F238E27FC236}">
                    <a16:creationId xmlns:a16="http://schemas.microsoft.com/office/drawing/2014/main" id="{4ACEFA08-6D2F-46A3-9EAD-CC0F24A2F9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57538" y="2852738"/>
                <a:ext cx="331788" cy="331788"/>
              </a:xfrm>
              <a:custGeom>
                <a:avLst/>
                <a:gdLst>
                  <a:gd name="T0" fmla="*/ 1600 w 3200"/>
                  <a:gd name="T1" fmla="*/ 0 h 3200"/>
                  <a:gd name="T2" fmla="*/ 0 w 3200"/>
                  <a:gd name="T3" fmla="*/ 1600 h 3200"/>
                  <a:gd name="T4" fmla="*/ 1600 w 3200"/>
                  <a:gd name="T5" fmla="*/ 3200 h 3200"/>
                  <a:gd name="T6" fmla="*/ 3200 w 3200"/>
                  <a:gd name="T7" fmla="*/ 1600 h 3200"/>
                  <a:gd name="T8" fmla="*/ 1600 w 3200"/>
                  <a:gd name="T9" fmla="*/ 0 h 3200"/>
                  <a:gd name="T10" fmla="*/ 1600 w 3200"/>
                  <a:gd name="T11" fmla="*/ 2400 h 3200"/>
                  <a:gd name="T12" fmla="*/ 800 w 3200"/>
                  <a:gd name="T13" fmla="*/ 1600 h 3200"/>
                  <a:gd name="T14" fmla="*/ 1600 w 3200"/>
                  <a:gd name="T15" fmla="*/ 800 h 3200"/>
                  <a:gd name="T16" fmla="*/ 2400 w 3200"/>
                  <a:gd name="T17" fmla="*/ 1600 h 3200"/>
                  <a:gd name="T18" fmla="*/ 1600 w 3200"/>
                  <a:gd name="T19" fmla="*/ 2400 h 3200"/>
                  <a:gd name="T20" fmla="*/ 1467 w 3200"/>
                  <a:gd name="T21" fmla="*/ 543 h 3200"/>
                  <a:gd name="T22" fmla="*/ 947 w 3200"/>
                  <a:gd name="T23" fmla="*/ 758 h 3200"/>
                  <a:gd name="T24" fmla="*/ 757 w 3200"/>
                  <a:gd name="T25" fmla="*/ 568 h 3200"/>
                  <a:gd name="T26" fmla="*/ 1467 w 3200"/>
                  <a:gd name="T27" fmla="*/ 273 h 3200"/>
                  <a:gd name="T28" fmla="*/ 1467 w 3200"/>
                  <a:gd name="T29" fmla="*/ 543 h 3200"/>
                  <a:gd name="T30" fmla="*/ 2253 w 3200"/>
                  <a:gd name="T31" fmla="*/ 758 h 3200"/>
                  <a:gd name="T32" fmla="*/ 1734 w 3200"/>
                  <a:gd name="T33" fmla="*/ 543 h 3200"/>
                  <a:gd name="T34" fmla="*/ 1734 w 3200"/>
                  <a:gd name="T35" fmla="*/ 273 h 3200"/>
                  <a:gd name="T36" fmla="*/ 2444 w 3200"/>
                  <a:gd name="T37" fmla="*/ 568 h 3200"/>
                  <a:gd name="T38" fmla="*/ 2253 w 3200"/>
                  <a:gd name="T39" fmla="*/ 758 h 3200"/>
                  <a:gd name="T40" fmla="*/ 569 w 3200"/>
                  <a:gd name="T41" fmla="*/ 757 h 3200"/>
                  <a:gd name="T42" fmla="*/ 759 w 3200"/>
                  <a:gd name="T43" fmla="*/ 947 h 3200"/>
                  <a:gd name="T44" fmla="*/ 534 w 3200"/>
                  <a:gd name="T45" fmla="*/ 1600 h 3200"/>
                  <a:gd name="T46" fmla="*/ 759 w 3200"/>
                  <a:gd name="T47" fmla="*/ 2253 h 3200"/>
                  <a:gd name="T48" fmla="*/ 568 w 3200"/>
                  <a:gd name="T49" fmla="*/ 2443 h 3200"/>
                  <a:gd name="T50" fmla="*/ 267 w 3200"/>
                  <a:gd name="T51" fmla="*/ 1600 h 3200"/>
                  <a:gd name="T52" fmla="*/ 569 w 3200"/>
                  <a:gd name="T53" fmla="*/ 757 h 3200"/>
                  <a:gd name="T54" fmla="*/ 757 w 3200"/>
                  <a:gd name="T55" fmla="*/ 2632 h 3200"/>
                  <a:gd name="T56" fmla="*/ 947 w 3200"/>
                  <a:gd name="T57" fmla="*/ 2441 h 3200"/>
                  <a:gd name="T58" fmla="*/ 1600 w 3200"/>
                  <a:gd name="T59" fmla="*/ 2667 h 3200"/>
                  <a:gd name="T60" fmla="*/ 2253 w 3200"/>
                  <a:gd name="T61" fmla="*/ 2442 h 3200"/>
                  <a:gd name="T62" fmla="*/ 2444 w 3200"/>
                  <a:gd name="T63" fmla="*/ 2632 h 3200"/>
                  <a:gd name="T64" fmla="*/ 1600 w 3200"/>
                  <a:gd name="T65" fmla="*/ 2933 h 3200"/>
                  <a:gd name="T66" fmla="*/ 757 w 3200"/>
                  <a:gd name="T67" fmla="*/ 2632 h 3200"/>
                  <a:gd name="T68" fmla="*/ 2632 w 3200"/>
                  <a:gd name="T69" fmla="*/ 2443 h 3200"/>
                  <a:gd name="T70" fmla="*/ 2442 w 3200"/>
                  <a:gd name="T71" fmla="*/ 2253 h 3200"/>
                  <a:gd name="T72" fmla="*/ 2667 w 3200"/>
                  <a:gd name="T73" fmla="*/ 1600 h 3200"/>
                  <a:gd name="T74" fmla="*/ 2442 w 3200"/>
                  <a:gd name="T75" fmla="*/ 947 h 3200"/>
                  <a:gd name="T76" fmla="*/ 2632 w 3200"/>
                  <a:gd name="T77" fmla="*/ 757 h 3200"/>
                  <a:gd name="T78" fmla="*/ 2934 w 3200"/>
                  <a:gd name="T79" fmla="*/ 1600 h 3200"/>
                  <a:gd name="T80" fmla="*/ 2632 w 3200"/>
                  <a:gd name="T81" fmla="*/ 2443 h 3200"/>
                  <a:gd name="T82" fmla="*/ 2632 w 3200"/>
                  <a:gd name="T83" fmla="*/ 2443 h 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200" h="3200">
                    <a:moveTo>
                      <a:pt x="1600" y="0"/>
                    </a:moveTo>
                    <a:cubicBezTo>
                      <a:pt x="718" y="0"/>
                      <a:pt x="0" y="718"/>
                      <a:pt x="0" y="1600"/>
                    </a:cubicBezTo>
                    <a:cubicBezTo>
                      <a:pt x="0" y="2482"/>
                      <a:pt x="718" y="3200"/>
                      <a:pt x="1600" y="3200"/>
                    </a:cubicBezTo>
                    <a:cubicBezTo>
                      <a:pt x="2483" y="3200"/>
                      <a:pt x="3200" y="2482"/>
                      <a:pt x="3200" y="1600"/>
                    </a:cubicBezTo>
                    <a:cubicBezTo>
                      <a:pt x="3200" y="718"/>
                      <a:pt x="2483" y="0"/>
                      <a:pt x="1600" y="0"/>
                    </a:cubicBezTo>
                    <a:close/>
                    <a:moveTo>
                      <a:pt x="1600" y="2400"/>
                    </a:moveTo>
                    <a:cubicBezTo>
                      <a:pt x="1159" y="2400"/>
                      <a:pt x="800" y="2041"/>
                      <a:pt x="800" y="1600"/>
                    </a:cubicBezTo>
                    <a:cubicBezTo>
                      <a:pt x="800" y="1159"/>
                      <a:pt x="1159" y="800"/>
                      <a:pt x="1600" y="800"/>
                    </a:cubicBezTo>
                    <a:cubicBezTo>
                      <a:pt x="2042" y="800"/>
                      <a:pt x="2400" y="1159"/>
                      <a:pt x="2400" y="1600"/>
                    </a:cubicBezTo>
                    <a:cubicBezTo>
                      <a:pt x="2400" y="2041"/>
                      <a:pt x="2042" y="2400"/>
                      <a:pt x="1600" y="2400"/>
                    </a:cubicBezTo>
                    <a:close/>
                    <a:moveTo>
                      <a:pt x="1467" y="543"/>
                    </a:moveTo>
                    <a:cubicBezTo>
                      <a:pt x="1273" y="567"/>
                      <a:pt x="1095" y="644"/>
                      <a:pt x="947" y="758"/>
                    </a:cubicBezTo>
                    <a:lnTo>
                      <a:pt x="757" y="568"/>
                    </a:lnTo>
                    <a:cubicBezTo>
                      <a:pt x="955" y="406"/>
                      <a:pt x="1199" y="300"/>
                      <a:pt x="1467" y="273"/>
                    </a:cubicBezTo>
                    <a:lnTo>
                      <a:pt x="1467" y="543"/>
                    </a:lnTo>
                    <a:close/>
                    <a:moveTo>
                      <a:pt x="2253" y="758"/>
                    </a:moveTo>
                    <a:cubicBezTo>
                      <a:pt x="2106" y="644"/>
                      <a:pt x="1928" y="567"/>
                      <a:pt x="1734" y="543"/>
                    </a:cubicBezTo>
                    <a:lnTo>
                      <a:pt x="1734" y="273"/>
                    </a:lnTo>
                    <a:cubicBezTo>
                      <a:pt x="2001" y="300"/>
                      <a:pt x="2246" y="406"/>
                      <a:pt x="2444" y="568"/>
                    </a:cubicBezTo>
                    <a:lnTo>
                      <a:pt x="2253" y="758"/>
                    </a:lnTo>
                    <a:close/>
                    <a:moveTo>
                      <a:pt x="569" y="757"/>
                    </a:moveTo>
                    <a:lnTo>
                      <a:pt x="759" y="947"/>
                    </a:lnTo>
                    <a:cubicBezTo>
                      <a:pt x="618" y="1128"/>
                      <a:pt x="534" y="1354"/>
                      <a:pt x="534" y="1600"/>
                    </a:cubicBezTo>
                    <a:cubicBezTo>
                      <a:pt x="534" y="1846"/>
                      <a:pt x="618" y="2072"/>
                      <a:pt x="759" y="2253"/>
                    </a:cubicBezTo>
                    <a:lnTo>
                      <a:pt x="568" y="2443"/>
                    </a:lnTo>
                    <a:cubicBezTo>
                      <a:pt x="380" y="2213"/>
                      <a:pt x="267" y="1920"/>
                      <a:pt x="267" y="1600"/>
                    </a:cubicBezTo>
                    <a:cubicBezTo>
                      <a:pt x="267" y="1280"/>
                      <a:pt x="380" y="987"/>
                      <a:pt x="569" y="757"/>
                    </a:cubicBezTo>
                    <a:close/>
                    <a:moveTo>
                      <a:pt x="757" y="2632"/>
                    </a:moveTo>
                    <a:lnTo>
                      <a:pt x="947" y="2441"/>
                    </a:lnTo>
                    <a:cubicBezTo>
                      <a:pt x="1128" y="2582"/>
                      <a:pt x="1354" y="2667"/>
                      <a:pt x="1600" y="2667"/>
                    </a:cubicBezTo>
                    <a:cubicBezTo>
                      <a:pt x="1846" y="2667"/>
                      <a:pt x="2073" y="2582"/>
                      <a:pt x="2253" y="2442"/>
                    </a:cubicBezTo>
                    <a:lnTo>
                      <a:pt x="2444" y="2632"/>
                    </a:lnTo>
                    <a:cubicBezTo>
                      <a:pt x="2214" y="2820"/>
                      <a:pt x="1920" y="2933"/>
                      <a:pt x="1600" y="2933"/>
                    </a:cubicBezTo>
                    <a:cubicBezTo>
                      <a:pt x="1281" y="2933"/>
                      <a:pt x="987" y="2820"/>
                      <a:pt x="757" y="2632"/>
                    </a:cubicBezTo>
                    <a:close/>
                    <a:moveTo>
                      <a:pt x="2632" y="2443"/>
                    </a:moveTo>
                    <a:lnTo>
                      <a:pt x="2442" y="2253"/>
                    </a:lnTo>
                    <a:cubicBezTo>
                      <a:pt x="2582" y="2072"/>
                      <a:pt x="2667" y="1846"/>
                      <a:pt x="2667" y="1600"/>
                    </a:cubicBezTo>
                    <a:cubicBezTo>
                      <a:pt x="2667" y="1354"/>
                      <a:pt x="2582" y="1128"/>
                      <a:pt x="2442" y="947"/>
                    </a:cubicBezTo>
                    <a:lnTo>
                      <a:pt x="2632" y="757"/>
                    </a:lnTo>
                    <a:cubicBezTo>
                      <a:pt x="2820" y="987"/>
                      <a:pt x="2934" y="1280"/>
                      <a:pt x="2934" y="1600"/>
                    </a:cubicBezTo>
                    <a:cubicBezTo>
                      <a:pt x="2934" y="1920"/>
                      <a:pt x="2820" y="2213"/>
                      <a:pt x="2632" y="2443"/>
                    </a:cubicBezTo>
                    <a:close/>
                    <a:moveTo>
                      <a:pt x="2632" y="2443"/>
                    </a:move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113">
                <a:extLst>
                  <a:ext uri="{FF2B5EF4-FFF2-40B4-BE49-F238E27FC236}">
                    <a16:creationId xmlns:a16="http://schemas.microsoft.com/office/drawing/2014/main" id="{0DF822E5-7864-42C2-86DC-1C9213C76A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27438" y="2741613"/>
                <a:ext cx="123825" cy="123825"/>
              </a:xfrm>
              <a:custGeom>
                <a:avLst/>
                <a:gdLst>
                  <a:gd name="T0" fmla="*/ 1200 w 1200"/>
                  <a:gd name="T1" fmla="*/ 267 h 1200"/>
                  <a:gd name="T2" fmla="*/ 1200 w 1200"/>
                  <a:gd name="T3" fmla="*/ 0 h 1200"/>
                  <a:gd name="T4" fmla="*/ 0 w 1200"/>
                  <a:gd name="T5" fmla="*/ 1200 h 1200"/>
                  <a:gd name="T6" fmla="*/ 266 w 1200"/>
                  <a:gd name="T7" fmla="*/ 1200 h 1200"/>
                  <a:gd name="T8" fmla="*/ 1200 w 1200"/>
                  <a:gd name="T9" fmla="*/ 267 h 1200"/>
                  <a:gd name="T10" fmla="*/ 1200 w 1200"/>
                  <a:gd name="T11" fmla="*/ 267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1200">
                    <a:moveTo>
                      <a:pt x="1200" y="267"/>
                    </a:moveTo>
                    <a:lnTo>
                      <a:pt x="1200" y="0"/>
                    </a:lnTo>
                    <a:cubicBezTo>
                      <a:pt x="538" y="0"/>
                      <a:pt x="0" y="539"/>
                      <a:pt x="0" y="1200"/>
                    </a:cubicBezTo>
                    <a:lnTo>
                      <a:pt x="266" y="1200"/>
                    </a:lnTo>
                    <a:cubicBezTo>
                      <a:pt x="266" y="686"/>
                      <a:pt x="685" y="267"/>
                      <a:pt x="1200" y="267"/>
                    </a:cubicBezTo>
                    <a:close/>
                    <a:moveTo>
                      <a:pt x="1200" y="267"/>
                    </a:move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114">
                <a:extLst>
                  <a:ext uri="{FF2B5EF4-FFF2-40B4-BE49-F238E27FC236}">
                    <a16:creationId xmlns:a16="http://schemas.microsoft.com/office/drawing/2014/main" id="{2AE20035-2442-4D01-94FE-E01EF13D45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51263" y="2865438"/>
                <a:ext cx="125413" cy="125413"/>
              </a:xfrm>
              <a:custGeom>
                <a:avLst/>
                <a:gdLst>
                  <a:gd name="T0" fmla="*/ 0 w 1200"/>
                  <a:gd name="T1" fmla="*/ 1200 h 1200"/>
                  <a:gd name="T2" fmla="*/ 1200 w 1200"/>
                  <a:gd name="T3" fmla="*/ 0 h 1200"/>
                  <a:gd name="T4" fmla="*/ 933 w 1200"/>
                  <a:gd name="T5" fmla="*/ 0 h 1200"/>
                  <a:gd name="T6" fmla="*/ 0 w 1200"/>
                  <a:gd name="T7" fmla="*/ 934 h 1200"/>
                  <a:gd name="T8" fmla="*/ 0 w 1200"/>
                  <a:gd name="T9" fmla="*/ 1200 h 1200"/>
                  <a:gd name="T10" fmla="*/ 0 w 1200"/>
                  <a:gd name="T11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00" h="1200">
                    <a:moveTo>
                      <a:pt x="0" y="1200"/>
                    </a:moveTo>
                    <a:cubicBezTo>
                      <a:pt x="661" y="1200"/>
                      <a:pt x="1200" y="662"/>
                      <a:pt x="1200" y="0"/>
                    </a:cubicBezTo>
                    <a:lnTo>
                      <a:pt x="933" y="0"/>
                    </a:lnTo>
                    <a:cubicBezTo>
                      <a:pt x="933" y="515"/>
                      <a:pt x="514" y="934"/>
                      <a:pt x="0" y="934"/>
                    </a:cubicBezTo>
                    <a:lnTo>
                      <a:pt x="0" y="1200"/>
                    </a:lnTo>
                    <a:close/>
                    <a:moveTo>
                      <a:pt x="0" y="1200"/>
                    </a:move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115">
                <a:extLst>
                  <a:ext uri="{FF2B5EF4-FFF2-40B4-BE49-F238E27FC236}">
                    <a16:creationId xmlns:a16="http://schemas.microsoft.com/office/drawing/2014/main" id="{C97356D4-1875-440F-9EFC-644723D9A1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57538" y="2741613"/>
                <a:ext cx="111125" cy="26988"/>
              </a:xfrm>
              <a:custGeom>
                <a:avLst/>
                <a:gdLst>
                  <a:gd name="T0" fmla="*/ 0 w 1067"/>
                  <a:gd name="T1" fmla="*/ 0 h 267"/>
                  <a:gd name="T2" fmla="*/ 1067 w 1067"/>
                  <a:gd name="T3" fmla="*/ 0 h 267"/>
                  <a:gd name="T4" fmla="*/ 1067 w 1067"/>
                  <a:gd name="T5" fmla="*/ 267 h 267"/>
                  <a:gd name="T6" fmla="*/ 0 w 1067"/>
                  <a:gd name="T7" fmla="*/ 267 h 267"/>
                  <a:gd name="T8" fmla="*/ 0 w 1067"/>
                  <a:gd name="T9" fmla="*/ 0 h 267"/>
                  <a:gd name="T10" fmla="*/ 0 w 1067"/>
                  <a:gd name="T11" fmla="*/ 0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67" h="267">
                    <a:moveTo>
                      <a:pt x="0" y="0"/>
                    </a:moveTo>
                    <a:lnTo>
                      <a:pt x="1067" y="0"/>
                    </a:lnTo>
                    <a:lnTo>
                      <a:pt x="1067" y="267"/>
                    </a:lnTo>
                    <a:lnTo>
                      <a:pt x="0" y="267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116">
                <a:extLst>
                  <a:ext uri="{FF2B5EF4-FFF2-40B4-BE49-F238E27FC236}">
                    <a16:creationId xmlns:a16="http://schemas.microsoft.com/office/drawing/2014/main" id="{ACD1E004-5C48-410D-BE9E-CB1471AFC3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57538" y="2797175"/>
                <a:ext cx="111125" cy="26988"/>
              </a:xfrm>
              <a:custGeom>
                <a:avLst/>
                <a:gdLst>
                  <a:gd name="T0" fmla="*/ 0 w 1067"/>
                  <a:gd name="T1" fmla="*/ 0 h 266"/>
                  <a:gd name="T2" fmla="*/ 1067 w 1067"/>
                  <a:gd name="T3" fmla="*/ 0 h 266"/>
                  <a:gd name="T4" fmla="*/ 1067 w 1067"/>
                  <a:gd name="T5" fmla="*/ 266 h 266"/>
                  <a:gd name="T6" fmla="*/ 0 w 1067"/>
                  <a:gd name="T7" fmla="*/ 266 h 266"/>
                  <a:gd name="T8" fmla="*/ 0 w 1067"/>
                  <a:gd name="T9" fmla="*/ 0 h 266"/>
                  <a:gd name="T10" fmla="*/ 0 w 1067"/>
                  <a:gd name="T11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67" h="266">
                    <a:moveTo>
                      <a:pt x="0" y="0"/>
                    </a:moveTo>
                    <a:lnTo>
                      <a:pt x="1067" y="0"/>
                    </a:lnTo>
                    <a:lnTo>
                      <a:pt x="1067" y="266"/>
                    </a:lnTo>
                    <a:lnTo>
                      <a:pt x="0" y="266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DDA86F4F-1BF4-4466-B195-03F6FF9D50FC}"/>
                </a:ext>
              </a:extLst>
            </p:cNvPr>
            <p:cNvGrpSpPr/>
            <p:nvPr/>
          </p:nvGrpSpPr>
          <p:grpSpPr>
            <a:xfrm>
              <a:off x="3280358" y="1329386"/>
              <a:ext cx="749738" cy="749735"/>
              <a:chOff x="2114550" y="3684588"/>
              <a:chExt cx="800101" cy="800100"/>
            </a:xfrm>
            <a:solidFill>
              <a:srgbClr val="B1C7F7">
                <a:alpha val="50000"/>
              </a:srgbClr>
            </a:solidFill>
          </p:grpSpPr>
          <p:sp>
            <p:nvSpPr>
              <p:cNvPr id="80" name="Freeform 76">
                <a:extLst>
                  <a:ext uri="{FF2B5EF4-FFF2-40B4-BE49-F238E27FC236}">
                    <a16:creationId xmlns:a16="http://schemas.microsoft.com/office/drawing/2014/main" id="{D76A8857-925A-4756-8128-80176576B3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30438" y="3903663"/>
                <a:ext cx="568325" cy="581025"/>
              </a:xfrm>
              <a:custGeom>
                <a:avLst/>
                <a:gdLst>
                  <a:gd name="T0" fmla="*/ 2831 w 4400"/>
                  <a:gd name="T1" fmla="*/ 2600 h 4500"/>
                  <a:gd name="T2" fmla="*/ 3300 w 4400"/>
                  <a:gd name="T3" fmla="*/ 800 h 4500"/>
                  <a:gd name="T4" fmla="*/ 2388 w 4400"/>
                  <a:gd name="T5" fmla="*/ 0 h 4500"/>
                  <a:gd name="T6" fmla="*/ 1100 w 4400"/>
                  <a:gd name="T7" fmla="*/ 824 h 4500"/>
                  <a:gd name="T8" fmla="*/ 1570 w 4400"/>
                  <a:gd name="T9" fmla="*/ 2600 h 4500"/>
                  <a:gd name="T10" fmla="*/ 0 w 4400"/>
                  <a:gd name="T11" fmla="*/ 3700 h 4500"/>
                  <a:gd name="T12" fmla="*/ 4400 w 4400"/>
                  <a:gd name="T13" fmla="*/ 4500 h 4500"/>
                  <a:gd name="T14" fmla="*/ 3300 w 4400"/>
                  <a:gd name="T15" fmla="*/ 2600 h 4500"/>
                  <a:gd name="T16" fmla="*/ 1924 w 4400"/>
                  <a:gd name="T17" fmla="*/ 200 h 4500"/>
                  <a:gd name="T18" fmla="*/ 2803 w 4400"/>
                  <a:gd name="T19" fmla="*/ 524 h 4500"/>
                  <a:gd name="T20" fmla="*/ 2900 w 4400"/>
                  <a:gd name="T21" fmla="*/ 600 h 4500"/>
                  <a:gd name="T22" fmla="*/ 3100 w 4400"/>
                  <a:gd name="T23" fmla="*/ 1282 h 4500"/>
                  <a:gd name="T24" fmla="*/ 2900 w 4400"/>
                  <a:gd name="T25" fmla="*/ 800 h 4500"/>
                  <a:gd name="T26" fmla="*/ 2617 w 4400"/>
                  <a:gd name="T27" fmla="*/ 845 h 4500"/>
                  <a:gd name="T28" fmla="*/ 1300 w 4400"/>
                  <a:gd name="T29" fmla="*/ 1100 h 4500"/>
                  <a:gd name="T30" fmla="*/ 1300 w 4400"/>
                  <a:gd name="T31" fmla="*/ 1700 h 4500"/>
                  <a:gd name="T32" fmla="*/ 2140 w 4400"/>
                  <a:gd name="T33" fmla="*/ 1300 h 4500"/>
                  <a:gd name="T34" fmla="*/ 3100 w 4400"/>
                  <a:gd name="T35" fmla="*/ 1489 h 4500"/>
                  <a:gd name="T36" fmla="*/ 2200 w 4400"/>
                  <a:gd name="T37" fmla="*/ 2600 h 4500"/>
                  <a:gd name="T38" fmla="*/ 1100 w 4400"/>
                  <a:gd name="T39" fmla="*/ 4300 h 4500"/>
                  <a:gd name="T40" fmla="*/ 900 w 4400"/>
                  <a:gd name="T41" fmla="*/ 3700 h 4500"/>
                  <a:gd name="T42" fmla="*/ 200 w 4400"/>
                  <a:gd name="T43" fmla="*/ 4300 h 4500"/>
                  <a:gd name="T44" fmla="*/ 1100 w 4400"/>
                  <a:gd name="T45" fmla="*/ 2800 h 4500"/>
                  <a:gd name="T46" fmla="*/ 960 w 4400"/>
                  <a:gd name="T47" fmla="*/ 3120 h 4500"/>
                  <a:gd name="T48" fmla="*/ 1171 w 4400"/>
                  <a:gd name="T49" fmla="*/ 3834 h 4500"/>
                  <a:gd name="T50" fmla="*/ 1100 w 4400"/>
                  <a:gd name="T51" fmla="*/ 4300 h 4500"/>
                  <a:gd name="T52" fmla="*/ 1627 w 4400"/>
                  <a:gd name="T53" fmla="*/ 3370 h 4500"/>
                  <a:gd name="T54" fmla="*/ 1450 w 4400"/>
                  <a:gd name="T55" fmla="*/ 2800 h 4500"/>
                  <a:gd name="T56" fmla="*/ 2048 w 4400"/>
                  <a:gd name="T57" fmla="*/ 4178 h 4500"/>
                  <a:gd name="T58" fmla="*/ 1744 w 4400"/>
                  <a:gd name="T59" fmla="*/ 2800 h 4500"/>
                  <a:gd name="T60" fmla="*/ 2200 w 4400"/>
                  <a:gd name="T61" fmla="*/ 4015 h 4500"/>
                  <a:gd name="T62" fmla="*/ 2869 w 4400"/>
                  <a:gd name="T63" fmla="*/ 2800 h 4500"/>
                  <a:gd name="T64" fmla="*/ 3160 w 4400"/>
                  <a:gd name="T65" fmla="*/ 3080 h 4500"/>
                  <a:gd name="T66" fmla="*/ 2971 w 4400"/>
                  <a:gd name="T67" fmla="*/ 3766 h 4500"/>
                  <a:gd name="T68" fmla="*/ 2869 w 4400"/>
                  <a:gd name="T69" fmla="*/ 2800 h 4500"/>
                  <a:gd name="T70" fmla="*/ 3500 w 4400"/>
                  <a:gd name="T71" fmla="*/ 4300 h 4500"/>
                  <a:gd name="T72" fmla="*/ 3300 w 4400"/>
                  <a:gd name="T73" fmla="*/ 3700 h 4500"/>
                  <a:gd name="T74" fmla="*/ 2530 w 4400"/>
                  <a:gd name="T75" fmla="*/ 4300 h 4500"/>
                  <a:gd name="T76" fmla="*/ 3027 w 4400"/>
                  <a:gd name="T77" fmla="*/ 3430 h 4500"/>
                  <a:gd name="T78" fmla="*/ 3200 w 4400"/>
                  <a:gd name="T79" fmla="*/ 2800 h 4500"/>
                  <a:gd name="T80" fmla="*/ 4200 w 4400"/>
                  <a:gd name="T81" fmla="*/ 3700 h 4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400" h="4500">
                    <a:moveTo>
                      <a:pt x="3300" y="2600"/>
                    </a:moveTo>
                    <a:lnTo>
                      <a:pt x="2831" y="2600"/>
                    </a:lnTo>
                    <a:cubicBezTo>
                      <a:pt x="3114" y="2401"/>
                      <a:pt x="3300" y="2072"/>
                      <a:pt x="3300" y="1700"/>
                    </a:cubicBezTo>
                    <a:lnTo>
                      <a:pt x="3300" y="800"/>
                    </a:lnTo>
                    <a:cubicBezTo>
                      <a:pt x="3300" y="605"/>
                      <a:pt x="3160" y="443"/>
                      <a:pt x="2976" y="407"/>
                    </a:cubicBezTo>
                    <a:cubicBezTo>
                      <a:pt x="2885" y="164"/>
                      <a:pt x="2652" y="0"/>
                      <a:pt x="2388" y="0"/>
                    </a:cubicBezTo>
                    <a:lnTo>
                      <a:pt x="1924" y="0"/>
                    </a:lnTo>
                    <a:cubicBezTo>
                      <a:pt x="1469" y="0"/>
                      <a:pt x="1100" y="369"/>
                      <a:pt x="1100" y="824"/>
                    </a:cubicBezTo>
                    <a:lnTo>
                      <a:pt x="1100" y="1700"/>
                    </a:lnTo>
                    <a:cubicBezTo>
                      <a:pt x="1100" y="2072"/>
                      <a:pt x="1286" y="2401"/>
                      <a:pt x="1570" y="2600"/>
                    </a:cubicBezTo>
                    <a:lnTo>
                      <a:pt x="1100" y="2600"/>
                    </a:lnTo>
                    <a:cubicBezTo>
                      <a:pt x="493" y="2600"/>
                      <a:pt x="0" y="3094"/>
                      <a:pt x="0" y="3700"/>
                    </a:cubicBezTo>
                    <a:lnTo>
                      <a:pt x="0" y="4500"/>
                    </a:lnTo>
                    <a:lnTo>
                      <a:pt x="4400" y="4500"/>
                    </a:lnTo>
                    <a:lnTo>
                      <a:pt x="4400" y="3700"/>
                    </a:lnTo>
                    <a:cubicBezTo>
                      <a:pt x="4400" y="3094"/>
                      <a:pt x="3907" y="2600"/>
                      <a:pt x="3300" y="2600"/>
                    </a:cubicBezTo>
                    <a:close/>
                    <a:moveTo>
                      <a:pt x="1300" y="824"/>
                    </a:moveTo>
                    <a:cubicBezTo>
                      <a:pt x="1300" y="480"/>
                      <a:pt x="1580" y="200"/>
                      <a:pt x="1924" y="200"/>
                    </a:cubicBezTo>
                    <a:lnTo>
                      <a:pt x="2388" y="200"/>
                    </a:lnTo>
                    <a:cubicBezTo>
                      <a:pt x="2585" y="200"/>
                      <a:pt x="2755" y="333"/>
                      <a:pt x="2803" y="524"/>
                    </a:cubicBezTo>
                    <a:lnTo>
                      <a:pt x="2822" y="600"/>
                    </a:lnTo>
                    <a:lnTo>
                      <a:pt x="2900" y="600"/>
                    </a:lnTo>
                    <a:cubicBezTo>
                      <a:pt x="3010" y="600"/>
                      <a:pt x="3100" y="690"/>
                      <a:pt x="3100" y="800"/>
                    </a:cubicBezTo>
                    <a:lnTo>
                      <a:pt x="3100" y="1282"/>
                    </a:lnTo>
                    <a:cubicBezTo>
                      <a:pt x="2984" y="1240"/>
                      <a:pt x="2900" y="1130"/>
                      <a:pt x="2900" y="1000"/>
                    </a:cubicBezTo>
                    <a:lnTo>
                      <a:pt x="2900" y="800"/>
                    </a:lnTo>
                    <a:lnTo>
                      <a:pt x="2647" y="800"/>
                    </a:lnTo>
                    <a:lnTo>
                      <a:pt x="2617" y="845"/>
                    </a:lnTo>
                    <a:cubicBezTo>
                      <a:pt x="2510" y="1005"/>
                      <a:pt x="2332" y="1100"/>
                      <a:pt x="2140" y="1100"/>
                    </a:cubicBezTo>
                    <a:lnTo>
                      <a:pt x="1300" y="1100"/>
                    </a:lnTo>
                    <a:lnTo>
                      <a:pt x="1300" y="824"/>
                    </a:lnTo>
                    <a:close/>
                    <a:moveTo>
                      <a:pt x="1300" y="1700"/>
                    </a:moveTo>
                    <a:lnTo>
                      <a:pt x="1300" y="1300"/>
                    </a:lnTo>
                    <a:lnTo>
                      <a:pt x="2140" y="1300"/>
                    </a:lnTo>
                    <a:cubicBezTo>
                      <a:pt x="2355" y="1300"/>
                      <a:pt x="2558" y="1211"/>
                      <a:pt x="2703" y="1056"/>
                    </a:cubicBezTo>
                    <a:cubicBezTo>
                      <a:pt x="2728" y="1272"/>
                      <a:pt x="2890" y="1447"/>
                      <a:pt x="3100" y="1489"/>
                    </a:cubicBezTo>
                    <a:lnTo>
                      <a:pt x="3100" y="1700"/>
                    </a:lnTo>
                    <a:cubicBezTo>
                      <a:pt x="3100" y="2196"/>
                      <a:pt x="2696" y="2600"/>
                      <a:pt x="2200" y="2600"/>
                    </a:cubicBezTo>
                    <a:cubicBezTo>
                      <a:pt x="1704" y="2600"/>
                      <a:pt x="1300" y="2196"/>
                      <a:pt x="1300" y="1700"/>
                    </a:cubicBezTo>
                    <a:close/>
                    <a:moveTo>
                      <a:pt x="1100" y="4300"/>
                    </a:moveTo>
                    <a:lnTo>
                      <a:pt x="1100" y="3700"/>
                    </a:lnTo>
                    <a:lnTo>
                      <a:pt x="900" y="3700"/>
                    </a:lnTo>
                    <a:lnTo>
                      <a:pt x="900" y="4300"/>
                    </a:lnTo>
                    <a:lnTo>
                      <a:pt x="200" y="4300"/>
                    </a:lnTo>
                    <a:lnTo>
                      <a:pt x="200" y="3700"/>
                    </a:lnTo>
                    <a:cubicBezTo>
                      <a:pt x="200" y="3204"/>
                      <a:pt x="604" y="2800"/>
                      <a:pt x="1100" y="2800"/>
                    </a:cubicBezTo>
                    <a:lnTo>
                      <a:pt x="1200" y="2800"/>
                    </a:lnTo>
                    <a:lnTo>
                      <a:pt x="960" y="3120"/>
                    </a:lnTo>
                    <a:lnTo>
                      <a:pt x="1373" y="3430"/>
                    </a:lnTo>
                    <a:lnTo>
                      <a:pt x="1171" y="3834"/>
                    </a:lnTo>
                    <a:lnTo>
                      <a:pt x="1870" y="4300"/>
                    </a:lnTo>
                    <a:lnTo>
                      <a:pt x="1100" y="4300"/>
                    </a:lnTo>
                    <a:close/>
                    <a:moveTo>
                      <a:pt x="1429" y="3766"/>
                    </a:moveTo>
                    <a:lnTo>
                      <a:pt x="1627" y="3370"/>
                    </a:lnTo>
                    <a:lnTo>
                      <a:pt x="1240" y="3080"/>
                    </a:lnTo>
                    <a:lnTo>
                      <a:pt x="1450" y="2800"/>
                    </a:lnTo>
                    <a:lnTo>
                      <a:pt x="1531" y="2800"/>
                    </a:lnTo>
                    <a:lnTo>
                      <a:pt x="2048" y="4178"/>
                    </a:lnTo>
                    <a:lnTo>
                      <a:pt x="1429" y="3766"/>
                    </a:lnTo>
                    <a:close/>
                    <a:moveTo>
                      <a:pt x="1744" y="2800"/>
                    </a:moveTo>
                    <a:lnTo>
                      <a:pt x="2656" y="2800"/>
                    </a:lnTo>
                    <a:lnTo>
                      <a:pt x="2200" y="4015"/>
                    </a:lnTo>
                    <a:lnTo>
                      <a:pt x="1744" y="2800"/>
                    </a:lnTo>
                    <a:close/>
                    <a:moveTo>
                      <a:pt x="2869" y="2800"/>
                    </a:moveTo>
                    <a:lnTo>
                      <a:pt x="2950" y="2800"/>
                    </a:lnTo>
                    <a:lnTo>
                      <a:pt x="3160" y="3080"/>
                    </a:lnTo>
                    <a:lnTo>
                      <a:pt x="2773" y="3370"/>
                    </a:lnTo>
                    <a:lnTo>
                      <a:pt x="2971" y="3766"/>
                    </a:lnTo>
                    <a:lnTo>
                      <a:pt x="2353" y="4178"/>
                    </a:lnTo>
                    <a:lnTo>
                      <a:pt x="2869" y="2800"/>
                    </a:lnTo>
                    <a:close/>
                    <a:moveTo>
                      <a:pt x="4200" y="4300"/>
                    </a:moveTo>
                    <a:lnTo>
                      <a:pt x="3500" y="4300"/>
                    </a:lnTo>
                    <a:lnTo>
                      <a:pt x="3500" y="3700"/>
                    </a:lnTo>
                    <a:lnTo>
                      <a:pt x="3300" y="3700"/>
                    </a:lnTo>
                    <a:lnTo>
                      <a:pt x="3300" y="4300"/>
                    </a:lnTo>
                    <a:lnTo>
                      <a:pt x="2530" y="4300"/>
                    </a:lnTo>
                    <a:lnTo>
                      <a:pt x="3229" y="3834"/>
                    </a:lnTo>
                    <a:lnTo>
                      <a:pt x="3027" y="3430"/>
                    </a:lnTo>
                    <a:lnTo>
                      <a:pt x="3440" y="3120"/>
                    </a:lnTo>
                    <a:lnTo>
                      <a:pt x="3200" y="2800"/>
                    </a:lnTo>
                    <a:lnTo>
                      <a:pt x="3300" y="2800"/>
                    </a:lnTo>
                    <a:cubicBezTo>
                      <a:pt x="3796" y="2800"/>
                      <a:pt x="4200" y="3204"/>
                      <a:pt x="4200" y="3700"/>
                    </a:cubicBezTo>
                    <a:lnTo>
                      <a:pt x="4200" y="430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77">
                <a:extLst>
                  <a:ext uri="{FF2B5EF4-FFF2-40B4-BE49-F238E27FC236}">
                    <a16:creationId xmlns:a16="http://schemas.microsoft.com/office/drawing/2014/main" id="{E3E48684-8A4E-4F22-8143-5A2F33B199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73363" y="4019550"/>
                <a:ext cx="141288" cy="130175"/>
              </a:xfrm>
              <a:custGeom>
                <a:avLst/>
                <a:gdLst>
                  <a:gd name="T0" fmla="*/ 600 w 1100"/>
                  <a:gd name="T1" fmla="*/ 0 h 1000"/>
                  <a:gd name="T2" fmla="*/ 110 w 1100"/>
                  <a:gd name="T3" fmla="*/ 400 h 1000"/>
                  <a:gd name="T4" fmla="*/ 0 w 1100"/>
                  <a:gd name="T5" fmla="*/ 400 h 1000"/>
                  <a:gd name="T6" fmla="*/ 0 w 1100"/>
                  <a:gd name="T7" fmla="*/ 600 h 1000"/>
                  <a:gd name="T8" fmla="*/ 110 w 1100"/>
                  <a:gd name="T9" fmla="*/ 600 h 1000"/>
                  <a:gd name="T10" fmla="*/ 600 w 1100"/>
                  <a:gd name="T11" fmla="*/ 1000 h 1000"/>
                  <a:gd name="T12" fmla="*/ 1100 w 1100"/>
                  <a:gd name="T13" fmla="*/ 500 h 1000"/>
                  <a:gd name="T14" fmla="*/ 600 w 1100"/>
                  <a:gd name="T15" fmla="*/ 0 h 1000"/>
                  <a:gd name="T16" fmla="*/ 600 w 1100"/>
                  <a:gd name="T17" fmla="*/ 800 h 1000"/>
                  <a:gd name="T18" fmla="*/ 300 w 1100"/>
                  <a:gd name="T19" fmla="*/ 500 h 1000"/>
                  <a:gd name="T20" fmla="*/ 600 w 1100"/>
                  <a:gd name="T21" fmla="*/ 200 h 1000"/>
                  <a:gd name="T22" fmla="*/ 900 w 1100"/>
                  <a:gd name="T23" fmla="*/ 500 h 1000"/>
                  <a:gd name="T24" fmla="*/ 600 w 1100"/>
                  <a:gd name="T25" fmla="*/ 8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0" h="1000">
                    <a:moveTo>
                      <a:pt x="600" y="0"/>
                    </a:moveTo>
                    <a:cubicBezTo>
                      <a:pt x="359" y="0"/>
                      <a:pt x="157" y="172"/>
                      <a:pt x="110" y="400"/>
                    </a:cubicBezTo>
                    <a:lnTo>
                      <a:pt x="0" y="400"/>
                    </a:lnTo>
                    <a:lnTo>
                      <a:pt x="0" y="600"/>
                    </a:lnTo>
                    <a:lnTo>
                      <a:pt x="110" y="600"/>
                    </a:lnTo>
                    <a:cubicBezTo>
                      <a:pt x="157" y="828"/>
                      <a:pt x="359" y="1000"/>
                      <a:pt x="600" y="1000"/>
                    </a:cubicBezTo>
                    <a:cubicBezTo>
                      <a:pt x="876" y="1000"/>
                      <a:pt x="1100" y="776"/>
                      <a:pt x="1100" y="500"/>
                    </a:cubicBezTo>
                    <a:cubicBezTo>
                      <a:pt x="1100" y="224"/>
                      <a:pt x="876" y="0"/>
                      <a:pt x="600" y="0"/>
                    </a:cubicBezTo>
                    <a:close/>
                    <a:moveTo>
                      <a:pt x="600" y="800"/>
                    </a:moveTo>
                    <a:cubicBezTo>
                      <a:pt x="435" y="800"/>
                      <a:pt x="300" y="665"/>
                      <a:pt x="300" y="500"/>
                    </a:cubicBezTo>
                    <a:cubicBezTo>
                      <a:pt x="300" y="335"/>
                      <a:pt x="435" y="200"/>
                      <a:pt x="600" y="200"/>
                    </a:cubicBezTo>
                    <a:cubicBezTo>
                      <a:pt x="765" y="200"/>
                      <a:pt x="900" y="335"/>
                      <a:pt x="900" y="500"/>
                    </a:cubicBezTo>
                    <a:cubicBezTo>
                      <a:pt x="900" y="665"/>
                      <a:pt x="765" y="800"/>
                      <a:pt x="600" y="800"/>
                    </a:cubicBez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Rectangle 78">
                <a:extLst>
                  <a:ext uri="{FF2B5EF4-FFF2-40B4-BE49-F238E27FC236}">
                    <a16:creationId xmlns:a16="http://schemas.microsoft.com/office/drawing/2014/main" id="{18882E84-DCBA-491E-984F-20630E4652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0975" y="4071938"/>
                <a:ext cx="25400" cy="25400"/>
              </a:xfrm>
              <a:prstGeom prst="rect">
                <a:avLst/>
              </a:prstGeom>
              <a:grpFill/>
              <a:ln w="1270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79">
                <a:extLst>
                  <a:ext uri="{FF2B5EF4-FFF2-40B4-BE49-F238E27FC236}">
                    <a16:creationId xmlns:a16="http://schemas.microsoft.com/office/drawing/2014/main" id="{033A3BE8-4795-469D-BDF8-2A0689CF2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1125" y="3911600"/>
                <a:ext cx="36513" cy="36512"/>
              </a:xfrm>
              <a:custGeom>
                <a:avLst/>
                <a:gdLst>
                  <a:gd name="T0" fmla="*/ 141 w 282"/>
                  <a:gd name="T1" fmla="*/ 0 h 282"/>
                  <a:gd name="T2" fmla="*/ 282 w 282"/>
                  <a:gd name="T3" fmla="*/ 141 h 282"/>
                  <a:gd name="T4" fmla="*/ 141 w 282"/>
                  <a:gd name="T5" fmla="*/ 282 h 282"/>
                  <a:gd name="T6" fmla="*/ 0 w 282"/>
                  <a:gd name="T7" fmla="*/ 141 h 282"/>
                  <a:gd name="T8" fmla="*/ 141 w 282"/>
                  <a:gd name="T9" fmla="*/ 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2" h="282">
                    <a:moveTo>
                      <a:pt x="141" y="0"/>
                    </a:moveTo>
                    <a:lnTo>
                      <a:pt x="282" y="141"/>
                    </a:lnTo>
                    <a:lnTo>
                      <a:pt x="141" y="282"/>
                    </a:lnTo>
                    <a:lnTo>
                      <a:pt x="0" y="141"/>
                    </a:lnTo>
                    <a:lnTo>
                      <a:pt x="141" y="0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80">
                <a:extLst>
                  <a:ext uri="{FF2B5EF4-FFF2-40B4-BE49-F238E27FC236}">
                    <a16:creationId xmlns:a16="http://schemas.microsoft.com/office/drawing/2014/main" id="{32A50ED3-5292-4D0F-B88C-CE830F437F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81288" y="3783013"/>
                <a:ext cx="141288" cy="128587"/>
              </a:xfrm>
              <a:custGeom>
                <a:avLst/>
                <a:gdLst>
                  <a:gd name="T0" fmla="*/ 51 w 1094"/>
                  <a:gd name="T1" fmla="*/ 853 h 1000"/>
                  <a:gd name="T2" fmla="*/ 192 w 1094"/>
                  <a:gd name="T3" fmla="*/ 995 h 1000"/>
                  <a:gd name="T4" fmla="*/ 270 w 1094"/>
                  <a:gd name="T5" fmla="*/ 917 h 1000"/>
                  <a:gd name="T6" fmla="*/ 546 w 1094"/>
                  <a:gd name="T7" fmla="*/ 1000 h 1000"/>
                  <a:gd name="T8" fmla="*/ 899 w 1094"/>
                  <a:gd name="T9" fmla="*/ 853 h 1000"/>
                  <a:gd name="T10" fmla="*/ 899 w 1094"/>
                  <a:gd name="T11" fmla="*/ 146 h 1000"/>
                  <a:gd name="T12" fmla="*/ 546 w 1094"/>
                  <a:gd name="T13" fmla="*/ 0 h 1000"/>
                  <a:gd name="T14" fmla="*/ 192 w 1094"/>
                  <a:gd name="T15" fmla="*/ 146 h 1000"/>
                  <a:gd name="T16" fmla="*/ 129 w 1094"/>
                  <a:gd name="T17" fmla="*/ 775 h 1000"/>
                  <a:gd name="T18" fmla="*/ 51 w 1094"/>
                  <a:gd name="T19" fmla="*/ 853 h 1000"/>
                  <a:gd name="T20" fmla="*/ 333 w 1094"/>
                  <a:gd name="T21" fmla="*/ 287 h 1000"/>
                  <a:gd name="T22" fmla="*/ 546 w 1094"/>
                  <a:gd name="T23" fmla="*/ 200 h 1000"/>
                  <a:gd name="T24" fmla="*/ 758 w 1094"/>
                  <a:gd name="T25" fmla="*/ 287 h 1000"/>
                  <a:gd name="T26" fmla="*/ 758 w 1094"/>
                  <a:gd name="T27" fmla="*/ 712 h 1000"/>
                  <a:gd name="T28" fmla="*/ 333 w 1094"/>
                  <a:gd name="T29" fmla="*/ 712 h 1000"/>
                  <a:gd name="T30" fmla="*/ 333 w 1094"/>
                  <a:gd name="T31" fmla="*/ 287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94" h="1000">
                    <a:moveTo>
                      <a:pt x="51" y="853"/>
                    </a:moveTo>
                    <a:lnTo>
                      <a:pt x="192" y="995"/>
                    </a:lnTo>
                    <a:lnTo>
                      <a:pt x="270" y="917"/>
                    </a:lnTo>
                    <a:cubicBezTo>
                      <a:pt x="351" y="970"/>
                      <a:pt x="446" y="1000"/>
                      <a:pt x="546" y="1000"/>
                    </a:cubicBezTo>
                    <a:cubicBezTo>
                      <a:pt x="679" y="1000"/>
                      <a:pt x="805" y="948"/>
                      <a:pt x="899" y="853"/>
                    </a:cubicBezTo>
                    <a:cubicBezTo>
                      <a:pt x="1094" y="658"/>
                      <a:pt x="1094" y="341"/>
                      <a:pt x="899" y="146"/>
                    </a:cubicBezTo>
                    <a:cubicBezTo>
                      <a:pt x="805" y="52"/>
                      <a:pt x="679" y="0"/>
                      <a:pt x="546" y="0"/>
                    </a:cubicBezTo>
                    <a:cubicBezTo>
                      <a:pt x="412" y="0"/>
                      <a:pt x="287" y="52"/>
                      <a:pt x="192" y="146"/>
                    </a:cubicBezTo>
                    <a:cubicBezTo>
                      <a:pt x="21" y="317"/>
                      <a:pt x="0" y="581"/>
                      <a:pt x="129" y="775"/>
                    </a:cubicBezTo>
                    <a:lnTo>
                      <a:pt x="51" y="853"/>
                    </a:lnTo>
                    <a:close/>
                    <a:moveTo>
                      <a:pt x="333" y="287"/>
                    </a:moveTo>
                    <a:cubicBezTo>
                      <a:pt x="390" y="231"/>
                      <a:pt x="465" y="200"/>
                      <a:pt x="546" y="200"/>
                    </a:cubicBezTo>
                    <a:cubicBezTo>
                      <a:pt x="626" y="200"/>
                      <a:pt x="701" y="231"/>
                      <a:pt x="758" y="287"/>
                    </a:cubicBezTo>
                    <a:cubicBezTo>
                      <a:pt x="875" y="404"/>
                      <a:pt x="875" y="595"/>
                      <a:pt x="758" y="712"/>
                    </a:cubicBezTo>
                    <a:cubicBezTo>
                      <a:pt x="644" y="825"/>
                      <a:pt x="447" y="825"/>
                      <a:pt x="333" y="712"/>
                    </a:cubicBezTo>
                    <a:cubicBezTo>
                      <a:pt x="216" y="595"/>
                      <a:pt x="216" y="404"/>
                      <a:pt x="333" y="287"/>
                    </a:cubicBez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81">
                <a:extLst>
                  <a:ext uri="{FF2B5EF4-FFF2-40B4-BE49-F238E27FC236}">
                    <a16:creationId xmlns:a16="http://schemas.microsoft.com/office/drawing/2014/main" id="{E1602AC2-FF71-48F0-9104-BD58F7804F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9513" y="3684588"/>
                <a:ext cx="130175" cy="141287"/>
              </a:xfrm>
              <a:custGeom>
                <a:avLst/>
                <a:gdLst>
                  <a:gd name="T0" fmla="*/ 400 w 1000"/>
                  <a:gd name="T1" fmla="*/ 990 h 1100"/>
                  <a:gd name="T2" fmla="*/ 400 w 1000"/>
                  <a:gd name="T3" fmla="*/ 1100 h 1100"/>
                  <a:gd name="T4" fmla="*/ 600 w 1000"/>
                  <a:gd name="T5" fmla="*/ 1100 h 1100"/>
                  <a:gd name="T6" fmla="*/ 600 w 1000"/>
                  <a:gd name="T7" fmla="*/ 990 h 1100"/>
                  <a:gd name="T8" fmla="*/ 1000 w 1000"/>
                  <a:gd name="T9" fmla="*/ 500 h 1100"/>
                  <a:gd name="T10" fmla="*/ 500 w 1000"/>
                  <a:gd name="T11" fmla="*/ 0 h 1100"/>
                  <a:gd name="T12" fmla="*/ 0 w 1000"/>
                  <a:gd name="T13" fmla="*/ 500 h 1100"/>
                  <a:gd name="T14" fmla="*/ 400 w 1000"/>
                  <a:gd name="T15" fmla="*/ 990 h 1100"/>
                  <a:gd name="T16" fmla="*/ 500 w 1000"/>
                  <a:gd name="T17" fmla="*/ 200 h 1100"/>
                  <a:gd name="T18" fmla="*/ 800 w 1000"/>
                  <a:gd name="T19" fmla="*/ 500 h 1100"/>
                  <a:gd name="T20" fmla="*/ 500 w 1000"/>
                  <a:gd name="T21" fmla="*/ 800 h 1100"/>
                  <a:gd name="T22" fmla="*/ 200 w 1000"/>
                  <a:gd name="T23" fmla="*/ 500 h 1100"/>
                  <a:gd name="T24" fmla="*/ 500 w 1000"/>
                  <a:gd name="T25" fmla="*/ 200 h 1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00" h="1100">
                    <a:moveTo>
                      <a:pt x="400" y="990"/>
                    </a:moveTo>
                    <a:lnTo>
                      <a:pt x="400" y="1100"/>
                    </a:lnTo>
                    <a:lnTo>
                      <a:pt x="600" y="1100"/>
                    </a:lnTo>
                    <a:lnTo>
                      <a:pt x="600" y="990"/>
                    </a:lnTo>
                    <a:cubicBezTo>
                      <a:pt x="828" y="943"/>
                      <a:pt x="1000" y="742"/>
                      <a:pt x="1000" y="500"/>
                    </a:cubicBezTo>
                    <a:cubicBezTo>
                      <a:pt x="1000" y="224"/>
                      <a:pt x="776" y="0"/>
                      <a:pt x="500" y="0"/>
                    </a:cubicBezTo>
                    <a:cubicBezTo>
                      <a:pt x="224" y="0"/>
                      <a:pt x="0" y="224"/>
                      <a:pt x="0" y="500"/>
                    </a:cubicBezTo>
                    <a:cubicBezTo>
                      <a:pt x="0" y="741"/>
                      <a:pt x="172" y="943"/>
                      <a:pt x="400" y="990"/>
                    </a:cubicBezTo>
                    <a:close/>
                    <a:moveTo>
                      <a:pt x="500" y="200"/>
                    </a:moveTo>
                    <a:cubicBezTo>
                      <a:pt x="665" y="200"/>
                      <a:pt x="800" y="335"/>
                      <a:pt x="800" y="500"/>
                    </a:cubicBezTo>
                    <a:cubicBezTo>
                      <a:pt x="800" y="665"/>
                      <a:pt x="665" y="800"/>
                      <a:pt x="500" y="800"/>
                    </a:cubicBezTo>
                    <a:cubicBezTo>
                      <a:pt x="335" y="800"/>
                      <a:pt x="200" y="665"/>
                      <a:pt x="200" y="500"/>
                    </a:cubicBezTo>
                    <a:cubicBezTo>
                      <a:pt x="200" y="335"/>
                      <a:pt x="335" y="200"/>
                      <a:pt x="500" y="200"/>
                    </a:cubicBez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Rectangle 82">
                <a:extLst>
                  <a:ext uri="{FF2B5EF4-FFF2-40B4-BE49-F238E27FC236}">
                    <a16:creationId xmlns:a16="http://schemas.microsoft.com/office/drawing/2014/main" id="{5BD020D0-AB09-4916-9C1B-FEECB507DB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1900" y="3852863"/>
                <a:ext cx="25400" cy="25400"/>
              </a:xfrm>
              <a:prstGeom prst="rect">
                <a:avLst/>
              </a:prstGeom>
              <a:grpFill/>
              <a:ln w="1270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83">
                <a:extLst>
                  <a:ext uri="{FF2B5EF4-FFF2-40B4-BE49-F238E27FC236}">
                    <a16:creationId xmlns:a16="http://schemas.microsoft.com/office/drawing/2014/main" id="{1C9E0E4A-A7DF-47C5-855B-938C0FDC1A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06625" y="3783013"/>
                <a:ext cx="141288" cy="128587"/>
              </a:xfrm>
              <a:custGeom>
                <a:avLst/>
                <a:gdLst>
                  <a:gd name="T0" fmla="*/ 549 w 1094"/>
                  <a:gd name="T1" fmla="*/ 1000 h 1000"/>
                  <a:gd name="T2" fmla="*/ 824 w 1094"/>
                  <a:gd name="T3" fmla="*/ 918 h 1000"/>
                  <a:gd name="T4" fmla="*/ 902 w 1094"/>
                  <a:gd name="T5" fmla="*/ 995 h 1000"/>
                  <a:gd name="T6" fmla="*/ 1044 w 1094"/>
                  <a:gd name="T7" fmla="*/ 854 h 1000"/>
                  <a:gd name="T8" fmla="*/ 966 w 1094"/>
                  <a:gd name="T9" fmla="*/ 776 h 1000"/>
                  <a:gd name="T10" fmla="*/ 902 w 1094"/>
                  <a:gd name="T11" fmla="*/ 147 h 1000"/>
                  <a:gd name="T12" fmla="*/ 549 w 1094"/>
                  <a:gd name="T13" fmla="*/ 0 h 1000"/>
                  <a:gd name="T14" fmla="*/ 195 w 1094"/>
                  <a:gd name="T15" fmla="*/ 147 h 1000"/>
                  <a:gd name="T16" fmla="*/ 195 w 1094"/>
                  <a:gd name="T17" fmla="*/ 854 h 1000"/>
                  <a:gd name="T18" fmla="*/ 549 w 1094"/>
                  <a:gd name="T19" fmla="*/ 1000 h 1000"/>
                  <a:gd name="T20" fmla="*/ 336 w 1094"/>
                  <a:gd name="T21" fmla="*/ 288 h 1000"/>
                  <a:gd name="T22" fmla="*/ 549 w 1094"/>
                  <a:gd name="T23" fmla="*/ 201 h 1000"/>
                  <a:gd name="T24" fmla="*/ 761 w 1094"/>
                  <a:gd name="T25" fmla="*/ 288 h 1000"/>
                  <a:gd name="T26" fmla="*/ 761 w 1094"/>
                  <a:gd name="T27" fmla="*/ 713 h 1000"/>
                  <a:gd name="T28" fmla="*/ 336 w 1094"/>
                  <a:gd name="T29" fmla="*/ 713 h 1000"/>
                  <a:gd name="T30" fmla="*/ 336 w 1094"/>
                  <a:gd name="T31" fmla="*/ 288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94" h="1000">
                    <a:moveTo>
                      <a:pt x="549" y="1000"/>
                    </a:moveTo>
                    <a:cubicBezTo>
                      <a:pt x="648" y="1000"/>
                      <a:pt x="743" y="972"/>
                      <a:pt x="824" y="918"/>
                    </a:cubicBezTo>
                    <a:lnTo>
                      <a:pt x="902" y="995"/>
                    </a:lnTo>
                    <a:lnTo>
                      <a:pt x="1044" y="854"/>
                    </a:lnTo>
                    <a:lnTo>
                      <a:pt x="966" y="776"/>
                    </a:lnTo>
                    <a:cubicBezTo>
                      <a:pt x="1094" y="582"/>
                      <a:pt x="1073" y="318"/>
                      <a:pt x="902" y="147"/>
                    </a:cubicBezTo>
                    <a:cubicBezTo>
                      <a:pt x="808" y="52"/>
                      <a:pt x="682" y="0"/>
                      <a:pt x="549" y="0"/>
                    </a:cubicBezTo>
                    <a:cubicBezTo>
                      <a:pt x="415" y="0"/>
                      <a:pt x="289" y="52"/>
                      <a:pt x="195" y="147"/>
                    </a:cubicBezTo>
                    <a:cubicBezTo>
                      <a:pt x="0" y="342"/>
                      <a:pt x="0" y="659"/>
                      <a:pt x="195" y="854"/>
                    </a:cubicBezTo>
                    <a:cubicBezTo>
                      <a:pt x="289" y="949"/>
                      <a:pt x="415" y="1000"/>
                      <a:pt x="549" y="1000"/>
                    </a:cubicBezTo>
                    <a:close/>
                    <a:moveTo>
                      <a:pt x="336" y="288"/>
                    </a:moveTo>
                    <a:cubicBezTo>
                      <a:pt x="393" y="232"/>
                      <a:pt x="468" y="201"/>
                      <a:pt x="549" y="201"/>
                    </a:cubicBezTo>
                    <a:cubicBezTo>
                      <a:pt x="629" y="201"/>
                      <a:pt x="704" y="232"/>
                      <a:pt x="761" y="288"/>
                    </a:cubicBezTo>
                    <a:cubicBezTo>
                      <a:pt x="878" y="405"/>
                      <a:pt x="878" y="596"/>
                      <a:pt x="761" y="713"/>
                    </a:cubicBezTo>
                    <a:cubicBezTo>
                      <a:pt x="647" y="826"/>
                      <a:pt x="450" y="826"/>
                      <a:pt x="336" y="713"/>
                    </a:cubicBezTo>
                    <a:cubicBezTo>
                      <a:pt x="219" y="596"/>
                      <a:pt x="219" y="405"/>
                      <a:pt x="336" y="288"/>
                    </a:cubicBez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84">
                <a:extLst>
                  <a:ext uri="{FF2B5EF4-FFF2-40B4-BE49-F238E27FC236}">
                    <a16:creationId xmlns:a16="http://schemas.microsoft.com/office/drawing/2014/main" id="{3EDAD87B-B214-4BDC-B9E7-A82058B13B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1563" y="3911600"/>
                <a:ext cx="36513" cy="36512"/>
              </a:xfrm>
              <a:custGeom>
                <a:avLst/>
                <a:gdLst>
                  <a:gd name="T0" fmla="*/ 283 w 283"/>
                  <a:gd name="T1" fmla="*/ 142 h 283"/>
                  <a:gd name="T2" fmla="*/ 142 w 283"/>
                  <a:gd name="T3" fmla="*/ 283 h 283"/>
                  <a:gd name="T4" fmla="*/ 0 w 283"/>
                  <a:gd name="T5" fmla="*/ 142 h 283"/>
                  <a:gd name="T6" fmla="*/ 142 w 283"/>
                  <a:gd name="T7" fmla="*/ 0 h 283"/>
                  <a:gd name="T8" fmla="*/ 283 w 283"/>
                  <a:gd name="T9" fmla="*/ 14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3" h="283">
                    <a:moveTo>
                      <a:pt x="283" y="142"/>
                    </a:moveTo>
                    <a:lnTo>
                      <a:pt x="142" y="283"/>
                    </a:lnTo>
                    <a:lnTo>
                      <a:pt x="0" y="142"/>
                    </a:lnTo>
                    <a:lnTo>
                      <a:pt x="142" y="0"/>
                    </a:lnTo>
                    <a:lnTo>
                      <a:pt x="283" y="142"/>
                    </a:ln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Rectangle 85">
                <a:extLst>
                  <a:ext uri="{FF2B5EF4-FFF2-40B4-BE49-F238E27FC236}">
                    <a16:creationId xmlns:a16="http://schemas.microsoft.com/office/drawing/2014/main" id="{86CD3EAE-127B-49DE-A48B-8353F37C7A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82825" y="4071938"/>
                <a:ext cx="25400" cy="25400"/>
              </a:xfrm>
              <a:prstGeom prst="rect">
                <a:avLst/>
              </a:prstGeom>
              <a:grpFill/>
              <a:ln w="12700">
                <a:noFill/>
                <a:prstDash val="solid"/>
                <a:miter lim="800000"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86">
                <a:extLst>
                  <a:ext uri="{FF2B5EF4-FFF2-40B4-BE49-F238E27FC236}">
                    <a16:creationId xmlns:a16="http://schemas.microsoft.com/office/drawing/2014/main" id="{6264C531-D8D2-4854-8682-ED6173533D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14550" y="4019550"/>
                <a:ext cx="141288" cy="130175"/>
              </a:xfrm>
              <a:custGeom>
                <a:avLst/>
                <a:gdLst>
                  <a:gd name="T0" fmla="*/ 1100 w 1100"/>
                  <a:gd name="T1" fmla="*/ 600 h 1000"/>
                  <a:gd name="T2" fmla="*/ 1100 w 1100"/>
                  <a:gd name="T3" fmla="*/ 400 h 1000"/>
                  <a:gd name="T4" fmla="*/ 990 w 1100"/>
                  <a:gd name="T5" fmla="*/ 400 h 1000"/>
                  <a:gd name="T6" fmla="*/ 500 w 1100"/>
                  <a:gd name="T7" fmla="*/ 0 h 1000"/>
                  <a:gd name="T8" fmla="*/ 0 w 1100"/>
                  <a:gd name="T9" fmla="*/ 500 h 1000"/>
                  <a:gd name="T10" fmla="*/ 500 w 1100"/>
                  <a:gd name="T11" fmla="*/ 1000 h 1000"/>
                  <a:gd name="T12" fmla="*/ 990 w 1100"/>
                  <a:gd name="T13" fmla="*/ 600 h 1000"/>
                  <a:gd name="T14" fmla="*/ 1100 w 1100"/>
                  <a:gd name="T15" fmla="*/ 600 h 1000"/>
                  <a:gd name="T16" fmla="*/ 500 w 1100"/>
                  <a:gd name="T17" fmla="*/ 800 h 1000"/>
                  <a:gd name="T18" fmla="*/ 200 w 1100"/>
                  <a:gd name="T19" fmla="*/ 500 h 1000"/>
                  <a:gd name="T20" fmla="*/ 500 w 1100"/>
                  <a:gd name="T21" fmla="*/ 200 h 1000"/>
                  <a:gd name="T22" fmla="*/ 800 w 1100"/>
                  <a:gd name="T23" fmla="*/ 500 h 1000"/>
                  <a:gd name="T24" fmla="*/ 500 w 1100"/>
                  <a:gd name="T25" fmla="*/ 800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00" h="1000">
                    <a:moveTo>
                      <a:pt x="1100" y="600"/>
                    </a:moveTo>
                    <a:lnTo>
                      <a:pt x="1100" y="400"/>
                    </a:lnTo>
                    <a:lnTo>
                      <a:pt x="990" y="400"/>
                    </a:lnTo>
                    <a:cubicBezTo>
                      <a:pt x="943" y="172"/>
                      <a:pt x="741" y="0"/>
                      <a:pt x="500" y="0"/>
                    </a:cubicBezTo>
                    <a:cubicBezTo>
                      <a:pt x="224" y="0"/>
                      <a:pt x="0" y="224"/>
                      <a:pt x="0" y="500"/>
                    </a:cubicBezTo>
                    <a:cubicBezTo>
                      <a:pt x="0" y="776"/>
                      <a:pt x="224" y="1000"/>
                      <a:pt x="500" y="1000"/>
                    </a:cubicBezTo>
                    <a:cubicBezTo>
                      <a:pt x="741" y="1000"/>
                      <a:pt x="943" y="828"/>
                      <a:pt x="990" y="600"/>
                    </a:cubicBezTo>
                    <a:lnTo>
                      <a:pt x="1100" y="600"/>
                    </a:lnTo>
                    <a:close/>
                    <a:moveTo>
                      <a:pt x="500" y="800"/>
                    </a:moveTo>
                    <a:cubicBezTo>
                      <a:pt x="335" y="800"/>
                      <a:pt x="200" y="665"/>
                      <a:pt x="200" y="500"/>
                    </a:cubicBezTo>
                    <a:cubicBezTo>
                      <a:pt x="200" y="335"/>
                      <a:pt x="335" y="200"/>
                      <a:pt x="500" y="200"/>
                    </a:cubicBezTo>
                    <a:cubicBezTo>
                      <a:pt x="665" y="200"/>
                      <a:pt x="800" y="335"/>
                      <a:pt x="800" y="500"/>
                    </a:cubicBezTo>
                    <a:cubicBezTo>
                      <a:pt x="800" y="665"/>
                      <a:pt x="665" y="800"/>
                      <a:pt x="500" y="800"/>
                    </a:cubicBezTo>
                    <a:close/>
                  </a:path>
                </a:pathLst>
              </a:custGeom>
              <a:grpFill/>
              <a:ln w="1270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33039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A3D9DBC-D223-47FA-BB7F-E3B6F22D2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Комплаенс </a:t>
            </a:r>
            <a:r>
              <a:rPr lang="ru-RU" sz="2200" dirty="0" err="1"/>
              <a:t>бўлинманинг</a:t>
            </a:r>
            <a:r>
              <a:rPr lang="ru-RU" sz="2200" dirty="0"/>
              <a:t> </a:t>
            </a:r>
            <a:r>
              <a:rPr lang="ru-RU" sz="2200" dirty="0" err="1"/>
              <a:t>ўрни</a:t>
            </a:r>
            <a:r>
              <a:rPr lang="ru-RU" sz="2200" dirty="0"/>
              <a:t> </a:t>
            </a:r>
            <a:r>
              <a:rPr lang="ru-RU" sz="2200" dirty="0" err="1"/>
              <a:t>ва</a:t>
            </a:r>
            <a:r>
              <a:rPr lang="ru-RU" sz="2200" dirty="0"/>
              <a:t> роли: </a:t>
            </a:r>
            <a:br>
              <a:rPr lang="ru-RU" sz="2200" dirty="0"/>
            </a:br>
            <a:r>
              <a:rPr lang="ru-RU" sz="2200" dirty="0"/>
              <a:t>Ўзбекистон </a:t>
            </a:r>
            <a:r>
              <a:rPr lang="ru-RU" sz="2200" dirty="0" err="1"/>
              <a:t>Республикасида</a:t>
            </a:r>
            <a:r>
              <a:rPr lang="ru-RU" sz="2200" dirty="0"/>
              <a:t> комплаенс </a:t>
            </a:r>
            <a:r>
              <a:rPr lang="ru-RU" sz="2200" dirty="0" err="1"/>
              <a:t>функцияларини</a:t>
            </a:r>
            <a:r>
              <a:rPr lang="ru-RU" sz="2200" dirty="0"/>
              <a:t> </a:t>
            </a:r>
            <a:r>
              <a:rPr lang="ru-RU" sz="2200" dirty="0" err="1"/>
              <a:t>ташкил</a:t>
            </a:r>
            <a:r>
              <a:rPr lang="ru-RU" sz="2200" dirty="0"/>
              <a:t> </a:t>
            </a:r>
            <a:r>
              <a:rPr lang="ru-RU" sz="2200" dirty="0" err="1"/>
              <a:t>этиш</a:t>
            </a:r>
            <a:r>
              <a:rPr lang="ru-RU" sz="2200" dirty="0"/>
              <a:t> </a:t>
            </a:r>
            <a:r>
              <a:rPr lang="ru-RU" sz="2200" dirty="0" err="1"/>
              <a:t>амалиёти</a:t>
            </a:r>
            <a:r>
              <a:rPr lang="ru-RU" sz="2200" dirty="0"/>
              <a:t> (8/9)</a:t>
            </a:r>
            <a:endParaRPr lang="en-US" sz="2200" dirty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4B655D8-16A1-4BCE-90F1-76AD1BE44A3C}"/>
              </a:ext>
            </a:extLst>
          </p:cNvPr>
          <p:cNvSpPr/>
          <p:nvPr/>
        </p:nvSpPr>
        <p:spPr>
          <a:xfrm>
            <a:off x="448935" y="2106349"/>
            <a:ext cx="3537195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одимлар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Одоб-ахлоқ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оидалари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иоя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шлар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азорат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доб-ахлоқ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оидалари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ўзгартириш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ирит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клиф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йёрла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уракка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доб-ахлоқ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зиятлар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ал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зиддиятл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зият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лд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л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йич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слаҳат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ер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астлабк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екширув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ўтказ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одим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Одоб-ахлоқ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оидалар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узганликлар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нтизомий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жавобгарликк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орт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салас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ўри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иқишд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тирок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нфаат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ўқнашув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ички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изо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олатлар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йич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арор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сдиқла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6FB2AD0-B369-40FD-87A2-D10B6D8D2EBE}"/>
              </a:ext>
            </a:extLst>
          </p:cNvPr>
          <p:cNvGrpSpPr/>
          <p:nvPr/>
        </p:nvGrpSpPr>
        <p:grpSpPr>
          <a:xfrm>
            <a:off x="448932" y="1139479"/>
            <a:ext cx="3537200" cy="981502"/>
            <a:chOff x="448932" y="916722"/>
            <a:chExt cx="2084719" cy="981502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19EF53A0-8397-4496-94A7-FE11AD9A839B}"/>
                </a:ext>
              </a:extLst>
            </p:cNvPr>
            <p:cNvSpPr/>
            <p:nvPr/>
          </p:nvSpPr>
          <p:spPr>
            <a:xfrm>
              <a:off x="448933" y="1712800"/>
              <a:ext cx="2084718" cy="1417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3EC0F55-85F6-440C-8FCE-145186D0E1A9}"/>
                </a:ext>
              </a:extLst>
            </p:cNvPr>
            <p:cNvSpPr/>
            <p:nvPr/>
          </p:nvSpPr>
          <p:spPr>
            <a:xfrm>
              <a:off x="453588" y="916722"/>
              <a:ext cx="861633" cy="981502"/>
            </a:xfrm>
            <a:prstGeom prst="rect">
              <a:avLst/>
            </a:prstGeom>
          </p:spPr>
          <p:txBody>
            <a:bodyPr wrap="none" lIns="0" tIns="0" bIns="0" anchor="t">
              <a:noAutofit/>
            </a:bodyPr>
            <a:lstStyle/>
            <a:p>
              <a:r>
                <a:rPr lang="ru-RU" sz="6000" spc="-244" dirty="0">
                  <a:solidFill>
                    <a:schemeClr val="accent4">
                      <a:lumMod val="40000"/>
                      <a:lumOff val="60000"/>
                      <a:alpha val="36000"/>
                    </a:schemeClr>
                  </a:solidFill>
                  <a:latin typeface="Arial" panose="020B0604020202020204" pitchFamily="34" charset="0"/>
                </a:rPr>
                <a:t>04</a:t>
              </a:r>
              <a:endParaRPr lang="en-US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ED6BB630-2587-4E1A-94BD-FB4E9EEAC3DE}"/>
                </a:ext>
              </a:extLst>
            </p:cNvPr>
            <p:cNvSpPr/>
            <p:nvPr/>
          </p:nvSpPr>
          <p:spPr>
            <a:xfrm>
              <a:off x="448932" y="1221617"/>
              <a:ext cx="2084718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4371" tIns="44371" rIns="44371" bIns="44371" rtlCol="0" anchor="b">
              <a:noAutofit/>
            </a:bodyPr>
            <a:lstStyle/>
            <a:p>
              <a: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Одоб-ахлоқ </a:t>
              </a:r>
            </a:p>
            <a:p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комиссияси</a:t>
              </a:r>
              <a:endParaRPr lang="ru-RU" sz="16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38C2430-F27B-466A-8889-312C845AEFF9}"/>
              </a:ext>
            </a:extLst>
          </p:cNvPr>
          <p:cNvSpPr/>
          <p:nvPr/>
        </p:nvSpPr>
        <p:spPr>
          <a:xfrm>
            <a:off x="4330413" y="2106349"/>
            <a:ext cx="3640938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лоқ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аналлар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рқал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ели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уш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одим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фуқаро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юридик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шахс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киллари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кас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га қарши комплаенс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йич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урожаатлар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ҳлил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ниш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ўри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иқилиш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ъминла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лоқ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аналлар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рқал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ели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уш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га қарши курашиш, комплаенс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линм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ил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оғлиқ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урожаат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йич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статистик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ълумот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уз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000E115-BC7F-4F1C-8760-A9DB3E79C435}"/>
              </a:ext>
            </a:extLst>
          </p:cNvPr>
          <p:cNvGrpSpPr/>
          <p:nvPr/>
        </p:nvGrpSpPr>
        <p:grpSpPr>
          <a:xfrm>
            <a:off x="4330410" y="1139479"/>
            <a:ext cx="3537200" cy="981502"/>
            <a:chOff x="448932" y="916722"/>
            <a:chExt cx="2084719" cy="981502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5F96A55-D3E1-43F5-8861-B38FD380241D}"/>
                </a:ext>
              </a:extLst>
            </p:cNvPr>
            <p:cNvSpPr/>
            <p:nvPr/>
          </p:nvSpPr>
          <p:spPr>
            <a:xfrm>
              <a:off x="453588" y="916722"/>
              <a:ext cx="861633" cy="981502"/>
            </a:xfrm>
            <a:prstGeom prst="rect">
              <a:avLst/>
            </a:prstGeom>
          </p:spPr>
          <p:txBody>
            <a:bodyPr wrap="none" lIns="0" tIns="0" bIns="0" anchor="t">
              <a:noAutofit/>
            </a:bodyPr>
            <a:lstStyle/>
            <a:p>
              <a:r>
                <a:rPr lang="ru-RU" sz="6000" spc="-244" dirty="0">
                  <a:solidFill>
                    <a:schemeClr val="accent4">
                      <a:lumMod val="40000"/>
                      <a:lumOff val="60000"/>
                      <a:alpha val="36000"/>
                    </a:schemeClr>
                  </a:solidFill>
                  <a:latin typeface="Arial" panose="020B0604020202020204" pitchFamily="34" charset="0"/>
                </a:rPr>
                <a:t>05</a:t>
              </a:r>
              <a:endParaRPr lang="en-US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C586126-5E01-46D9-A14A-BBF9CC699C3B}"/>
                </a:ext>
              </a:extLst>
            </p:cNvPr>
            <p:cNvSpPr/>
            <p:nvPr/>
          </p:nvSpPr>
          <p:spPr>
            <a:xfrm>
              <a:off x="448933" y="1712800"/>
              <a:ext cx="2084718" cy="1417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78C74E45-A2ED-4E86-AD76-55A552DF0E5C}"/>
                </a:ext>
              </a:extLst>
            </p:cNvPr>
            <p:cNvSpPr/>
            <p:nvPr/>
          </p:nvSpPr>
          <p:spPr>
            <a:xfrm>
              <a:off x="448932" y="1244854"/>
              <a:ext cx="2084718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4371" tIns="44371" rIns="44371" bIns="44371" rtlCol="0" anchor="b">
              <a:noAutofit/>
            </a:bodyPr>
            <a:lstStyle/>
            <a:p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Мурожаатлар</a:t>
              </a:r>
              <a: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билан</a:t>
              </a:r>
              <a: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ишлаш</a:t>
              </a:r>
              <a: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 б</a:t>
              </a:r>
              <a:r>
                <a:rPr lang="uz-Cyrl-UZ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ўлими</a:t>
              </a:r>
              <a:endParaRPr lang="ru-RU" sz="16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5F846292-C5C9-47FA-8085-ADC0F12F0C09}"/>
              </a:ext>
            </a:extLst>
          </p:cNvPr>
          <p:cNvSpPr/>
          <p:nvPr/>
        </p:nvSpPr>
        <p:spPr>
          <a:xfrm>
            <a:off x="8211890" y="2106349"/>
            <a:ext cx="3757605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одимлар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жамоатчиликни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этика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га қарши курашиш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оҳасидаги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дбирлар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ўғрисид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бардор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;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ммавий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хборот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оситалари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илан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ўзаро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лоқ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37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га қарши курашиш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йич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ужжатлар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ълумотларни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авлат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шкилотининг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асмий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веб-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айтид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унтазам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авишд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янгилаб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ориш</a:t>
            </a:r>
            <a:endParaRPr lang="ru-RU" sz="137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авлат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шкилотининг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асмий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веб-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айтид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</a:t>
            </a:r>
            <a:r>
              <a:rPr lang="uz-Cyrl-UZ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ц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яг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қарши курашиш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лимид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қолалар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оп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ш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(комплаенс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линм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илан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елишилган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олд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)</a:t>
            </a:r>
            <a:endParaRPr lang="en-US" sz="137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ммавий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хборот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оситаларид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оп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лган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олатлари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ўғрисидаги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хборотни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мониторинг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авлат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шкилотининг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мплаенс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линмасиг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/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аҳбарига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хборот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узатиш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йўли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илан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уносабат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илдирилишини</a:t>
            </a:r>
            <a:r>
              <a:rPr lang="ru-RU" sz="137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7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ъминлаш</a:t>
            </a:r>
            <a:endParaRPr lang="ru-RU" sz="137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8F2A710-17B2-48B2-8EF2-F6E0BF22CB0D}"/>
              </a:ext>
            </a:extLst>
          </p:cNvPr>
          <p:cNvGrpSpPr/>
          <p:nvPr/>
        </p:nvGrpSpPr>
        <p:grpSpPr>
          <a:xfrm>
            <a:off x="8211888" y="1139479"/>
            <a:ext cx="3537200" cy="981502"/>
            <a:chOff x="448932" y="916722"/>
            <a:chExt cx="2084719" cy="981502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13114C8-1DA2-4F6F-A562-291E2AF675D0}"/>
                </a:ext>
              </a:extLst>
            </p:cNvPr>
            <p:cNvSpPr/>
            <p:nvPr/>
          </p:nvSpPr>
          <p:spPr>
            <a:xfrm>
              <a:off x="448933" y="1712800"/>
              <a:ext cx="2084718" cy="1417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4B1A19B-7CA1-47D8-8CB1-8EF37D0DC7BA}"/>
                </a:ext>
              </a:extLst>
            </p:cNvPr>
            <p:cNvSpPr/>
            <p:nvPr/>
          </p:nvSpPr>
          <p:spPr>
            <a:xfrm>
              <a:off x="453588" y="916722"/>
              <a:ext cx="861633" cy="981502"/>
            </a:xfrm>
            <a:prstGeom prst="rect">
              <a:avLst/>
            </a:prstGeom>
          </p:spPr>
          <p:txBody>
            <a:bodyPr wrap="none" lIns="0" tIns="0" bIns="0" anchor="t">
              <a:noAutofit/>
            </a:bodyPr>
            <a:lstStyle/>
            <a:p>
              <a:r>
                <a:rPr lang="ru-RU" sz="6000" spc="-244" dirty="0">
                  <a:solidFill>
                    <a:schemeClr val="accent4">
                      <a:lumMod val="40000"/>
                      <a:lumOff val="60000"/>
                      <a:alpha val="36000"/>
                    </a:schemeClr>
                  </a:solidFill>
                  <a:latin typeface="Arial" panose="020B0604020202020204" pitchFamily="34" charset="0"/>
                </a:rPr>
                <a:t>06</a:t>
              </a:r>
              <a:endParaRPr lang="en-US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2098CD17-48A0-4C3D-AC09-2B8D58A0BEDE}"/>
                </a:ext>
              </a:extLst>
            </p:cNvPr>
            <p:cNvSpPr/>
            <p:nvPr/>
          </p:nvSpPr>
          <p:spPr>
            <a:xfrm>
              <a:off x="448932" y="1244854"/>
              <a:ext cx="2084718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4371" tIns="44371" rIns="44371" bIns="44371" rtlCol="0" anchor="b">
              <a:noAutofit/>
            </a:bodyPr>
            <a:lstStyle/>
            <a:p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Матбуот</a:t>
              </a:r>
              <a: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 </a:t>
              </a:r>
            </a:p>
            <a:p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хизмати</a:t>
              </a:r>
              <a: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 </a:t>
              </a:r>
            </a:p>
          </p:txBody>
        </p:sp>
      </p:grpSp>
      <p:grpSp>
        <p:nvGrpSpPr>
          <p:cNvPr id="76" name="Group 2179">
            <a:extLst>
              <a:ext uri="{FF2B5EF4-FFF2-40B4-BE49-F238E27FC236}">
                <a16:creationId xmlns:a16="http://schemas.microsoft.com/office/drawing/2014/main" id="{8A146A0D-4B67-4B2C-AF85-EFF5D7A60E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93887" y="1382278"/>
            <a:ext cx="691010" cy="695029"/>
            <a:chOff x="6095" y="1222"/>
            <a:chExt cx="172" cy="173"/>
          </a:xfrm>
          <a:solidFill>
            <a:srgbClr val="B1C7F7">
              <a:alpha val="50000"/>
            </a:srgbClr>
          </a:solidFill>
        </p:grpSpPr>
        <p:sp>
          <p:nvSpPr>
            <p:cNvPr id="77" name="Freeform 2180">
              <a:extLst>
                <a:ext uri="{FF2B5EF4-FFF2-40B4-BE49-F238E27FC236}">
                  <a16:creationId xmlns:a16="http://schemas.microsoft.com/office/drawing/2014/main" id="{C4899AE5-D280-421E-9A01-9B123C2647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0" y="1328"/>
              <a:ext cx="31" cy="31"/>
            </a:xfrm>
            <a:custGeom>
              <a:avLst/>
              <a:gdLst>
                <a:gd name="T0" fmla="*/ 933 w 1473"/>
                <a:gd name="T1" fmla="*/ 1207 h 1473"/>
                <a:gd name="T2" fmla="*/ 266 w 1473"/>
                <a:gd name="T3" fmla="*/ 540 h 1473"/>
                <a:gd name="T4" fmla="*/ 390 w 1473"/>
                <a:gd name="T5" fmla="*/ 154 h 1473"/>
                <a:gd name="T6" fmla="*/ 173 w 1473"/>
                <a:gd name="T7" fmla="*/ 0 h 1473"/>
                <a:gd name="T8" fmla="*/ 0 w 1473"/>
                <a:gd name="T9" fmla="*/ 540 h 1473"/>
                <a:gd name="T10" fmla="*/ 933 w 1473"/>
                <a:gd name="T11" fmla="*/ 1473 h 1473"/>
                <a:gd name="T12" fmla="*/ 1473 w 1473"/>
                <a:gd name="T13" fmla="*/ 1300 h 1473"/>
                <a:gd name="T14" fmla="*/ 1319 w 1473"/>
                <a:gd name="T15" fmla="*/ 1083 h 1473"/>
                <a:gd name="T16" fmla="*/ 933 w 1473"/>
                <a:gd name="T17" fmla="*/ 1207 h 1473"/>
                <a:gd name="T18" fmla="*/ 933 w 1473"/>
                <a:gd name="T19" fmla="*/ 1207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3" h="1473">
                  <a:moveTo>
                    <a:pt x="933" y="1207"/>
                  </a:moveTo>
                  <a:cubicBezTo>
                    <a:pt x="565" y="1207"/>
                    <a:pt x="266" y="908"/>
                    <a:pt x="266" y="540"/>
                  </a:cubicBezTo>
                  <a:cubicBezTo>
                    <a:pt x="266" y="401"/>
                    <a:pt x="309" y="268"/>
                    <a:pt x="390" y="154"/>
                  </a:cubicBezTo>
                  <a:lnTo>
                    <a:pt x="173" y="0"/>
                  </a:lnTo>
                  <a:cubicBezTo>
                    <a:pt x="60" y="159"/>
                    <a:pt x="0" y="346"/>
                    <a:pt x="0" y="540"/>
                  </a:cubicBezTo>
                  <a:cubicBezTo>
                    <a:pt x="0" y="1055"/>
                    <a:pt x="418" y="1473"/>
                    <a:pt x="933" y="1473"/>
                  </a:cubicBezTo>
                  <a:cubicBezTo>
                    <a:pt x="1127" y="1473"/>
                    <a:pt x="1314" y="1413"/>
                    <a:pt x="1473" y="1300"/>
                  </a:cubicBezTo>
                  <a:lnTo>
                    <a:pt x="1319" y="1083"/>
                  </a:lnTo>
                  <a:cubicBezTo>
                    <a:pt x="1205" y="1164"/>
                    <a:pt x="1072" y="1207"/>
                    <a:pt x="933" y="1207"/>
                  </a:cubicBezTo>
                  <a:close/>
                  <a:moveTo>
                    <a:pt x="933" y="120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181">
              <a:extLst>
                <a:ext uri="{FF2B5EF4-FFF2-40B4-BE49-F238E27FC236}">
                  <a16:creationId xmlns:a16="http://schemas.microsoft.com/office/drawing/2014/main" id="{2137F2D4-1F24-475B-A676-5AC37963A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5" y="1222"/>
              <a:ext cx="172" cy="173"/>
            </a:xfrm>
            <a:custGeom>
              <a:avLst/>
              <a:gdLst>
                <a:gd name="T0" fmla="*/ 6533 w 8267"/>
                <a:gd name="T1" fmla="*/ 1467 h 8267"/>
                <a:gd name="T2" fmla="*/ 6400 w 8267"/>
                <a:gd name="T3" fmla="*/ 400 h 8267"/>
                <a:gd name="T4" fmla="*/ 5867 w 8267"/>
                <a:gd name="T5" fmla="*/ 1467 h 8267"/>
                <a:gd name="T6" fmla="*/ 5200 w 8267"/>
                <a:gd name="T7" fmla="*/ 2206 h 8267"/>
                <a:gd name="T8" fmla="*/ 4396 w 8267"/>
                <a:gd name="T9" fmla="*/ 1467 h 8267"/>
                <a:gd name="T10" fmla="*/ 3333 w 8267"/>
                <a:gd name="T11" fmla="*/ 667 h 8267"/>
                <a:gd name="T12" fmla="*/ 3600 w 8267"/>
                <a:gd name="T13" fmla="*/ 1620 h 8267"/>
                <a:gd name="T14" fmla="*/ 2667 w 8267"/>
                <a:gd name="T15" fmla="*/ 2933 h 8267"/>
                <a:gd name="T16" fmla="*/ 1867 w 8267"/>
                <a:gd name="T17" fmla="*/ 1467 h 8267"/>
                <a:gd name="T18" fmla="*/ 1467 w 8267"/>
                <a:gd name="T19" fmla="*/ 0 h 8267"/>
                <a:gd name="T20" fmla="*/ 1067 w 8267"/>
                <a:gd name="T21" fmla="*/ 1467 h 8267"/>
                <a:gd name="T22" fmla="*/ 267 w 8267"/>
                <a:gd name="T23" fmla="*/ 2933 h 8267"/>
                <a:gd name="T24" fmla="*/ 8267 w 8267"/>
                <a:gd name="T25" fmla="*/ 2933 h 8267"/>
                <a:gd name="T26" fmla="*/ 6133 w 8267"/>
                <a:gd name="T27" fmla="*/ 933 h 8267"/>
                <a:gd name="T28" fmla="*/ 6267 w 8267"/>
                <a:gd name="T29" fmla="*/ 2000 h 8267"/>
                <a:gd name="T30" fmla="*/ 7031 w 8267"/>
                <a:gd name="T31" fmla="*/ 4988 h 8267"/>
                <a:gd name="T32" fmla="*/ 7467 w 8267"/>
                <a:gd name="T33" fmla="*/ 5757 h 8267"/>
                <a:gd name="T34" fmla="*/ 6988 w 8267"/>
                <a:gd name="T35" fmla="*/ 6284 h 8267"/>
                <a:gd name="T36" fmla="*/ 6612 w 8267"/>
                <a:gd name="T37" fmla="*/ 6630 h 8267"/>
                <a:gd name="T38" fmla="*/ 5843 w 8267"/>
                <a:gd name="T39" fmla="*/ 7067 h 8267"/>
                <a:gd name="T40" fmla="*/ 5316 w 8267"/>
                <a:gd name="T41" fmla="*/ 6588 h 8267"/>
                <a:gd name="T42" fmla="*/ 4970 w 8267"/>
                <a:gd name="T43" fmla="*/ 6212 h 8267"/>
                <a:gd name="T44" fmla="*/ 4533 w 8267"/>
                <a:gd name="T45" fmla="*/ 5443 h 8267"/>
                <a:gd name="T46" fmla="*/ 5012 w 8267"/>
                <a:gd name="T47" fmla="*/ 4916 h 8267"/>
                <a:gd name="T48" fmla="*/ 5388 w 8267"/>
                <a:gd name="T49" fmla="*/ 4570 h 8267"/>
                <a:gd name="T50" fmla="*/ 6533 w 8267"/>
                <a:gd name="T51" fmla="*/ 5245 h 8267"/>
                <a:gd name="T52" fmla="*/ 6760 w 8267"/>
                <a:gd name="T53" fmla="*/ 6141 h 8267"/>
                <a:gd name="T54" fmla="*/ 6612 w 8267"/>
                <a:gd name="T55" fmla="*/ 4569 h 8267"/>
                <a:gd name="T56" fmla="*/ 6988 w 8267"/>
                <a:gd name="T57" fmla="*/ 4916 h 8267"/>
                <a:gd name="T58" fmla="*/ 6267 w 8267"/>
                <a:gd name="T59" fmla="*/ 5156 h 8267"/>
                <a:gd name="T60" fmla="*/ 6267 w 8267"/>
                <a:gd name="T61" fmla="*/ 4667 h 8267"/>
                <a:gd name="T62" fmla="*/ 6267 w 8267"/>
                <a:gd name="T63" fmla="*/ 4667 h 8267"/>
                <a:gd name="T64" fmla="*/ 4400 w 8267"/>
                <a:gd name="T65" fmla="*/ 933 h 8267"/>
                <a:gd name="T66" fmla="*/ 3067 w 8267"/>
                <a:gd name="T67" fmla="*/ 2206 h 8267"/>
                <a:gd name="T68" fmla="*/ 4000 w 8267"/>
                <a:gd name="T69" fmla="*/ 1600 h 8267"/>
                <a:gd name="T70" fmla="*/ 4933 w 8267"/>
                <a:gd name="T71" fmla="*/ 2206 h 8267"/>
                <a:gd name="T72" fmla="*/ 1067 w 8267"/>
                <a:gd name="T73" fmla="*/ 667 h 8267"/>
                <a:gd name="T74" fmla="*/ 1467 w 8267"/>
                <a:gd name="T75" fmla="*/ 1333 h 8267"/>
                <a:gd name="T76" fmla="*/ 756 w 8267"/>
                <a:gd name="T77" fmla="*/ 1943 h 8267"/>
                <a:gd name="T78" fmla="*/ 1600 w 8267"/>
                <a:gd name="T79" fmla="*/ 1587 h 8267"/>
                <a:gd name="T80" fmla="*/ 2400 w 8267"/>
                <a:gd name="T81" fmla="*/ 2933 h 8267"/>
                <a:gd name="T82" fmla="*/ 267 w 8267"/>
                <a:gd name="T83" fmla="*/ 8000 h 8267"/>
                <a:gd name="T84" fmla="*/ 5326 w 8267"/>
                <a:gd name="T85" fmla="*/ 4299 h 8267"/>
                <a:gd name="T86" fmla="*/ 4603 w 8267"/>
                <a:gd name="T87" fmla="*/ 5157 h 8267"/>
                <a:gd name="T88" fmla="*/ 4699 w 8267"/>
                <a:gd name="T89" fmla="*/ 6274 h 8267"/>
                <a:gd name="T90" fmla="*/ 5557 w 8267"/>
                <a:gd name="T91" fmla="*/ 6997 h 8267"/>
                <a:gd name="T92" fmla="*/ 6674 w 8267"/>
                <a:gd name="T93" fmla="*/ 6901 h 8267"/>
                <a:gd name="T94" fmla="*/ 7397 w 8267"/>
                <a:gd name="T95" fmla="*/ 6043 h 8267"/>
                <a:gd name="T96" fmla="*/ 7301 w 8267"/>
                <a:gd name="T97" fmla="*/ 4926 h 8267"/>
                <a:gd name="T98" fmla="*/ 6533 w 8267"/>
                <a:gd name="T99" fmla="*/ 4236 h 8267"/>
                <a:gd name="T100" fmla="*/ 7200 w 8267"/>
                <a:gd name="T101" fmla="*/ 3867 h 8267"/>
                <a:gd name="T102" fmla="*/ 7067 w 8267"/>
                <a:gd name="T103" fmla="*/ 3467 h 8267"/>
                <a:gd name="T104" fmla="*/ 8000 w 8267"/>
                <a:gd name="T105" fmla="*/ 8000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267" h="8267">
                  <a:moveTo>
                    <a:pt x="7067" y="2933"/>
                  </a:moveTo>
                  <a:lnTo>
                    <a:pt x="7067" y="2533"/>
                  </a:lnTo>
                  <a:cubicBezTo>
                    <a:pt x="7067" y="2239"/>
                    <a:pt x="6827" y="2000"/>
                    <a:pt x="6533" y="2000"/>
                  </a:cubicBezTo>
                  <a:lnTo>
                    <a:pt x="6533" y="1467"/>
                  </a:lnTo>
                  <a:lnTo>
                    <a:pt x="6133" y="1467"/>
                  </a:lnTo>
                  <a:lnTo>
                    <a:pt x="6133" y="1200"/>
                  </a:lnTo>
                  <a:lnTo>
                    <a:pt x="6400" y="1200"/>
                  </a:lnTo>
                  <a:lnTo>
                    <a:pt x="6400" y="400"/>
                  </a:lnTo>
                  <a:lnTo>
                    <a:pt x="5600" y="400"/>
                  </a:lnTo>
                  <a:lnTo>
                    <a:pt x="5600" y="1200"/>
                  </a:lnTo>
                  <a:lnTo>
                    <a:pt x="5867" y="1200"/>
                  </a:lnTo>
                  <a:lnTo>
                    <a:pt x="5867" y="1467"/>
                  </a:lnTo>
                  <a:lnTo>
                    <a:pt x="5467" y="1467"/>
                  </a:lnTo>
                  <a:lnTo>
                    <a:pt x="5467" y="2933"/>
                  </a:lnTo>
                  <a:lnTo>
                    <a:pt x="5200" y="2933"/>
                  </a:lnTo>
                  <a:lnTo>
                    <a:pt x="5200" y="2206"/>
                  </a:lnTo>
                  <a:cubicBezTo>
                    <a:pt x="5200" y="1944"/>
                    <a:pt x="5013" y="1723"/>
                    <a:pt x="4754" y="1679"/>
                  </a:cubicBezTo>
                  <a:lnTo>
                    <a:pt x="4400" y="1620"/>
                  </a:lnTo>
                  <a:lnTo>
                    <a:pt x="4400" y="1467"/>
                  </a:lnTo>
                  <a:lnTo>
                    <a:pt x="4396" y="1467"/>
                  </a:lnTo>
                  <a:cubicBezTo>
                    <a:pt x="4559" y="1345"/>
                    <a:pt x="4667" y="1152"/>
                    <a:pt x="4667" y="933"/>
                  </a:cubicBezTo>
                  <a:lnTo>
                    <a:pt x="4667" y="667"/>
                  </a:lnTo>
                  <a:cubicBezTo>
                    <a:pt x="4667" y="299"/>
                    <a:pt x="4368" y="0"/>
                    <a:pt x="4000" y="0"/>
                  </a:cubicBezTo>
                  <a:cubicBezTo>
                    <a:pt x="3632" y="0"/>
                    <a:pt x="3333" y="299"/>
                    <a:pt x="3333" y="667"/>
                  </a:cubicBezTo>
                  <a:lnTo>
                    <a:pt x="3333" y="933"/>
                  </a:lnTo>
                  <a:cubicBezTo>
                    <a:pt x="3333" y="1152"/>
                    <a:pt x="3441" y="1345"/>
                    <a:pt x="3604" y="1467"/>
                  </a:cubicBezTo>
                  <a:lnTo>
                    <a:pt x="3600" y="1467"/>
                  </a:lnTo>
                  <a:lnTo>
                    <a:pt x="3600" y="1620"/>
                  </a:lnTo>
                  <a:lnTo>
                    <a:pt x="3246" y="1679"/>
                  </a:lnTo>
                  <a:cubicBezTo>
                    <a:pt x="2987" y="1722"/>
                    <a:pt x="2800" y="1944"/>
                    <a:pt x="2800" y="2206"/>
                  </a:cubicBezTo>
                  <a:lnTo>
                    <a:pt x="2800" y="2933"/>
                  </a:lnTo>
                  <a:lnTo>
                    <a:pt x="2667" y="2933"/>
                  </a:lnTo>
                  <a:lnTo>
                    <a:pt x="2667" y="2206"/>
                  </a:lnTo>
                  <a:cubicBezTo>
                    <a:pt x="2667" y="1944"/>
                    <a:pt x="2479" y="1723"/>
                    <a:pt x="2221" y="1679"/>
                  </a:cubicBezTo>
                  <a:lnTo>
                    <a:pt x="1867" y="1620"/>
                  </a:lnTo>
                  <a:lnTo>
                    <a:pt x="1867" y="1467"/>
                  </a:lnTo>
                  <a:lnTo>
                    <a:pt x="1863" y="1467"/>
                  </a:lnTo>
                  <a:cubicBezTo>
                    <a:pt x="2026" y="1345"/>
                    <a:pt x="2133" y="1152"/>
                    <a:pt x="2133" y="933"/>
                  </a:cubicBezTo>
                  <a:lnTo>
                    <a:pt x="2133" y="667"/>
                  </a:lnTo>
                  <a:cubicBezTo>
                    <a:pt x="2133" y="299"/>
                    <a:pt x="1834" y="0"/>
                    <a:pt x="1467" y="0"/>
                  </a:cubicBezTo>
                  <a:cubicBezTo>
                    <a:pt x="1099" y="0"/>
                    <a:pt x="800" y="299"/>
                    <a:pt x="800" y="667"/>
                  </a:cubicBezTo>
                  <a:lnTo>
                    <a:pt x="800" y="933"/>
                  </a:lnTo>
                  <a:cubicBezTo>
                    <a:pt x="800" y="1152"/>
                    <a:pt x="907" y="1345"/>
                    <a:pt x="1071" y="1467"/>
                  </a:cubicBezTo>
                  <a:lnTo>
                    <a:pt x="1067" y="1467"/>
                  </a:lnTo>
                  <a:lnTo>
                    <a:pt x="1067" y="1620"/>
                  </a:lnTo>
                  <a:lnTo>
                    <a:pt x="712" y="1679"/>
                  </a:lnTo>
                  <a:cubicBezTo>
                    <a:pt x="454" y="1722"/>
                    <a:pt x="267" y="1944"/>
                    <a:pt x="267" y="2206"/>
                  </a:cubicBezTo>
                  <a:lnTo>
                    <a:pt x="267" y="2933"/>
                  </a:lnTo>
                  <a:lnTo>
                    <a:pt x="0" y="2933"/>
                  </a:lnTo>
                  <a:lnTo>
                    <a:pt x="0" y="8267"/>
                  </a:lnTo>
                  <a:lnTo>
                    <a:pt x="8267" y="8267"/>
                  </a:lnTo>
                  <a:lnTo>
                    <a:pt x="8267" y="2933"/>
                  </a:lnTo>
                  <a:lnTo>
                    <a:pt x="7067" y="2933"/>
                  </a:lnTo>
                  <a:close/>
                  <a:moveTo>
                    <a:pt x="5867" y="667"/>
                  </a:moveTo>
                  <a:lnTo>
                    <a:pt x="6133" y="667"/>
                  </a:lnTo>
                  <a:lnTo>
                    <a:pt x="6133" y="933"/>
                  </a:lnTo>
                  <a:lnTo>
                    <a:pt x="5867" y="933"/>
                  </a:lnTo>
                  <a:lnTo>
                    <a:pt x="5867" y="667"/>
                  </a:lnTo>
                  <a:close/>
                  <a:moveTo>
                    <a:pt x="6267" y="1733"/>
                  </a:moveTo>
                  <a:lnTo>
                    <a:pt x="6267" y="2000"/>
                  </a:lnTo>
                  <a:lnTo>
                    <a:pt x="5733" y="2000"/>
                  </a:lnTo>
                  <a:lnTo>
                    <a:pt x="5733" y="1733"/>
                  </a:lnTo>
                  <a:lnTo>
                    <a:pt x="6267" y="1733"/>
                  </a:lnTo>
                  <a:close/>
                  <a:moveTo>
                    <a:pt x="7031" y="4988"/>
                  </a:moveTo>
                  <a:cubicBezTo>
                    <a:pt x="7089" y="5086"/>
                    <a:pt x="7133" y="5193"/>
                    <a:pt x="7162" y="5304"/>
                  </a:cubicBezTo>
                  <a:lnTo>
                    <a:pt x="7182" y="5386"/>
                  </a:lnTo>
                  <a:lnTo>
                    <a:pt x="7467" y="5443"/>
                  </a:lnTo>
                  <a:lnTo>
                    <a:pt x="7467" y="5757"/>
                  </a:lnTo>
                  <a:lnTo>
                    <a:pt x="7182" y="5814"/>
                  </a:lnTo>
                  <a:lnTo>
                    <a:pt x="7162" y="5896"/>
                  </a:lnTo>
                  <a:cubicBezTo>
                    <a:pt x="7133" y="6007"/>
                    <a:pt x="7089" y="6114"/>
                    <a:pt x="7031" y="6212"/>
                  </a:cubicBezTo>
                  <a:lnTo>
                    <a:pt x="6988" y="6284"/>
                  </a:lnTo>
                  <a:lnTo>
                    <a:pt x="7148" y="6526"/>
                  </a:lnTo>
                  <a:lnTo>
                    <a:pt x="6926" y="6748"/>
                  </a:lnTo>
                  <a:lnTo>
                    <a:pt x="6684" y="6587"/>
                  </a:lnTo>
                  <a:lnTo>
                    <a:pt x="6612" y="6630"/>
                  </a:lnTo>
                  <a:cubicBezTo>
                    <a:pt x="6514" y="6689"/>
                    <a:pt x="6407" y="6733"/>
                    <a:pt x="6296" y="6762"/>
                  </a:cubicBezTo>
                  <a:lnTo>
                    <a:pt x="6214" y="6782"/>
                  </a:lnTo>
                  <a:lnTo>
                    <a:pt x="6157" y="7067"/>
                  </a:lnTo>
                  <a:lnTo>
                    <a:pt x="5843" y="7067"/>
                  </a:lnTo>
                  <a:lnTo>
                    <a:pt x="5786" y="6782"/>
                  </a:lnTo>
                  <a:lnTo>
                    <a:pt x="5704" y="6762"/>
                  </a:lnTo>
                  <a:cubicBezTo>
                    <a:pt x="5593" y="6733"/>
                    <a:pt x="5486" y="6689"/>
                    <a:pt x="5388" y="6631"/>
                  </a:cubicBezTo>
                  <a:lnTo>
                    <a:pt x="5316" y="6588"/>
                  </a:lnTo>
                  <a:lnTo>
                    <a:pt x="5074" y="6748"/>
                  </a:lnTo>
                  <a:lnTo>
                    <a:pt x="4852" y="6526"/>
                  </a:lnTo>
                  <a:lnTo>
                    <a:pt x="5013" y="6284"/>
                  </a:lnTo>
                  <a:lnTo>
                    <a:pt x="4970" y="6212"/>
                  </a:lnTo>
                  <a:cubicBezTo>
                    <a:pt x="4911" y="6114"/>
                    <a:pt x="4867" y="6007"/>
                    <a:pt x="4838" y="5896"/>
                  </a:cubicBezTo>
                  <a:lnTo>
                    <a:pt x="4818" y="5814"/>
                  </a:lnTo>
                  <a:lnTo>
                    <a:pt x="4533" y="5757"/>
                  </a:lnTo>
                  <a:lnTo>
                    <a:pt x="4533" y="5443"/>
                  </a:lnTo>
                  <a:lnTo>
                    <a:pt x="4818" y="5386"/>
                  </a:lnTo>
                  <a:lnTo>
                    <a:pt x="4838" y="5304"/>
                  </a:lnTo>
                  <a:cubicBezTo>
                    <a:pt x="4867" y="5193"/>
                    <a:pt x="4911" y="5086"/>
                    <a:pt x="4969" y="4988"/>
                  </a:cubicBezTo>
                  <a:lnTo>
                    <a:pt x="5012" y="4916"/>
                  </a:lnTo>
                  <a:lnTo>
                    <a:pt x="4852" y="4674"/>
                  </a:lnTo>
                  <a:lnTo>
                    <a:pt x="5074" y="4452"/>
                  </a:lnTo>
                  <a:lnTo>
                    <a:pt x="5316" y="4613"/>
                  </a:lnTo>
                  <a:lnTo>
                    <a:pt x="5388" y="4570"/>
                  </a:lnTo>
                  <a:cubicBezTo>
                    <a:pt x="5413" y="4555"/>
                    <a:pt x="5440" y="4543"/>
                    <a:pt x="5467" y="4530"/>
                  </a:cubicBezTo>
                  <a:lnTo>
                    <a:pt x="5467" y="5245"/>
                  </a:lnTo>
                  <a:lnTo>
                    <a:pt x="6000" y="5956"/>
                  </a:lnTo>
                  <a:lnTo>
                    <a:pt x="6533" y="5245"/>
                  </a:lnTo>
                  <a:lnTo>
                    <a:pt x="6533" y="5201"/>
                  </a:lnTo>
                  <a:cubicBezTo>
                    <a:pt x="6618" y="5315"/>
                    <a:pt x="6667" y="5454"/>
                    <a:pt x="6667" y="5600"/>
                  </a:cubicBezTo>
                  <a:cubicBezTo>
                    <a:pt x="6667" y="5739"/>
                    <a:pt x="6624" y="5872"/>
                    <a:pt x="6543" y="5986"/>
                  </a:cubicBezTo>
                  <a:lnTo>
                    <a:pt x="6760" y="6141"/>
                  </a:lnTo>
                  <a:cubicBezTo>
                    <a:pt x="6873" y="5981"/>
                    <a:pt x="6933" y="5794"/>
                    <a:pt x="6933" y="5600"/>
                  </a:cubicBezTo>
                  <a:cubicBezTo>
                    <a:pt x="6933" y="5295"/>
                    <a:pt x="6781" y="5010"/>
                    <a:pt x="6533" y="4836"/>
                  </a:cubicBezTo>
                  <a:lnTo>
                    <a:pt x="6533" y="4530"/>
                  </a:lnTo>
                  <a:cubicBezTo>
                    <a:pt x="6560" y="4543"/>
                    <a:pt x="6587" y="4554"/>
                    <a:pt x="6612" y="4569"/>
                  </a:cubicBezTo>
                  <a:lnTo>
                    <a:pt x="6684" y="4612"/>
                  </a:lnTo>
                  <a:lnTo>
                    <a:pt x="6926" y="4452"/>
                  </a:lnTo>
                  <a:lnTo>
                    <a:pt x="7148" y="4674"/>
                  </a:lnTo>
                  <a:lnTo>
                    <a:pt x="6988" y="4916"/>
                  </a:lnTo>
                  <a:lnTo>
                    <a:pt x="7031" y="4988"/>
                  </a:lnTo>
                  <a:close/>
                  <a:moveTo>
                    <a:pt x="5733" y="4933"/>
                  </a:moveTo>
                  <a:lnTo>
                    <a:pt x="6267" y="4933"/>
                  </a:lnTo>
                  <a:lnTo>
                    <a:pt x="6267" y="5156"/>
                  </a:lnTo>
                  <a:lnTo>
                    <a:pt x="6000" y="5511"/>
                  </a:lnTo>
                  <a:lnTo>
                    <a:pt x="5733" y="5156"/>
                  </a:lnTo>
                  <a:lnTo>
                    <a:pt x="5733" y="4933"/>
                  </a:lnTo>
                  <a:close/>
                  <a:moveTo>
                    <a:pt x="6267" y="4667"/>
                  </a:moveTo>
                  <a:lnTo>
                    <a:pt x="5733" y="4667"/>
                  </a:lnTo>
                  <a:lnTo>
                    <a:pt x="5733" y="2267"/>
                  </a:lnTo>
                  <a:lnTo>
                    <a:pt x="6267" y="2267"/>
                  </a:lnTo>
                  <a:lnTo>
                    <a:pt x="6267" y="4667"/>
                  </a:lnTo>
                  <a:close/>
                  <a:moveTo>
                    <a:pt x="3600" y="667"/>
                  </a:moveTo>
                  <a:cubicBezTo>
                    <a:pt x="3600" y="446"/>
                    <a:pt x="3779" y="267"/>
                    <a:pt x="4000" y="267"/>
                  </a:cubicBezTo>
                  <a:cubicBezTo>
                    <a:pt x="4221" y="267"/>
                    <a:pt x="4400" y="446"/>
                    <a:pt x="4400" y="667"/>
                  </a:cubicBezTo>
                  <a:lnTo>
                    <a:pt x="4400" y="933"/>
                  </a:lnTo>
                  <a:cubicBezTo>
                    <a:pt x="4400" y="1154"/>
                    <a:pt x="4221" y="1333"/>
                    <a:pt x="4000" y="1333"/>
                  </a:cubicBezTo>
                  <a:cubicBezTo>
                    <a:pt x="3779" y="1333"/>
                    <a:pt x="3600" y="1154"/>
                    <a:pt x="3600" y="933"/>
                  </a:cubicBezTo>
                  <a:lnTo>
                    <a:pt x="3600" y="667"/>
                  </a:lnTo>
                  <a:close/>
                  <a:moveTo>
                    <a:pt x="3067" y="2206"/>
                  </a:moveTo>
                  <a:cubicBezTo>
                    <a:pt x="3067" y="2075"/>
                    <a:pt x="3160" y="1964"/>
                    <a:pt x="3289" y="1943"/>
                  </a:cubicBezTo>
                  <a:lnTo>
                    <a:pt x="3867" y="1846"/>
                  </a:lnTo>
                  <a:lnTo>
                    <a:pt x="3867" y="1587"/>
                  </a:lnTo>
                  <a:cubicBezTo>
                    <a:pt x="3910" y="1595"/>
                    <a:pt x="3954" y="1600"/>
                    <a:pt x="4000" y="1600"/>
                  </a:cubicBezTo>
                  <a:cubicBezTo>
                    <a:pt x="4046" y="1600"/>
                    <a:pt x="4090" y="1595"/>
                    <a:pt x="4133" y="1587"/>
                  </a:cubicBezTo>
                  <a:lnTo>
                    <a:pt x="4133" y="1846"/>
                  </a:lnTo>
                  <a:lnTo>
                    <a:pt x="4711" y="1942"/>
                  </a:lnTo>
                  <a:cubicBezTo>
                    <a:pt x="4840" y="1964"/>
                    <a:pt x="4933" y="2075"/>
                    <a:pt x="4933" y="2206"/>
                  </a:cubicBezTo>
                  <a:lnTo>
                    <a:pt x="4933" y="2933"/>
                  </a:lnTo>
                  <a:lnTo>
                    <a:pt x="3067" y="2933"/>
                  </a:lnTo>
                  <a:lnTo>
                    <a:pt x="3067" y="2206"/>
                  </a:lnTo>
                  <a:close/>
                  <a:moveTo>
                    <a:pt x="1067" y="667"/>
                  </a:moveTo>
                  <a:cubicBezTo>
                    <a:pt x="1067" y="446"/>
                    <a:pt x="1246" y="267"/>
                    <a:pt x="1467" y="267"/>
                  </a:cubicBezTo>
                  <a:cubicBezTo>
                    <a:pt x="1687" y="267"/>
                    <a:pt x="1867" y="446"/>
                    <a:pt x="1867" y="667"/>
                  </a:cubicBezTo>
                  <a:lnTo>
                    <a:pt x="1867" y="933"/>
                  </a:lnTo>
                  <a:cubicBezTo>
                    <a:pt x="1867" y="1154"/>
                    <a:pt x="1687" y="1333"/>
                    <a:pt x="1467" y="1333"/>
                  </a:cubicBezTo>
                  <a:cubicBezTo>
                    <a:pt x="1246" y="1333"/>
                    <a:pt x="1067" y="1154"/>
                    <a:pt x="1067" y="933"/>
                  </a:cubicBezTo>
                  <a:lnTo>
                    <a:pt x="1067" y="667"/>
                  </a:lnTo>
                  <a:close/>
                  <a:moveTo>
                    <a:pt x="533" y="2206"/>
                  </a:moveTo>
                  <a:cubicBezTo>
                    <a:pt x="533" y="2075"/>
                    <a:pt x="627" y="1964"/>
                    <a:pt x="756" y="1943"/>
                  </a:cubicBezTo>
                  <a:lnTo>
                    <a:pt x="1333" y="1846"/>
                  </a:lnTo>
                  <a:lnTo>
                    <a:pt x="1333" y="1587"/>
                  </a:lnTo>
                  <a:cubicBezTo>
                    <a:pt x="1376" y="1595"/>
                    <a:pt x="1421" y="1600"/>
                    <a:pt x="1467" y="1600"/>
                  </a:cubicBezTo>
                  <a:cubicBezTo>
                    <a:pt x="1512" y="1600"/>
                    <a:pt x="1557" y="1595"/>
                    <a:pt x="1600" y="1587"/>
                  </a:cubicBezTo>
                  <a:lnTo>
                    <a:pt x="1600" y="1846"/>
                  </a:lnTo>
                  <a:lnTo>
                    <a:pt x="2177" y="1942"/>
                  </a:lnTo>
                  <a:cubicBezTo>
                    <a:pt x="2306" y="1964"/>
                    <a:pt x="2400" y="2075"/>
                    <a:pt x="2400" y="2206"/>
                  </a:cubicBezTo>
                  <a:lnTo>
                    <a:pt x="2400" y="2933"/>
                  </a:lnTo>
                  <a:lnTo>
                    <a:pt x="533" y="2933"/>
                  </a:lnTo>
                  <a:lnTo>
                    <a:pt x="533" y="2206"/>
                  </a:lnTo>
                  <a:close/>
                  <a:moveTo>
                    <a:pt x="8000" y="8000"/>
                  </a:moveTo>
                  <a:lnTo>
                    <a:pt x="267" y="8000"/>
                  </a:lnTo>
                  <a:lnTo>
                    <a:pt x="267" y="3200"/>
                  </a:lnTo>
                  <a:lnTo>
                    <a:pt x="5467" y="3200"/>
                  </a:lnTo>
                  <a:lnTo>
                    <a:pt x="5467" y="4236"/>
                  </a:lnTo>
                  <a:cubicBezTo>
                    <a:pt x="5419" y="4255"/>
                    <a:pt x="5371" y="4275"/>
                    <a:pt x="5326" y="4299"/>
                  </a:cubicBezTo>
                  <a:lnTo>
                    <a:pt x="5040" y="4109"/>
                  </a:lnTo>
                  <a:lnTo>
                    <a:pt x="4508" y="4640"/>
                  </a:lnTo>
                  <a:lnTo>
                    <a:pt x="4699" y="4926"/>
                  </a:lnTo>
                  <a:cubicBezTo>
                    <a:pt x="4661" y="5000"/>
                    <a:pt x="4629" y="5077"/>
                    <a:pt x="4603" y="5157"/>
                  </a:cubicBezTo>
                  <a:lnTo>
                    <a:pt x="4267" y="5224"/>
                  </a:lnTo>
                  <a:lnTo>
                    <a:pt x="4267" y="5976"/>
                  </a:lnTo>
                  <a:lnTo>
                    <a:pt x="4603" y="6043"/>
                  </a:lnTo>
                  <a:cubicBezTo>
                    <a:pt x="4628" y="6123"/>
                    <a:pt x="4661" y="6200"/>
                    <a:pt x="4699" y="6274"/>
                  </a:cubicBezTo>
                  <a:lnTo>
                    <a:pt x="4508" y="6560"/>
                  </a:lnTo>
                  <a:lnTo>
                    <a:pt x="5040" y="7092"/>
                  </a:lnTo>
                  <a:lnTo>
                    <a:pt x="5326" y="6901"/>
                  </a:lnTo>
                  <a:cubicBezTo>
                    <a:pt x="5400" y="6939"/>
                    <a:pt x="5477" y="6971"/>
                    <a:pt x="5557" y="6997"/>
                  </a:cubicBezTo>
                  <a:lnTo>
                    <a:pt x="5624" y="7333"/>
                  </a:lnTo>
                  <a:lnTo>
                    <a:pt x="6376" y="7333"/>
                  </a:lnTo>
                  <a:lnTo>
                    <a:pt x="6443" y="6997"/>
                  </a:lnTo>
                  <a:cubicBezTo>
                    <a:pt x="6523" y="6972"/>
                    <a:pt x="6600" y="6939"/>
                    <a:pt x="6674" y="6901"/>
                  </a:cubicBezTo>
                  <a:lnTo>
                    <a:pt x="6960" y="7092"/>
                  </a:lnTo>
                  <a:lnTo>
                    <a:pt x="7492" y="6560"/>
                  </a:lnTo>
                  <a:lnTo>
                    <a:pt x="7301" y="6274"/>
                  </a:lnTo>
                  <a:cubicBezTo>
                    <a:pt x="7339" y="6200"/>
                    <a:pt x="7371" y="6123"/>
                    <a:pt x="7397" y="6043"/>
                  </a:cubicBezTo>
                  <a:lnTo>
                    <a:pt x="7733" y="5976"/>
                  </a:lnTo>
                  <a:lnTo>
                    <a:pt x="7733" y="5224"/>
                  </a:lnTo>
                  <a:lnTo>
                    <a:pt x="7397" y="5157"/>
                  </a:lnTo>
                  <a:cubicBezTo>
                    <a:pt x="7372" y="5077"/>
                    <a:pt x="7339" y="5000"/>
                    <a:pt x="7301" y="4926"/>
                  </a:cubicBezTo>
                  <a:lnTo>
                    <a:pt x="7492" y="4640"/>
                  </a:lnTo>
                  <a:lnTo>
                    <a:pt x="6960" y="4108"/>
                  </a:lnTo>
                  <a:lnTo>
                    <a:pt x="6674" y="4299"/>
                  </a:lnTo>
                  <a:cubicBezTo>
                    <a:pt x="6629" y="4275"/>
                    <a:pt x="6581" y="4254"/>
                    <a:pt x="6533" y="4236"/>
                  </a:cubicBezTo>
                  <a:lnTo>
                    <a:pt x="6533" y="2267"/>
                  </a:lnTo>
                  <a:cubicBezTo>
                    <a:pt x="6680" y="2267"/>
                    <a:pt x="6800" y="2386"/>
                    <a:pt x="6800" y="2533"/>
                  </a:cubicBezTo>
                  <a:lnTo>
                    <a:pt x="6800" y="3467"/>
                  </a:lnTo>
                  <a:cubicBezTo>
                    <a:pt x="6800" y="3687"/>
                    <a:pt x="6979" y="3867"/>
                    <a:pt x="7200" y="3867"/>
                  </a:cubicBezTo>
                  <a:lnTo>
                    <a:pt x="7467" y="3867"/>
                  </a:lnTo>
                  <a:lnTo>
                    <a:pt x="7467" y="3600"/>
                  </a:lnTo>
                  <a:lnTo>
                    <a:pt x="7200" y="3600"/>
                  </a:lnTo>
                  <a:cubicBezTo>
                    <a:pt x="7126" y="3600"/>
                    <a:pt x="7067" y="3540"/>
                    <a:pt x="7067" y="3467"/>
                  </a:cubicBezTo>
                  <a:lnTo>
                    <a:pt x="7067" y="3200"/>
                  </a:lnTo>
                  <a:lnTo>
                    <a:pt x="8000" y="3200"/>
                  </a:lnTo>
                  <a:lnTo>
                    <a:pt x="8000" y="8000"/>
                  </a:lnTo>
                  <a:close/>
                  <a:moveTo>
                    <a:pt x="8000" y="80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182">
              <a:extLst>
                <a:ext uri="{FF2B5EF4-FFF2-40B4-BE49-F238E27FC236}">
                  <a16:creationId xmlns:a16="http://schemas.microsoft.com/office/drawing/2014/main" id="{0B69BBD1-EFA1-4FB2-BBD6-620C080714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8" y="1297"/>
              <a:ext cx="6" cy="6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183">
              <a:extLst>
                <a:ext uri="{FF2B5EF4-FFF2-40B4-BE49-F238E27FC236}">
                  <a16:creationId xmlns:a16="http://schemas.microsoft.com/office/drawing/2014/main" id="{3DD101D8-BB67-48B5-9966-10347D410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7" y="1297"/>
              <a:ext cx="6" cy="6"/>
            </a:xfrm>
            <a:custGeom>
              <a:avLst/>
              <a:gdLst>
                <a:gd name="T0" fmla="*/ 0 w 266"/>
                <a:gd name="T1" fmla="*/ 0 h 267"/>
                <a:gd name="T2" fmla="*/ 266 w 266"/>
                <a:gd name="T3" fmla="*/ 0 h 267"/>
                <a:gd name="T4" fmla="*/ 266 w 266"/>
                <a:gd name="T5" fmla="*/ 267 h 267"/>
                <a:gd name="T6" fmla="*/ 0 w 266"/>
                <a:gd name="T7" fmla="*/ 267 h 267"/>
                <a:gd name="T8" fmla="*/ 0 w 266"/>
                <a:gd name="T9" fmla="*/ 0 h 267"/>
                <a:gd name="T10" fmla="*/ 0 w 2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7">
                  <a:moveTo>
                    <a:pt x="0" y="0"/>
                  </a:moveTo>
                  <a:lnTo>
                    <a:pt x="266" y="0"/>
                  </a:lnTo>
                  <a:lnTo>
                    <a:pt x="2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184">
              <a:extLst>
                <a:ext uri="{FF2B5EF4-FFF2-40B4-BE49-F238E27FC236}">
                  <a16:creationId xmlns:a16="http://schemas.microsoft.com/office/drawing/2014/main" id="{8F653C51-4D35-4456-8D23-CC9077AFB1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56" y="1297"/>
              <a:ext cx="6" cy="6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185">
              <a:extLst>
                <a:ext uri="{FF2B5EF4-FFF2-40B4-BE49-F238E27FC236}">
                  <a16:creationId xmlns:a16="http://schemas.microsoft.com/office/drawing/2014/main" id="{9E770BC9-B425-49BD-A3C1-9527F8B284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6" y="1309"/>
              <a:ext cx="78" cy="28"/>
            </a:xfrm>
            <a:custGeom>
              <a:avLst/>
              <a:gdLst>
                <a:gd name="T0" fmla="*/ 2675 w 3734"/>
                <a:gd name="T1" fmla="*/ 1349 h 1349"/>
                <a:gd name="T2" fmla="*/ 3016 w 3734"/>
                <a:gd name="T3" fmla="*/ 667 h 1349"/>
                <a:gd name="T4" fmla="*/ 3734 w 3734"/>
                <a:gd name="T5" fmla="*/ 667 h 1349"/>
                <a:gd name="T6" fmla="*/ 3734 w 3734"/>
                <a:gd name="T7" fmla="*/ 400 h 1349"/>
                <a:gd name="T8" fmla="*/ 2851 w 3734"/>
                <a:gd name="T9" fmla="*/ 400 h 1349"/>
                <a:gd name="T10" fmla="*/ 2659 w 3734"/>
                <a:gd name="T11" fmla="*/ 785 h 1349"/>
                <a:gd name="T12" fmla="*/ 2211 w 3734"/>
                <a:gd name="T13" fmla="*/ 0 h 1349"/>
                <a:gd name="T14" fmla="*/ 0 w 3734"/>
                <a:gd name="T15" fmla="*/ 0 h 1349"/>
                <a:gd name="T16" fmla="*/ 0 w 3734"/>
                <a:gd name="T17" fmla="*/ 267 h 1349"/>
                <a:gd name="T18" fmla="*/ 2056 w 3734"/>
                <a:gd name="T19" fmla="*/ 267 h 1349"/>
                <a:gd name="T20" fmla="*/ 2675 w 3734"/>
                <a:gd name="T21" fmla="*/ 1349 h 1349"/>
                <a:gd name="T22" fmla="*/ 2675 w 3734"/>
                <a:gd name="T23" fmla="*/ 1349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34" h="1349">
                  <a:moveTo>
                    <a:pt x="2675" y="1349"/>
                  </a:moveTo>
                  <a:lnTo>
                    <a:pt x="3016" y="667"/>
                  </a:lnTo>
                  <a:lnTo>
                    <a:pt x="3734" y="667"/>
                  </a:lnTo>
                  <a:lnTo>
                    <a:pt x="3734" y="400"/>
                  </a:lnTo>
                  <a:lnTo>
                    <a:pt x="2851" y="400"/>
                  </a:lnTo>
                  <a:lnTo>
                    <a:pt x="2659" y="785"/>
                  </a:lnTo>
                  <a:lnTo>
                    <a:pt x="2211" y="0"/>
                  </a:lnTo>
                  <a:lnTo>
                    <a:pt x="0" y="0"/>
                  </a:lnTo>
                  <a:lnTo>
                    <a:pt x="0" y="267"/>
                  </a:lnTo>
                  <a:lnTo>
                    <a:pt x="2056" y="267"/>
                  </a:lnTo>
                  <a:lnTo>
                    <a:pt x="2675" y="1349"/>
                  </a:lnTo>
                  <a:close/>
                  <a:moveTo>
                    <a:pt x="2675" y="134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186">
              <a:extLst>
                <a:ext uri="{FF2B5EF4-FFF2-40B4-BE49-F238E27FC236}">
                  <a16:creationId xmlns:a16="http://schemas.microsoft.com/office/drawing/2014/main" id="{50D4EFE4-9BB7-424F-9152-8591682725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6" y="1320"/>
              <a:ext cx="42" cy="5"/>
            </a:xfrm>
            <a:custGeom>
              <a:avLst/>
              <a:gdLst>
                <a:gd name="T0" fmla="*/ 0 w 2000"/>
                <a:gd name="T1" fmla="*/ 0 h 266"/>
                <a:gd name="T2" fmla="*/ 2000 w 2000"/>
                <a:gd name="T3" fmla="*/ 0 h 266"/>
                <a:gd name="T4" fmla="*/ 2000 w 2000"/>
                <a:gd name="T5" fmla="*/ 266 h 266"/>
                <a:gd name="T6" fmla="*/ 0 w 2000"/>
                <a:gd name="T7" fmla="*/ 266 h 266"/>
                <a:gd name="T8" fmla="*/ 0 w 2000"/>
                <a:gd name="T9" fmla="*/ 0 h 266"/>
                <a:gd name="T10" fmla="*/ 0 w 2000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00" h="266">
                  <a:moveTo>
                    <a:pt x="0" y="0"/>
                  </a:moveTo>
                  <a:lnTo>
                    <a:pt x="2000" y="0"/>
                  </a:lnTo>
                  <a:lnTo>
                    <a:pt x="2000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187">
              <a:extLst>
                <a:ext uri="{FF2B5EF4-FFF2-40B4-BE49-F238E27FC236}">
                  <a16:creationId xmlns:a16="http://schemas.microsoft.com/office/drawing/2014/main" id="{82D30352-7505-48D6-B335-D835610947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6" y="1331"/>
              <a:ext cx="42" cy="5"/>
            </a:xfrm>
            <a:custGeom>
              <a:avLst/>
              <a:gdLst>
                <a:gd name="T0" fmla="*/ 0 w 2000"/>
                <a:gd name="T1" fmla="*/ 0 h 267"/>
                <a:gd name="T2" fmla="*/ 2000 w 2000"/>
                <a:gd name="T3" fmla="*/ 0 h 267"/>
                <a:gd name="T4" fmla="*/ 2000 w 2000"/>
                <a:gd name="T5" fmla="*/ 267 h 267"/>
                <a:gd name="T6" fmla="*/ 0 w 2000"/>
                <a:gd name="T7" fmla="*/ 267 h 267"/>
                <a:gd name="T8" fmla="*/ 0 w 2000"/>
                <a:gd name="T9" fmla="*/ 0 h 267"/>
                <a:gd name="T10" fmla="*/ 0 w 20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00" h="267">
                  <a:moveTo>
                    <a:pt x="0" y="0"/>
                  </a:moveTo>
                  <a:lnTo>
                    <a:pt x="2000" y="0"/>
                  </a:lnTo>
                  <a:lnTo>
                    <a:pt x="20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188">
              <a:extLst>
                <a:ext uri="{FF2B5EF4-FFF2-40B4-BE49-F238E27FC236}">
                  <a16:creationId xmlns:a16="http://schemas.microsoft.com/office/drawing/2014/main" id="{CFFE8B97-CB53-46E6-953E-75A1F33A7B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4" y="1342"/>
              <a:ext cx="61" cy="42"/>
            </a:xfrm>
            <a:custGeom>
              <a:avLst/>
              <a:gdLst>
                <a:gd name="T0" fmla="*/ 2667 w 2934"/>
                <a:gd name="T1" fmla="*/ 1067 h 2000"/>
                <a:gd name="T2" fmla="*/ 2400 w 2934"/>
                <a:gd name="T3" fmla="*/ 1067 h 2000"/>
                <a:gd name="T4" fmla="*/ 2400 w 2934"/>
                <a:gd name="T5" fmla="*/ 1734 h 2000"/>
                <a:gd name="T6" fmla="*/ 2134 w 2934"/>
                <a:gd name="T7" fmla="*/ 1734 h 2000"/>
                <a:gd name="T8" fmla="*/ 2134 w 2934"/>
                <a:gd name="T9" fmla="*/ 667 h 2000"/>
                <a:gd name="T10" fmla="*/ 1867 w 2934"/>
                <a:gd name="T11" fmla="*/ 667 h 2000"/>
                <a:gd name="T12" fmla="*/ 1867 w 2934"/>
                <a:gd name="T13" fmla="*/ 1734 h 2000"/>
                <a:gd name="T14" fmla="*/ 1600 w 2934"/>
                <a:gd name="T15" fmla="*/ 1734 h 2000"/>
                <a:gd name="T16" fmla="*/ 1600 w 2934"/>
                <a:gd name="T17" fmla="*/ 0 h 2000"/>
                <a:gd name="T18" fmla="*/ 1334 w 2934"/>
                <a:gd name="T19" fmla="*/ 0 h 2000"/>
                <a:gd name="T20" fmla="*/ 1334 w 2934"/>
                <a:gd name="T21" fmla="*/ 1734 h 2000"/>
                <a:gd name="T22" fmla="*/ 1067 w 2934"/>
                <a:gd name="T23" fmla="*/ 1734 h 2000"/>
                <a:gd name="T24" fmla="*/ 1067 w 2934"/>
                <a:gd name="T25" fmla="*/ 667 h 2000"/>
                <a:gd name="T26" fmla="*/ 800 w 2934"/>
                <a:gd name="T27" fmla="*/ 667 h 2000"/>
                <a:gd name="T28" fmla="*/ 800 w 2934"/>
                <a:gd name="T29" fmla="*/ 1734 h 2000"/>
                <a:gd name="T30" fmla="*/ 534 w 2934"/>
                <a:gd name="T31" fmla="*/ 1734 h 2000"/>
                <a:gd name="T32" fmla="*/ 534 w 2934"/>
                <a:gd name="T33" fmla="*/ 1067 h 2000"/>
                <a:gd name="T34" fmla="*/ 267 w 2934"/>
                <a:gd name="T35" fmla="*/ 1067 h 2000"/>
                <a:gd name="T36" fmla="*/ 267 w 2934"/>
                <a:gd name="T37" fmla="*/ 1734 h 2000"/>
                <a:gd name="T38" fmla="*/ 0 w 2934"/>
                <a:gd name="T39" fmla="*/ 1734 h 2000"/>
                <a:gd name="T40" fmla="*/ 0 w 2934"/>
                <a:gd name="T41" fmla="*/ 2000 h 2000"/>
                <a:gd name="T42" fmla="*/ 2934 w 2934"/>
                <a:gd name="T43" fmla="*/ 2000 h 2000"/>
                <a:gd name="T44" fmla="*/ 2934 w 2934"/>
                <a:gd name="T45" fmla="*/ 1734 h 2000"/>
                <a:gd name="T46" fmla="*/ 2667 w 2934"/>
                <a:gd name="T47" fmla="*/ 1734 h 2000"/>
                <a:gd name="T48" fmla="*/ 2667 w 2934"/>
                <a:gd name="T49" fmla="*/ 1067 h 2000"/>
                <a:gd name="T50" fmla="*/ 2667 w 2934"/>
                <a:gd name="T51" fmla="*/ 1067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34" h="2000">
                  <a:moveTo>
                    <a:pt x="2667" y="1067"/>
                  </a:moveTo>
                  <a:lnTo>
                    <a:pt x="2400" y="1067"/>
                  </a:lnTo>
                  <a:lnTo>
                    <a:pt x="2400" y="1734"/>
                  </a:lnTo>
                  <a:lnTo>
                    <a:pt x="2134" y="1734"/>
                  </a:lnTo>
                  <a:lnTo>
                    <a:pt x="2134" y="667"/>
                  </a:lnTo>
                  <a:lnTo>
                    <a:pt x="1867" y="667"/>
                  </a:lnTo>
                  <a:lnTo>
                    <a:pt x="1867" y="1734"/>
                  </a:lnTo>
                  <a:lnTo>
                    <a:pt x="1600" y="1734"/>
                  </a:lnTo>
                  <a:lnTo>
                    <a:pt x="1600" y="0"/>
                  </a:lnTo>
                  <a:lnTo>
                    <a:pt x="1334" y="0"/>
                  </a:lnTo>
                  <a:lnTo>
                    <a:pt x="1334" y="1734"/>
                  </a:lnTo>
                  <a:lnTo>
                    <a:pt x="1067" y="1734"/>
                  </a:lnTo>
                  <a:lnTo>
                    <a:pt x="1067" y="667"/>
                  </a:lnTo>
                  <a:lnTo>
                    <a:pt x="800" y="667"/>
                  </a:lnTo>
                  <a:lnTo>
                    <a:pt x="800" y="1734"/>
                  </a:lnTo>
                  <a:lnTo>
                    <a:pt x="534" y="1734"/>
                  </a:lnTo>
                  <a:lnTo>
                    <a:pt x="534" y="1067"/>
                  </a:lnTo>
                  <a:lnTo>
                    <a:pt x="267" y="1067"/>
                  </a:lnTo>
                  <a:lnTo>
                    <a:pt x="267" y="1734"/>
                  </a:lnTo>
                  <a:lnTo>
                    <a:pt x="0" y="1734"/>
                  </a:lnTo>
                  <a:lnTo>
                    <a:pt x="0" y="2000"/>
                  </a:lnTo>
                  <a:lnTo>
                    <a:pt x="2934" y="2000"/>
                  </a:lnTo>
                  <a:lnTo>
                    <a:pt x="2934" y="1734"/>
                  </a:lnTo>
                  <a:lnTo>
                    <a:pt x="2667" y="1734"/>
                  </a:lnTo>
                  <a:lnTo>
                    <a:pt x="2667" y="1067"/>
                  </a:lnTo>
                  <a:close/>
                  <a:moveTo>
                    <a:pt x="2667" y="106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189">
              <a:extLst>
                <a:ext uri="{FF2B5EF4-FFF2-40B4-BE49-F238E27FC236}">
                  <a16:creationId xmlns:a16="http://schemas.microsoft.com/office/drawing/2014/main" id="{B9235B0C-EEB1-415B-B0F2-6262E60E6F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0" y="1378"/>
              <a:ext cx="6" cy="6"/>
            </a:xfrm>
            <a:custGeom>
              <a:avLst/>
              <a:gdLst>
                <a:gd name="T0" fmla="*/ 0 w 266"/>
                <a:gd name="T1" fmla="*/ 0 h 266"/>
                <a:gd name="T2" fmla="*/ 266 w 266"/>
                <a:gd name="T3" fmla="*/ 0 h 266"/>
                <a:gd name="T4" fmla="*/ 266 w 266"/>
                <a:gd name="T5" fmla="*/ 266 h 266"/>
                <a:gd name="T6" fmla="*/ 0 w 266"/>
                <a:gd name="T7" fmla="*/ 266 h 266"/>
                <a:gd name="T8" fmla="*/ 0 w 266"/>
                <a:gd name="T9" fmla="*/ 0 h 266"/>
                <a:gd name="T10" fmla="*/ 0 w 2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266" y="0"/>
                  </a:lnTo>
                  <a:lnTo>
                    <a:pt x="2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190">
              <a:extLst>
                <a:ext uri="{FF2B5EF4-FFF2-40B4-BE49-F238E27FC236}">
                  <a16:creationId xmlns:a16="http://schemas.microsoft.com/office/drawing/2014/main" id="{E1391715-3C46-4F76-ABB7-A3421E328F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9" y="1378"/>
              <a:ext cx="6" cy="6"/>
            </a:xfrm>
            <a:custGeom>
              <a:avLst/>
              <a:gdLst>
                <a:gd name="T0" fmla="*/ 0 w 267"/>
                <a:gd name="T1" fmla="*/ 0 h 266"/>
                <a:gd name="T2" fmla="*/ 267 w 267"/>
                <a:gd name="T3" fmla="*/ 0 h 266"/>
                <a:gd name="T4" fmla="*/ 267 w 267"/>
                <a:gd name="T5" fmla="*/ 266 h 266"/>
                <a:gd name="T6" fmla="*/ 0 w 267"/>
                <a:gd name="T7" fmla="*/ 266 h 266"/>
                <a:gd name="T8" fmla="*/ 0 w 267"/>
                <a:gd name="T9" fmla="*/ 0 h 266"/>
                <a:gd name="T10" fmla="*/ 0 w 2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6">
                  <a:moveTo>
                    <a:pt x="0" y="0"/>
                  </a:moveTo>
                  <a:lnTo>
                    <a:pt x="267" y="0"/>
                  </a:lnTo>
                  <a:lnTo>
                    <a:pt x="2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191">
              <a:extLst>
                <a:ext uri="{FF2B5EF4-FFF2-40B4-BE49-F238E27FC236}">
                  <a16:creationId xmlns:a16="http://schemas.microsoft.com/office/drawing/2014/main" id="{FD043784-77FC-4744-A022-25CBC542C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8" y="1378"/>
              <a:ext cx="6" cy="6"/>
            </a:xfrm>
            <a:custGeom>
              <a:avLst/>
              <a:gdLst>
                <a:gd name="T0" fmla="*/ 0 w 267"/>
                <a:gd name="T1" fmla="*/ 0 h 266"/>
                <a:gd name="T2" fmla="*/ 267 w 267"/>
                <a:gd name="T3" fmla="*/ 0 h 266"/>
                <a:gd name="T4" fmla="*/ 267 w 267"/>
                <a:gd name="T5" fmla="*/ 266 h 266"/>
                <a:gd name="T6" fmla="*/ 0 w 267"/>
                <a:gd name="T7" fmla="*/ 266 h 266"/>
                <a:gd name="T8" fmla="*/ 0 w 267"/>
                <a:gd name="T9" fmla="*/ 0 h 266"/>
                <a:gd name="T10" fmla="*/ 0 w 2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6">
                  <a:moveTo>
                    <a:pt x="0" y="0"/>
                  </a:moveTo>
                  <a:lnTo>
                    <a:pt x="267" y="0"/>
                  </a:lnTo>
                  <a:lnTo>
                    <a:pt x="2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9" name="Group 426">
            <a:extLst>
              <a:ext uri="{FF2B5EF4-FFF2-40B4-BE49-F238E27FC236}">
                <a16:creationId xmlns:a16="http://schemas.microsoft.com/office/drawing/2014/main" id="{F27AC012-71E6-4118-B29F-0F8273C2695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75364" y="1377164"/>
            <a:ext cx="700141" cy="700144"/>
            <a:chOff x="7493" y="3744"/>
            <a:chExt cx="173" cy="173"/>
          </a:xfrm>
          <a:solidFill>
            <a:srgbClr val="B1C7F7">
              <a:alpha val="50000"/>
            </a:srgbClr>
          </a:solidFill>
        </p:grpSpPr>
        <p:sp>
          <p:nvSpPr>
            <p:cNvPr id="90" name="Freeform 427">
              <a:extLst>
                <a:ext uri="{FF2B5EF4-FFF2-40B4-BE49-F238E27FC236}">
                  <a16:creationId xmlns:a16="http://schemas.microsoft.com/office/drawing/2014/main" id="{46938675-A213-48B7-9EC4-5A53AF0BC4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3" y="3842"/>
              <a:ext cx="52" cy="75"/>
            </a:xfrm>
            <a:custGeom>
              <a:avLst/>
              <a:gdLst>
                <a:gd name="T0" fmla="*/ 1336 w 1801"/>
                <a:gd name="T1" fmla="*/ 1305 h 2600"/>
                <a:gd name="T2" fmla="*/ 1600 w 1801"/>
                <a:gd name="T3" fmla="*/ 800 h 2600"/>
                <a:gd name="T4" fmla="*/ 900 w 1801"/>
                <a:gd name="T5" fmla="*/ 0 h 2600"/>
                <a:gd name="T6" fmla="*/ 200 w 1801"/>
                <a:gd name="T7" fmla="*/ 800 h 2600"/>
                <a:gd name="T8" fmla="*/ 464 w 1801"/>
                <a:gd name="T9" fmla="*/ 1305 h 2600"/>
                <a:gd name="T10" fmla="*/ 0 w 1801"/>
                <a:gd name="T11" fmla="*/ 1830 h 2600"/>
                <a:gd name="T12" fmla="*/ 0 w 1801"/>
                <a:gd name="T13" fmla="*/ 2600 h 2600"/>
                <a:gd name="T14" fmla="*/ 200 w 1801"/>
                <a:gd name="T15" fmla="*/ 2600 h 2600"/>
                <a:gd name="T16" fmla="*/ 200 w 1801"/>
                <a:gd name="T17" fmla="*/ 1830 h 2600"/>
                <a:gd name="T18" fmla="*/ 530 w 1801"/>
                <a:gd name="T19" fmla="*/ 1500 h 2600"/>
                <a:gd name="T20" fmla="*/ 752 w 1801"/>
                <a:gd name="T21" fmla="*/ 1500 h 2600"/>
                <a:gd name="T22" fmla="*/ 607 w 1801"/>
                <a:gd name="T23" fmla="*/ 1863 h 2600"/>
                <a:gd name="T24" fmla="*/ 629 w 1801"/>
                <a:gd name="T25" fmla="*/ 1971 h 2600"/>
                <a:gd name="T26" fmla="*/ 829 w 1801"/>
                <a:gd name="T27" fmla="*/ 2171 h 2600"/>
                <a:gd name="T28" fmla="*/ 971 w 1801"/>
                <a:gd name="T29" fmla="*/ 2171 h 2600"/>
                <a:gd name="T30" fmla="*/ 1171 w 1801"/>
                <a:gd name="T31" fmla="*/ 1971 h 2600"/>
                <a:gd name="T32" fmla="*/ 1193 w 1801"/>
                <a:gd name="T33" fmla="*/ 1863 h 2600"/>
                <a:gd name="T34" fmla="*/ 1048 w 1801"/>
                <a:gd name="T35" fmla="*/ 1500 h 2600"/>
                <a:gd name="T36" fmla="*/ 1270 w 1801"/>
                <a:gd name="T37" fmla="*/ 1500 h 2600"/>
                <a:gd name="T38" fmla="*/ 1600 w 1801"/>
                <a:gd name="T39" fmla="*/ 1830 h 2600"/>
                <a:gd name="T40" fmla="*/ 1600 w 1801"/>
                <a:gd name="T41" fmla="*/ 2600 h 2600"/>
                <a:gd name="T42" fmla="*/ 1800 w 1801"/>
                <a:gd name="T43" fmla="*/ 2600 h 2600"/>
                <a:gd name="T44" fmla="*/ 1800 w 1801"/>
                <a:gd name="T45" fmla="*/ 1830 h 2600"/>
                <a:gd name="T46" fmla="*/ 1336 w 1801"/>
                <a:gd name="T47" fmla="*/ 1305 h 2600"/>
                <a:gd name="T48" fmla="*/ 405 w 1801"/>
                <a:gd name="T49" fmla="*/ 694 h 2600"/>
                <a:gd name="T50" fmla="*/ 900 w 1801"/>
                <a:gd name="T51" fmla="*/ 200 h 2600"/>
                <a:gd name="T52" fmla="*/ 1385 w 1801"/>
                <a:gd name="T53" fmla="*/ 614 h 2600"/>
                <a:gd name="T54" fmla="*/ 1052 w 1801"/>
                <a:gd name="T55" fmla="*/ 414 h 2600"/>
                <a:gd name="T56" fmla="*/ 914 w 1801"/>
                <a:gd name="T57" fmla="*/ 449 h 2600"/>
                <a:gd name="T58" fmla="*/ 905 w 1801"/>
                <a:gd name="T59" fmla="*/ 468 h 2600"/>
                <a:gd name="T60" fmla="*/ 405 w 1801"/>
                <a:gd name="T61" fmla="*/ 694 h 2600"/>
                <a:gd name="T62" fmla="*/ 900 w 1801"/>
                <a:gd name="T63" fmla="*/ 1958 h 2600"/>
                <a:gd name="T64" fmla="*/ 817 w 1801"/>
                <a:gd name="T65" fmla="*/ 1876 h 2600"/>
                <a:gd name="T66" fmla="*/ 900 w 1801"/>
                <a:gd name="T67" fmla="*/ 1669 h 2600"/>
                <a:gd name="T68" fmla="*/ 983 w 1801"/>
                <a:gd name="T69" fmla="*/ 1876 h 2600"/>
                <a:gd name="T70" fmla="*/ 900 w 1801"/>
                <a:gd name="T71" fmla="*/ 1958 h 2600"/>
                <a:gd name="T72" fmla="*/ 900 w 1801"/>
                <a:gd name="T73" fmla="*/ 1300 h 2600"/>
                <a:gd name="T74" fmla="*/ 414 w 1801"/>
                <a:gd name="T75" fmla="*/ 895 h 2600"/>
                <a:gd name="T76" fmla="*/ 1038 w 1801"/>
                <a:gd name="T77" fmla="*/ 639 h 2600"/>
                <a:gd name="T78" fmla="*/ 1395 w 1801"/>
                <a:gd name="T79" fmla="*/ 854 h 2600"/>
                <a:gd name="T80" fmla="*/ 900 w 1801"/>
                <a:gd name="T81" fmla="*/ 1300 h 2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01" h="2600">
                  <a:moveTo>
                    <a:pt x="1336" y="1305"/>
                  </a:moveTo>
                  <a:cubicBezTo>
                    <a:pt x="1492" y="1182"/>
                    <a:pt x="1588" y="998"/>
                    <a:pt x="1600" y="800"/>
                  </a:cubicBezTo>
                  <a:cubicBezTo>
                    <a:pt x="1600" y="139"/>
                    <a:pt x="1219" y="0"/>
                    <a:pt x="900" y="0"/>
                  </a:cubicBezTo>
                  <a:cubicBezTo>
                    <a:pt x="581" y="0"/>
                    <a:pt x="200" y="139"/>
                    <a:pt x="200" y="800"/>
                  </a:cubicBezTo>
                  <a:cubicBezTo>
                    <a:pt x="212" y="998"/>
                    <a:pt x="308" y="1182"/>
                    <a:pt x="464" y="1305"/>
                  </a:cubicBezTo>
                  <a:cubicBezTo>
                    <a:pt x="199" y="1338"/>
                    <a:pt x="0" y="1563"/>
                    <a:pt x="0" y="1830"/>
                  </a:cubicBezTo>
                  <a:lnTo>
                    <a:pt x="0" y="2600"/>
                  </a:lnTo>
                  <a:lnTo>
                    <a:pt x="200" y="2600"/>
                  </a:lnTo>
                  <a:lnTo>
                    <a:pt x="200" y="1830"/>
                  </a:lnTo>
                  <a:cubicBezTo>
                    <a:pt x="200" y="1648"/>
                    <a:pt x="348" y="1500"/>
                    <a:pt x="530" y="1500"/>
                  </a:cubicBezTo>
                  <a:lnTo>
                    <a:pt x="752" y="1500"/>
                  </a:lnTo>
                  <a:lnTo>
                    <a:pt x="607" y="1863"/>
                  </a:lnTo>
                  <a:cubicBezTo>
                    <a:pt x="592" y="1900"/>
                    <a:pt x="601" y="1942"/>
                    <a:pt x="629" y="1971"/>
                  </a:cubicBezTo>
                  <a:lnTo>
                    <a:pt x="829" y="2171"/>
                  </a:lnTo>
                  <a:cubicBezTo>
                    <a:pt x="868" y="2210"/>
                    <a:pt x="932" y="2210"/>
                    <a:pt x="971" y="2171"/>
                  </a:cubicBezTo>
                  <a:lnTo>
                    <a:pt x="1171" y="1971"/>
                  </a:lnTo>
                  <a:cubicBezTo>
                    <a:pt x="1199" y="1942"/>
                    <a:pt x="1208" y="1900"/>
                    <a:pt x="1193" y="1863"/>
                  </a:cubicBezTo>
                  <a:lnTo>
                    <a:pt x="1048" y="1500"/>
                  </a:lnTo>
                  <a:lnTo>
                    <a:pt x="1270" y="1500"/>
                  </a:lnTo>
                  <a:cubicBezTo>
                    <a:pt x="1452" y="1500"/>
                    <a:pt x="1600" y="1648"/>
                    <a:pt x="1600" y="1830"/>
                  </a:cubicBezTo>
                  <a:lnTo>
                    <a:pt x="1600" y="2600"/>
                  </a:lnTo>
                  <a:lnTo>
                    <a:pt x="1800" y="2600"/>
                  </a:lnTo>
                  <a:lnTo>
                    <a:pt x="1800" y="1830"/>
                  </a:lnTo>
                  <a:cubicBezTo>
                    <a:pt x="1801" y="1563"/>
                    <a:pt x="1601" y="1337"/>
                    <a:pt x="1336" y="1305"/>
                  </a:cubicBezTo>
                  <a:close/>
                  <a:moveTo>
                    <a:pt x="405" y="694"/>
                  </a:moveTo>
                  <a:cubicBezTo>
                    <a:pt x="432" y="359"/>
                    <a:pt x="590" y="200"/>
                    <a:pt x="900" y="200"/>
                  </a:cubicBezTo>
                  <a:cubicBezTo>
                    <a:pt x="1184" y="200"/>
                    <a:pt x="1340" y="334"/>
                    <a:pt x="1385" y="614"/>
                  </a:cubicBezTo>
                  <a:lnTo>
                    <a:pt x="1052" y="414"/>
                  </a:lnTo>
                  <a:cubicBezTo>
                    <a:pt x="1004" y="386"/>
                    <a:pt x="943" y="401"/>
                    <a:pt x="914" y="449"/>
                  </a:cubicBezTo>
                  <a:cubicBezTo>
                    <a:pt x="911" y="455"/>
                    <a:pt x="908" y="461"/>
                    <a:pt x="905" y="468"/>
                  </a:cubicBezTo>
                  <a:cubicBezTo>
                    <a:pt x="855" y="620"/>
                    <a:pt x="582" y="678"/>
                    <a:pt x="405" y="694"/>
                  </a:cubicBezTo>
                  <a:close/>
                  <a:moveTo>
                    <a:pt x="900" y="1958"/>
                  </a:moveTo>
                  <a:lnTo>
                    <a:pt x="817" y="1876"/>
                  </a:lnTo>
                  <a:lnTo>
                    <a:pt x="900" y="1669"/>
                  </a:lnTo>
                  <a:lnTo>
                    <a:pt x="983" y="1876"/>
                  </a:lnTo>
                  <a:lnTo>
                    <a:pt x="900" y="1958"/>
                  </a:lnTo>
                  <a:close/>
                  <a:moveTo>
                    <a:pt x="900" y="1300"/>
                  </a:moveTo>
                  <a:cubicBezTo>
                    <a:pt x="677" y="1262"/>
                    <a:pt x="491" y="1107"/>
                    <a:pt x="414" y="895"/>
                  </a:cubicBezTo>
                  <a:cubicBezTo>
                    <a:pt x="585" y="881"/>
                    <a:pt x="894" y="829"/>
                    <a:pt x="1038" y="639"/>
                  </a:cubicBezTo>
                  <a:lnTo>
                    <a:pt x="1395" y="854"/>
                  </a:lnTo>
                  <a:cubicBezTo>
                    <a:pt x="1355" y="1099"/>
                    <a:pt x="1054" y="1300"/>
                    <a:pt x="900" y="1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428">
              <a:extLst>
                <a:ext uri="{FF2B5EF4-FFF2-40B4-BE49-F238E27FC236}">
                  <a16:creationId xmlns:a16="http://schemas.microsoft.com/office/drawing/2014/main" id="{CE716CE6-9DE5-4C15-AC96-4FA9817541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5" y="3906"/>
              <a:ext cx="5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429">
              <a:extLst>
                <a:ext uri="{FF2B5EF4-FFF2-40B4-BE49-F238E27FC236}">
                  <a16:creationId xmlns:a16="http://schemas.microsoft.com/office/drawing/2014/main" id="{9CC6F04D-DFE8-4C5E-992C-F7D5CC16D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8" y="3906"/>
              <a:ext cx="5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430">
              <a:extLst>
                <a:ext uri="{FF2B5EF4-FFF2-40B4-BE49-F238E27FC236}">
                  <a16:creationId xmlns:a16="http://schemas.microsoft.com/office/drawing/2014/main" id="{85E9C160-6F98-425E-A5B4-51E45C444E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4" y="3842"/>
              <a:ext cx="52" cy="75"/>
            </a:xfrm>
            <a:custGeom>
              <a:avLst/>
              <a:gdLst>
                <a:gd name="T0" fmla="*/ 1336 w 1801"/>
                <a:gd name="T1" fmla="*/ 1305 h 2600"/>
                <a:gd name="T2" fmla="*/ 1600 w 1801"/>
                <a:gd name="T3" fmla="*/ 800 h 2600"/>
                <a:gd name="T4" fmla="*/ 900 w 1801"/>
                <a:gd name="T5" fmla="*/ 0 h 2600"/>
                <a:gd name="T6" fmla="*/ 200 w 1801"/>
                <a:gd name="T7" fmla="*/ 800 h 2600"/>
                <a:gd name="T8" fmla="*/ 464 w 1801"/>
                <a:gd name="T9" fmla="*/ 1305 h 2600"/>
                <a:gd name="T10" fmla="*/ 0 w 1801"/>
                <a:gd name="T11" fmla="*/ 1830 h 2600"/>
                <a:gd name="T12" fmla="*/ 0 w 1801"/>
                <a:gd name="T13" fmla="*/ 2600 h 2600"/>
                <a:gd name="T14" fmla="*/ 200 w 1801"/>
                <a:gd name="T15" fmla="*/ 2600 h 2600"/>
                <a:gd name="T16" fmla="*/ 200 w 1801"/>
                <a:gd name="T17" fmla="*/ 1830 h 2600"/>
                <a:gd name="T18" fmla="*/ 530 w 1801"/>
                <a:gd name="T19" fmla="*/ 1500 h 2600"/>
                <a:gd name="T20" fmla="*/ 752 w 1801"/>
                <a:gd name="T21" fmla="*/ 1500 h 2600"/>
                <a:gd name="T22" fmla="*/ 607 w 1801"/>
                <a:gd name="T23" fmla="*/ 1863 h 2600"/>
                <a:gd name="T24" fmla="*/ 629 w 1801"/>
                <a:gd name="T25" fmla="*/ 1971 h 2600"/>
                <a:gd name="T26" fmla="*/ 829 w 1801"/>
                <a:gd name="T27" fmla="*/ 2171 h 2600"/>
                <a:gd name="T28" fmla="*/ 971 w 1801"/>
                <a:gd name="T29" fmla="*/ 2171 h 2600"/>
                <a:gd name="T30" fmla="*/ 1171 w 1801"/>
                <a:gd name="T31" fmla="*/ 1971 h 2600"/>
                <a:gd name="T32" fmla="*/ 1193 w 1801"/>
                <a:gd name="T33" fmla="*/ 1863 h 2600"/>
                <a:gd name="T34" fmla="*/ 1048 w 1801"/>
                <a:gd name="T35" fmla="*/ 1500 h 2600"/>
                <a:gd name="T36" fmla="*/ 1270 w 1801"/>
                <a:gd name="T37" fmla="*/ 1500 h 2600"/>
                <a:gd name="T38" fmla="*/ 1600 w 1801"/>
                <a:gd name="T39" fmla="*/ 1830 h 2600"/>
                <a:gd name="T40" fmla="*/ 1600 w 1801"/>
                <a:gd name="T41" fmla="*/ 2600 h 2600"/>
                <a:gd name="T42" fmla="*/ 1800 w 1801"/>
                <a:gd name="T43" fmla="*/ 2600 h 2600"/>
                <a:gd name="T44" fmla="*/ 1800 w 1801"/>
                <a:gd name="T45" fmla="*/ 1830 h 2600"/>
                <a:gd name="T46" fmla="*/ 1336 w 1801"/>
                <a:gd name="T47" fmla="*/ 1305 h 2600"/>
                <a:gd name="T48" fmla="*/ 405 w 1801"/>
                <a:gd name="T49" fmla="*/ 694 h 2600"/>
                <a:gd name="T50" fmla="*/ 900 w 1801"/>
                <a:gd name="T51" fmla="*/ 200 h 2600"/>
                <a:gd name="T52" fmla="*/ 1385 w 1801"/>
                <a:gd name="T53" fmla="*/ 614 h 2600"/>
                <a:gd name="T54" fmla="*/ 1052 w 1801"/>
                <a:gd name="T55" fmla="*/ 414 h 2600"/>
                <a:gd name="T56" fmla="*/ 914 w 1801"/>
                <a:gd name="T57" fmla="*/ 449 h 2600"/>
                <a:gd name="T58" fmla="*/ 905 w 1801"/>
                <a:gd name="T59" fmla="*/ 468 h 2600"/>
                <a:gd name="T60" fmla="*/ 405 w 1801"/>
                <a:gd name="T61" fmla="*/ 694 h 2600"/>
                <a:gd name="T62" fmla="*/ 900 w 1801"/>
                <a:gd name="T63" fmla="*/ 1958 h 2600"/>
                <a:gd name="T64" fmla="*/ 817 w 1801"/>
                <a:gd name="T65" fmla="*/ 1876 h 2600"/>
                <a:gd name="T66" fmla="*/ 900 w 1801"/>
                <a:gd name="T67" fmla="*/ 1669 h 2600"/>
                <a:gd name="T68" fmla="*/ 983 w 1801"/>
                <a:gd name="T69" fmla="*/ 1876 h 2600"/>
                <a:gd name="T70" fmla="*/ 900 w 1801"/>
                <a:gd name="T71" fmla="*/ 1958 h 2600"/>
                <a:gd name="T72" fmla="*/ 900 w 1801"/>
                <a:gd name="T73" fmla="*/ 1300 h 2600"/>
                <a:gd name="T74" fmla="*/ 414 w 1801"/>
                <a:gd name="T75" fmla="*/ 895 h 2600"/>
                <a:gd name="T76" fmla="*/ 1038 w 1801"/>
                <a:gd name="T77" fmla="*/ 639 h 2600"/>
                <a:gd name="T78" fmla="*/ 1395 w 1801"/>
                <a:gd name="T79" fmla="*/ 854 h 2600"/>
                <a:gd name="T80" fmla="*/ 900 w 1801"/>
                <a:gd name="T81" fmla="*/ 1300 h 2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01" h="2600">
                  <a:moveTo>
                    <a:pt x="1336" y="1305"/>
                  </a:moveTo>
                  <a:cubicBezTo>
                    <a:pt x="1492" y="1182"/>
                    <a:pt x="1588" y="998"/>
                    <a:pt x="1600" y="800"/>
                  </a:cubicBezTo>
                  <a:cubicBezTo>
                    <a:pt x="1600" y="139"/>
                    <a:pt x="1219" y="0"/>
                    <a:pt x="900" y="0"/>
                  </a:cubicBezTo>
                  <a:cubicBezTo>
                    <a:pt x="581" y="0"/>
                    <a:pt x="200" y="139"/>
                    <a:pt x="200" y="800"/>
                  </a:cubicBezTo>
                  <a:cubicBezTo>
                    <a:pt x="212" y="998"/>
                    <a:pt x="308" y="1182"/>
                    <a:pt x="464" y="1305"/>
                  </a:cubicBezTo>
                  <a:cubicBezTo>
                    <a:pt x="199" y="1338"/>
                    <a:pt x="0" y="1563"/>
                    <a:pt x="0" y="1830"/>
                  </a:cubicBezTo>
                  <a:lnTo>
                    <a:pt x="0" y="2600"/>
                  </a:lnTo>
                  <a:lnTo>
                    <a:pt x="200" y="2600"/>
                  </a:lnTo>
                  <a:lnTo>
                    <a:pt x="200" y="1830"/>
                  </a:lnTo>
                  <a:cubicBezTo>
                    <a:pt x="200" y="1648"/>
                    <a:pt x="348" y="1500"/>
                    <a:pt x="530" y="1500"/>
                  </a:cubicBezTo>
                  <a:lnTo>
                    <a:pt x="752" y="1500"/>
                  </a:lnTo>
                  <a:lnTo>
                    <a:pt x="607" y="1863"/>
                  </a:lnTo>
                  <a:cubicBezTo>
                    <a:pt x="592" y="1900"/>
                    <a:pt x="601" y="1942"/>
                    <a:pt x="629" y="1971"/>
                  </a:cubicBezTo>
                  <a:lnTo>
                    <a:pt x="829" y="2171"/>
                  </a:lnTo>
                  <a:cubicBezTo>
                    <a:pt x="868" y="2210"/>
                    <a:pt x="931" y="2210"/>
                    <a:pt x="971" y="2171"/>
                  </a:cubicBezTo>
                  <a:lnTo>
                    <a:pt x="1171" y="1971"/>
                  </a:lnTo>
                  <a:cubicBezTo>
                    <a:pt x="1199" y="1942"/>
                    <a:pt x="1208" y="1900"/>
                    <a:pt x="1193" y="1863"/>
                  </a:cubicBezTo>
                  <a:lnTo>
                    <a:pt x="1048" y="1500"/>
                  </a:lnTo>
                  <a:lnTo>
                    <a:pt x="1270" y="1500"/>
                  </a:lnTo>
                  <a:cubicBezTo>
                    <a:pt x="1452" y="1500"/>
                    <a:pt x="1600" y="1648"/>
                    <a:pt x="1600" y="1830"/>
                  </a:cubicBezTo>
                  <a:lnTo>
                    <a:pt x="1600" y="2600"/>
                  </a:lnTo>
                  <a:lnTo>
                    <a:pt x="1800" y="2600"/>
                  </a:lnTo>
                  <a:lnTo>
                    <a:pt x="1800" y="1830"/>
                  </a:lnTo>
                  <a:cubicBezTo>
                    <a:pt x="1801" y="1563"/>
                    <a:pt x="1601" y="1337"/>
                    <a:pt x="1336" y="1305"/>
                  </a:cubicBezTo>
                  <a:close/>
                  <a:moveTo>
                    <a:pt x="405" y="694"/>
                  </a:moveTo>
                  <a:cubicBezTo>
                    <a:pt x="432" y="359"/>
                    <a:pt x="590" y="200"/>
                    <a:pt x="900" y="200"/>
                  </a:cubicBezTo>
                  <a:cubicBezTo>
                    <a:pt x="1184" y="200"/>
                    <a:pt x="1340" y="334"/>
                    <a:pt x="1385" y="614"/>
                  </a:cubicBezTo>
                  <a:lnTo>
                    <a:pt x="1052" y="414"/>
                  </a:lnTo>
                  <a:cubicBezTo>
                    <a:pt x="1004" y="386"/>
                    <a:pt x="943" y="401"/>
                    <a:pt x="914" y="449"/>
                  </a:cubicBezTo>
                  <a:cubicBezTo>
                    <a:pt x="911" y="455"/>
                    <a:pt x="908" y="461"/>
                    <a:pt x="905" y="468"/>
                  </a:cubicBezTo>
                  <a:cubicBezTo>
                    <a:pt x="855" y="620"/>
                    <a:pt x="582" y="678"/>
                    <a:pt x="405" y="694"/>
                  </a:cubicBezTo>
                  <a:close/>
                  <a:moveTo>
                    <a:pt x="900" y="1958"/>
                  </a:moveTo>
                  <a:lnTo>
                    <a:pt x="817" y="1876"/>
                  </a:lnTo>
                  <a:lnTo>
                    <a:pt x="900" y="1669"/>
                  </a:lnTo>
                  <a:lnTo>
                    <a:pt x="983" y="1876"/>
                  </a:lnTo>
                  <a:lnTo>
                    <a:pt x="900" y="1958"/>
                  </a:lnTo>
                  <a:close/>
                  <a:moveTo>
                    <a:pt x="900" y="1300"/>
                  </a:moveTo>
                  <a:cubicBezTo>
                    <a:pt x="677" y="1262"/>
                    <a:pt x="491" y="1107"/>
                    <a:pt x="414" y="895"/>
                  </a:cubicBezTo>
                  <a:cubicBezTo>
                    <a:pt x="585" y="881"/>
                    <a:pt x="894" y="829"/>
                    <a:pt x="1038" y="639"/>
                  </a:cubicBezTo>
                  <a:lnTo>
                    <a:pt x="1395" y="854"/>
                  </a:lnTo>
                  <a:cubicBezTo>
                    <a:pt x="1355" y="1099"/>
                    <a:pt x="1054" y="1300"/>
                    <a:pt x="900" y="1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431">
              <a:extLst>
                <a:ext uri="{FF2B5EF4-FFF2-40B4-BE49-F238E27FC236}">
                  <a16:creationId xmlns:a16="http://schemas.microsoft.com/office/drawing/2014/main" id="{2B638F9F-90C7-42EB-B87D-F6F31DB9AE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5" y="3906"/>
              <a:ext cx="6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432">
              <a:extLst>
                <a:ext uri="{FF2B5EF4-FFF2-40B4-BE49-F238E27FC236}">
                  <a16:creationId xmlns:a16="http://schemas.microsoft.com/office/drawing/2014/main" id="{F21C53D3-A5AE-4A7D-8363-505A974DF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8" y="3906"/>
              <a:ext cx="6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433">
              <a:extLst>
                <a:ext uri="{FF2B5EF4-FFF2-40B4-BE49-F238E27FC236}">
                  <a16:creationId xmlns:a16="http://schemas.microsoft.com/office/drawing/2014/main" id="{1F18A1B0-B40D-4D52-A2C2-DD6D9804E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14" y="3842"/>
              <a:ext cx="52" cy="75"/>
            </a:xfrm>
            <a:custGeom>
              <a:avLst/>
              <a:gdLst>
                <a:gd name="T0" fmla="*/ 1564 w 1800"/>
                <a:gd name="T1" fmla="*/ 1389 h 2600"/>
                <a:gd name="T2" fmla="*/ 1336 w 1800"/>
                <a:gd name="T3" fmla="*/ 1305 h 2600"/>
                <a:gd name="T4" fmla="*/ 1600 w 1800"/>
                <a:gd name="T5" fmla="*/ 800 h 2600"/>
                <a:gd name="T6" fmla="*/ 900 w 1800"/>
                <a:gd name="T7" fmla="*/ 0 h 2600"/>
                <a:gd name="T8" fmla="*/ 200 w 1800"/>
                <a:gd name="T9" fmla="*/ 800 h 2600"/>
                <a:gd name="T10" fmla="*/ 464 w 1800"/>
                <a:gd name="T11" fmla="*/ 1305 h 2600"/>
                <a:gd name="T12" fmla="*/ 0 w 1800"/>
                <a:gd name="T13" fmla="*/ 1830 h 2600"/>
                <a:gd name="T14" fmla="*/ 0 w 1800"/>
                <a:gd name="T15" fmla="*/ 2600 h 2600"/>
                <a:gd name="T16" fmla="*/ 200 w 1800"/>
                <a:gd name="T17" fmla="*/ 2600 h 2600"/>
                <a:gd name="T18" fmla="*/ 200 w 1800"/>
                <a:gd name="T19" fmla="*/ 1830 h 2600"/>
                <a:gd name="T20" fmla="*/ 530 w 1800"/>
                <a:gd name="T21" fmla="*/ 1500 h 2600"/>
                <a:gd name="T22" fmla="*/ 752 w 1800"/>
                <a:gd name="T23" fmla="*/ 1500 h 2600"/>
                <a:gd name="T24" fmla="*/ 607 w 1800"/>
                <a:gd name="T25" fmla="*/ 1863 h 2600"/>
                <a:gd name="T26" fmla="*/ 629 w 1800"/>
                <a:gd name="T27" fmla="*/ 1971 h 2600"/>
                <a:gd name="T28" fmla="*/ 829 w 1800"/>
                <a:gd name="T29" fmla="*/ 2171 h 2600"/>
                <a:gd name="T30" fmla="*/ 971 w 1800"/>
                <a:gd name="T31" fmla="*/ 2171 h 2600"/>
                <a:gd name="T32" fmla="*/ 1171 w 1800"/>
                <a:gd name="T33" fmla="*/ 1971 h 2600"/>
                <a:gd name="T34" fmla="*/ 1193 w 1800"/>
                <a:gd name="T35" fmla="*/ 1863 h 2600"/>
                <a:gd name="T36" fmla="*/ 1048 w 1800"/>
                <a:gd name="T37" fmla="*/ 1500 h 2600"/>
                <a:gd name="T38" fmla="*/ 1270 w 1800"/>
                <a:gd name="T39" fmla="*/ 1500 h 2600"/>
                <a:gd name="T40" fmla="*/ 1600 w 1800"/>
                <a:gd name="T41" fmla="*/ 1830 h 2600"/>
                <a:gd name="T42" fmla="*/ 1600 w 1800"/>
                <a:gd name="T43" fmla="*/ 2600 h 2600"/>
                <a:gd name="T44" fmla="*/ 1800 w 1800"/>
                <a:gd name="T45" fmla="*/ 2600 h 2600"/>
                <a:gd name="T46" fmla="*/ 1800 w 1800"/>
                <a:gd name="T47" fmla="*/ 1830 h 2600"/>
                <a:gd name="T48" fmla="*/ 1564 w 1800"/>
                <a:gd name="T49" fmla="*/ 1389 h 2600"/>
                <a:gd name="T50" fmla="*/ 405 w 1800"/>
                <a:gd name="T51" fmla="*/ 694 h 2600"/>
                <a:gd name="T52" fmla="*/ 900 w 1800"/>
                <a:gd name="T53" fmla="*/ 200 h 2600"/>
                <a:gd name="T54" fmla="*/ 1385 w 1800"/>
                <a:gd name="T55" fmla="*/ 614 h 2600"/>
                <a:gd name="T56" fmla="*/ 1052 w 1800"/>
                <a:gd name="T57" fmla="*/ 414 h 2600"/>
                <a:gd name="T58" fmla="*/ 914 w 1800"/>
                <a:gd name="T59" fmla="*/ 449 h 2600"/>
                <a:gd name="T60" fmla="*/ 905 w 1800"/>
                <a:gd name="T61" fmla="*/ 468 h 2600"/>
                <a:gd name="T62" fmla="*/ 405 w 1800"/>
                <a:gd name="T63" fmla="*/ 694 h 2600"/>
                <a:gd name="T64" fmla="*/ 900 w 1800"/>
                <a:gd name="T65" fmla="*/ 1959 h 2600"/>
                <a:gd name="T66" fmla="*/ 817 w 1800"/>
                <a:gd name="T67" fmla="*/ 1876 h 2600"/>
                <a:gd name="T68" fmla="*/ 900 w 1800"/>
                <a:gd name="T69" fmla="*/ 1669 h 2600"/>
                <a:gd name="T70" fmla="*/ 983 w 1800"/>
                <a:gd name="T71" fmla="*/ 1876 h 2600"/>
                <a:gd name="T72" fmla="*/ 900 w 1800"/>
                <a:gd name="T73" fmla="*/ 1959 h 2600"/>
                <a:gd name="T74" fmla="*/ 900 w 1800"/>
                <a:gd name="T75" fmla="*/ 1300 h 2600"/>
                <a:gd name="T76" fmla="*/ 414 w 1800"/>
                <a:gd name="T77" fmla="*/ 895 h 2600"/>
                <a:gd name="T78" fmla="*/ 1038 w 1800"/>
                <a:gd name="T79" fmla="*/ 639 h 2600"/>
                <a:gd name="T80" fmla="*/ 1395 w 1800"/>
                <a:gd name="T81" fmla="*/ 854 h 2600"/>
                <a:gd name="T82" fmla="*/ 900 w 1800"/>
                <a:gd name="T83" fmla="*/ 1300 h 2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00" h="2600">
                  <a:moveTo>
                    <a:pt x="1564" y="1389"/>
                  </a:moveTo>
                  <a:cubicBezTo>
                    <a:pt x="1496" y="1344"/>
                    <a:pt x="1418" y="1315"/>
                    <a:pt x="1336" y="1305"/>
                  </a:cubicBezTo>
                  <a:cubicBezTo>
                    <a:pt x="1492" y="1182"/>
                    <a:pt x="1588" y="998"/>
                    <a:pt x="1600" y="800"/>
                  </a:cubicBezTo>
                  <a:cubicBezTo>
                    <a:pt x="1600" y="139"/>
                    <a:pt x="1219" y="0"/>
                    <a:pt x="900" y="0"/>
                  </a:cubicBezTo>
                  <a:cubicBezTo>
                    <a:pt x="581" y="0"/>
                    <a:pt x="200" y="139"/>
                    <a:pt x="200" y="800"/>
                  </a:cubicBezTo>
                  <a:cubicBezTo>
                    <a:pt x="212" y="998"/>
                    <a:pt x="308" y="1182"/>
                    <a:pt x="464" y="1305"/>
                  </a:cubicBezTo>
                  <a:cubicBezTo>
                    <a:pt x="199" y="1338"/>
                    <a:pt x="0" y="1563"/>
                    <a:pt x="0" y="1830"/>
                  </a:cubicBezTo>
                  <a:lnTo>
                    <a:pt x="0" y="2600"/>
                  </a:lnTo>
                  <a:lnTo>
                    <a:pt x="200" y="2600"/>
                  </a:lnTo>
                  <a:lnTo>
                    <a:pt x="200" y="1830"/>
                  </a:lnTo>
                  <a:cubicBezTo>
                    <a:pt x="200" y="1648"/>
                    <a:pt x="348" y="1500"/>
                    <a:pt x="530" y="1500"/>
                  </a:cubicBezTo>
                  <a:lnTo>
                    <a:pt x="752" y="1500"/>
                  </a:lnTo>
                  <a:lnTo>
                    <a:pt x="607" y="1863"/>
                  </a:lnTo>
                  <a:cubicBezTo>
                    <a:pt x="592" y="1900"/>
                    <a:pt x="601" y="1942"/>
                    <a:pt x="629" y="1971"/>
                  </a:cubicBezTo>
                  <a:lnTo>
                    <a:pt x="829" y="2171"/>
                  </a:lnTo>
                  <a:cubicBezTo>
                    <a:pt x="868" y="2210"/>
                    <a:pt x="931" y="2210"/>
                    <a:pt x="971" y="2171"/>
                  </a:cubicBezTo>
                  <a:lnTo>
                    <a:pt x="1171" y="1971"/>
                  </a:lnTo>
                  <a:cubicBezTo>
                    <a:pt x="1199" y="1942"/>
                    <a:pt x="1208" y="1900"/>
                    <a:pt x="1193" y="1863"/>
                  </a:cubicBezTo>
                  <a:lnTo>
                    <a:pt x="1048" y="1500"/>
                  </a:lnTo>
                  <a:lnTo>
                    <a:pt x="1270" y="1500"/>
                  </a:lnTo>
                  <a:cubicBezTo>
                    <a:pt x="1452" y="1500"/>
                    <a:pt x="1600" y="1648"/>
                    <a:pt x="1600" y="1830"/>
                  </a:cubicBezTo>
                  <a:lnTo>
                    <a:pt x="1600" y="2600"/>
                  </a:lnTo>
                  <a:lnTo>
                    <a:pt x="1800" y="2600"/>
                  </a:lnTo>
                  <a:lnTo>
                    <a:pt x="1800" y="1830"/>
                  </a:lnTo>
                  <a:cubicBezTo>
                    <a:pt x="1800" y="1653"/>
                    <a:pt x="1711" y="1487"/>
                    <a:pt x="1564" y="1389"/>
                  </a:cubicBezTo>
                  <a:close/>
                  <a:moveTo>
                    <a:pt x="405" y="694"/>
                  </a:moveTo>
                  <a:cubicBezTo>
                    <a:pt x="432" y="359"/>
                    <a:pt x="590" y="200"/>
                    <a:pt x="900" y="200"/>
                  </a:cubicBezTo>
                  <a:cubicBezTo>
                    <a:pt x="1184" y="200"/>
                    <a:pt x="1340" y="334"/>
                    <a:pt x="1385" y="614"/>
                  </a:cubicBezTo>
                  <a:lnTo>
                    <a:pt x="1052" y="414"/>
                  </a:lnTo>
                  <a:cubicBezTo>
                    <a:pt x="1004" y="386"/>
                    <a:pt x="943" y="401"/>
                    <a:pt x="914" y="449"/>
                  </a:cubicBezTo>
                  <a:cubicBezTo>
                    <a:pt x="911" y="455"/>
                    <a:pt x="908" y="461"/>
                    <a:pt x="905" y="468"/>
                  </a:cubicBezTo>
                  <a:cubicBezTo>
                    <a:pt x="855" y="620"/>
                    <a:pt x="582" y="678"/>
                    <a:pt x="405" y="694"/>
                  </a:cubicBezTo>
                  <a:close/>
                  <a:moveTo>
                    <a:pt x="900" y="1959"/>
                  </a:moveTo>
                  <a:lnTo>
                    <a:pt x="817" y="1876"/>
                  </a:lnTo>
                  <a:lnTo>
                    <a:pt x="900" y="1669"/>
                  </a:lnTo>
                  <a:lnTo>
                    <a:pt x="983" y="1876"/>
                  </a:lnTo>
                  <a:lnTo>
                    <a:pt x="900" y="1959"/>
                  </a:lnTo>
                  <a:close/>
                  <a:moveTo>
                    <a:pt x="900" y="1300"/>
                  </a:moveTo>
                  <a:cubicBezTo>
                    <a:pt x="677" y="1262"/>
                    <a:pt x="491" y="1107"/>
                    <a:pt x="414" y="895"/>
                  </a:cubicBezTo>
                  <a:cubicBezTo>
                    <a:pt x="585" y="881"/>
                    <a:pt x="894" y="829"/>
                    <a:pt x="1038" y="639"/>
                  </a:cubicBezTo>
                  <a:lnTo>
                    <a:pt x="1395" y="854"/>
                  </a:lnTo>
                  <a:cubicBezTo>
                    <a:pt x="1355" y="1099"/>
                    <a:pt x="1054" y="1300"/>
                    <a:pt x="900" y="1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434">
              <a:extLst>
                <a:ext uri="{FF2B5EF4-FFF2-40B4-BE49-F238E27FC236}">
                  <a16:creationId xmlns:a16="http://schemas.microsoft.com/office/drawing/2014/main" id="{7FC70EFD-D451-4C7C-82A1-7F573E45BF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6" y="3906"/>
              <a:ext cx="5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435">
              <a:extLst>
                <a:ext uri="{FF2B5EF4-FFF2-40B4-BE49-F238E27FC236}">
                  <a16:creationId xmlns:a16="http://schemas.microsoft.com/office/drawing/2014/main" id="{D3377778-2AFD-4BB2-8243-CC4744C47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9" y="3906"/>
              <a:ext cx="6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36">
              <a:extLst>
                <a:ext uri="{FF2B5EF4-FFF2-40B4-BE49-F238E27FC236}">
                  <a16:creationId xmlns:a16="http://schemas.microsoft.com/office/drawing/2014/main" id="{CF236619-BF06-4498-B077-3F6E5C042F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3" y="3753"/>
              <a:ext cx="173" cy="84"/>
            </a:xfrm>
            <a:custGeom>
              <a:avLst/>
              <a:gdLst>
                <a:gd name="T0" fmla="*/ 4100 w 6000"/>
                <a:gd name="T1" fmla="*/ 700 h 2912"/>
                <a:gd name="T2" fmla="*/ 3800 w 6000"/>
                <a:gd name="T3" fmla="*/ 1100 h 2912"/>
                <a:gd name="T4" fmla="*/ 3000 w 6000"/>
                <a:gd name="T5" fmla="*/ 300 h 2912"/>
                <a:gd name="T6" fmla="*/ 300 w 6000"/>
                <a:gd name="T7" fmla="*/ 0 h 2912"/>
                <a:gd name="T8" fmla="*/ 0 w 6000"/>
                <a:gd name="T9" fmla="*/ 1500 h 2912"/>
                <a:gd name="T10" fmla="*/ 520 w 6000"/>
                <a:gd name="T11" fmla="*/ 1800 h 2912"/>
                <a:gd name="T12" fmla="*/ 964 w 6000"/>
                <a:gd name="T13" fmla="*/ 2177 h 2912"/>
                <a:gd name="T14" fmla="*/ 1280 w 6000"/>
                <a:gd name="T15" fmla="*/ 1800 h 2912"/>
                <a:gd name="T16" fmla="*/ 1700 w 6000"/>
                <a:gd name="T17" fmla="*/ 2200 h 2912"/>
                <a:gd name="T18" fmla="*/ 2620 w 6000"/>
                <a:gd name="T19" fmla="*/ 2500 h 2912"/>
                <a:gd name="T20" fmla="*/ 3064 w 6000"/>
                <a:gd name="T21" fmla="*/ 2877 h 2912"/>
                <a:gd name="T22" fmla="*/ 3380 w 6000"/>
                <a:gd name="T23" fmla="*/ 2500 h 2912"/>
                <a:gd name="T24" fmla="*/ 4300 w 6000"/>
                <a:gd name="T25" fmla="*/ 2200 h 2912"/>
                <a:gd name="T26" fmla="*/ 4820 w 6000"/>
                <a:gd name="T27" fmla="*/ 2100 h 2912"/>
                <a:gd name="T28" fmla="*/ 5264 w 6000"/>
                <a:gd name="T29" fmla="*/ 2477 h 2912"/>
                <a:gd name="T30" fmla="*/ 5580 w 6000"/>
                <a:gd name="T31" fmla="*/ 2100 h 2912"/>
                <a:gd name="T32" fmla="*/ 6000 w 6000"/>
                <a:gd name="T33" fmla="*/ 1800 h 2912"/>
                <a:gd name="T34" fmla="*/ 5700 w 6000"/>
                <a:gd name="T35" fmla="*/ 700 h 2912"/>
                <a:gd name="T36" fmla="*/ 1157 w 6000"/>
                <a:gd name="T37" fmla="*/ 1636 h 2912"/>
                <a:gd name="T38" fmla="*/ 644 w 6000"/>
                <a:gd name="T39" fmla="*/ 1636 h 2912"/>
                <a:gd name="T40" fmla="*/ 300 w 6000"/>
                <a:gd name="T41" fmla="*/ 1600 h 2912"/>
                <a:gd name="T42" fmla="*/ 200 w 6000"/>
                <a:gd name="T43" fmla="*/ 300 h 2912"/>
                <a:gd name="T44" fmla="*/ 2700 w 6000"/>
                <a:gd name="T45" fmla="*/ 200 h 2912"/>
                <a:gd name="T46" fmla="*/ 2800 w 6000"/>
                <a:gd name="T47" fmla="*/ 1500 h 2912"/>
                <a:gd name="T48" fmla="*/ 1233 w 6000"/>
                <a:gd name="T49" fmla="*/ 1600 h 2912"/>
                <a:gd name="T50" fmla="*/ 4000 w 6000"/>
                <a:gd name="T51" fmla="*/ 2300 h 2912"/>
                <a:gd name="T52" fmla="*/ 3257 w 6000"/>
                <a:gd name="T53" fmla="*/ 2336 h 2912"/>
                <a:gd name="T54" fmla="*/ 2744 w 6000"/>
                <a:gd name="T55" fmla="*/ 2336 h 2912"/>
                <a:gd name="T56" fmla="*/ 2000 w 6000"/>
                <a:gd name="T57" fmla="*/ 2300 h 2912"/>
                <a:gd name="T58" fmla="*/ 1900 w 6000"/>
                <a:gd name="T59" fmla="*/ 1800 h 2912"/>
                <a:gd name="T60" fmla="*/ 3000 w 6000"/>
                <a:gd name="T61" fmla="*/ 1500 h 2912"/>
                <a:gd name="T62" fmla="*/ 4000 w 6000"/>
                <a:gd name="T63" fmla="*/ 1300 h 2912"/>
                <a:gd name="T64" fmla="*/ 4100 w 6000"/>
                <a:gd name="T65" fmla="*/ 2200 h 2912"/>
                <a:gd name="T66" fmla="*/ 5700 w 6000"/>
                <a:gd name="T67" fmla="*/ 1900 h 2912"/>
                <a:gd name="T68" fmla="*/ 5457 w 6000"/>
                <a:gd name="T69" fmla="*/ 1936 h 2912"/>
                <a:gd name="T70" fmla="*/ 4944 w 6000"/>
                <a:gd name="T71" fmla="*/ 1936 h 2912"/>
                <a:gd name="T72" fmla="*/ 4300 w 6000"/>
                <a:gd name="T73" fmla="*/ 1900 h 2912"/>
                <a:gd name="T74" fmla="*/ 4000 w 6000"/>
                <a:gd name="T75" fmla="*/ 1100 h 2912"/>
                <a:gd name="T76" fmla="*/ 4100 w 6000"/>
                <a:gd name="T77" fmla="*/ 900 h 2912"/>
                <a:gd name="T78" fmla="*/ 5800 w 6000"/>
                <a:gd name="T79" fmla="*/ 1000 h 2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000" h="2912">
                  <a:moveTo>
                    <a:pt x="5700" y="700"/>
                  </a:moveTo>
                  <a:lnTo>
                    <a:pt x="4100" y="700"/>
                  </a:lnTo>
                  <a:cubicBezTo>
                    <a:pt x="3934" y="700"/>
                    <a:pt x="3800" y="834"/>
                    <a:pt x="3800" y="1000"/>
                  </a:cubicBezTo>
                  <a:lnTo>
                    <a:pt x="3800" y="1100"/>
                  </a:lnTo>
                  <a:lnTo>
                    <a:pt x="3000" y="1100"/>
                  </a:lnTo>
                  <a:lnTo>
                    <a:pt x="3000" y="300"/>
                  </a:lnTo>
                  <a:cubicBezTo>
                    <a:pt x="3000" y="134"/>
                    <a:pt x="2866" y="0"/>
                    <a:pt x="2700" y="0"/>
                  </a:cubicBez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1500"/>
                  </a:lnTo>
                  <a:cubicBezTo>
                    <a:pt x="0" y="1666"/>
                    <a:pt x="134" y="1800"/>
                    <a:pt x="300" y="1800"/>
                  </a:cubicBezTo>
                  <a:lnTo>
                    <a:pt x="520" y="1800"/>
                  </a:lnTo>
                  <a:lnTo>
                    <a:pt x="823" y="2164"/>
                  </a:lnTo>
                  <a:cubicBezTo>
                    <a:pt x="859" y="2206"/>
                    <a:pt x="922" y="2212"/>
                    <a:pt x="964" y="2177"/>
                  </a:cubicBezTo>
                  <a:cubicBezTo>
                    <a:pt x="969" y="2173"/>
                    <a:pt x="973" y="2169"/>
                    <a:pt x="977" y="2164"/>
                  </a:cubicBezTo>
                  <a:lnTo>
                    <a:pt x="1280" y="1800"/>
                  </a:lnTo>
                  <a:lnTo>
                    <a:pt x="1700" y="1800"/>
                  </a:lnTo>
                  <a:lnTo>
                    <a:pt x="1700" y="2200"/>
                  </a:lnTo>
                  <a:cubicBezTo>
                    <a:pt x="1700" y="2366"/>
                    <a:pt x="1834" y="2500"/>
                    <a:pt x="2000" y="2500"/>
                  </a:cubicBezTo>
                  <a:lnTo>
                    <a:pt x="2620" y="2500"/>
                  </a:lnTo>
                  <a:lnTo>
                    <a:pt x="2923" y="2864"/>
                  </a:lnTo>
                  <a:cubicBezTo>
                    <a:pt x="2959" y="2906"/>
                    <a:pt x="3022" y="2912"/>
                    <a:pt x="3064" y="2877"/>
                  </a:cubicBezTo>
                  <a:cubicBezTo>
                    <a:pt x="3069" y="2873"/>
                    <a:pt x="3073" y="2869"/>
                    <a:pt x="3077" y="2864"/>
                  </a:cubicBezTo>
                  <a:lnTo>
                    <a:pt x="3380" y="2500"/>
                  </a:lnTo>
                  <a:lnTo>
                    <a:pt x="4000" y="2500"/>
                  </a:lnTo>
                  <a:cubicBezTo>
                    <a:pt x="4166" y="2500"/>
                    <a:pt x="4300" y="2366"/>
                    <a:pt x="4300" y="2200"/>
                  </a:cubicBezTo>
                  <a:lnTo>
                    <a:pt x="4300" y="2100"/>
                  </a:lnTo>
                  <a:lnTo>
                    <a:pt x="4820" y="2100"/>
                  </a:lnTo>
                  <a:lnTo>
                    <a:pt x="5123" y="2464"/>
                  </a:lnTo>
                  <a:cubicBezTo>
                    <a:pt x="5159" y="2506"/>
                    <a:pt x="5222" y="2512"/>
                    <a:pt x="5264" y="2477"/>
                  </a:cubicBezTo>
                  <a:cubicBezTo>
                    <a:pt x="5269" y="2473"/>
                    <a:pt x="5273" y="2469"/>
                    <a:pt x="5277" y="2464"/>
                  </a:cubicBezTo>
                  <a:lnTo>
                    <a:pt x="5580" y="2100"/>
                  </a:lnTo>
                  <a:lnTo>
                    <a:pt x="5700" y="2100"/>
                  </a:lnTo>
                  <a:cubicBezTo>
                    <a:pt x="5866" y="2100"/>
                    <a:pt x="6000" y="1966"/>
                    <a:pt x="6000" y="1800"/>
                  </a:cubicBezTo>
                  <a:lnTo>
                    <a:pt x="6000" y="1000"/>
                  </a:lnTo>
                  <a:cubicBezTo>
                    <a:pt x="6000" y="834"/>
                    <a:pt x="5866" y="700"/>
                    <a:pt x="5700" y="700"/>
                  </a:cubicBezTo>
                  <a:close/>
                  <a:moveTo>
                    <a:pt x="1233" y="1600"/>
                  </a:moveTo>
                  <a:cubicBezTo>
                    <a:pt x="1204" y="1600"/>
                    <a:pt x="1175" y="1613"/>
                    <a:pt x="1157" y="1636"/>
                  </a:cubicBezTo>
                  <a:lnTo>
                    <a:pt x="900" y="1944"/>
                  </a:lnTo>
                  <a:lnTo>
                    <a:pt x="644" y="1636"/>
                  </a:lnTo>
                  <a:cubicBezTo>
                    <a:pt x="625" y="1613"/>
                    <a:pt x="596" y="1600"/>
                    <a:pt x="567" y="1600"/>
                  </a:cubicBezTo>
                  <a:lnTo>
                    <a:pt x="300" y="1600"/>
                  </a:lnTo>
                  <a:cubicBezTo>
                    <a:pt x="245" y="1600"/>
                    <a:pt x="200" y="1555"/>
                    <a:pt x="200" y="15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2700" y="200"/>
                  </a:lnTo>
                  <a:cubicBezTo>
                    <a:pt x="2755" y="200"/>
                    <a:pt x="2800" y="245"/>
                    <a:pt x="2800" y="300"/>
                  </a:cubicBezTo>
                  <a:lnTo>
                    <a:pt x="2800" y="1500"/>
                  </a:lnTo>
                  <a:cubicBezTo>
                    <a:pt x="2800" y="1555"/>
                    <a:pt x="2755" y="1600"/>
                    <a:pt x="2700" y="1600"/>
                  </a:cubicBezTo>
                  <a:lnTo>
                    <a:pt x="1233" y="1600"/>
                  </a:lnTo>
                  <a:close/>
                  <a:moveTo>
                    <a:pt x="4100" y="2200"/>
                  </a:moveTo>
                  <a:cubicBezTo>
                    <a:pt x="4100" y="2255"/>
                    <a:pt x="4055" y="2300"/>
                    <a:pt x="4000" y="2300"/>
                  </a:cubicBezTo>
                  <a:lnTo>
                    <a:pt x="3333" y="2300"/>
                  </a:lnTo>
                  <a:cubicBezTo>
                    <a:pt x="3304" y="2300"/>
                    <a:pt x="3275" y="2313"/>
                    <a:pt x="3257" y="2336"/>
                  </a:cubicBezTo>
                  <a:lnTo>
                    <a:pt x="3000" y="2644"/>
                  </a:lnTo>
                  <a:lnTo>
                    <a:pt x="2744" y="2336"/>
                  </a:lnTo>
                  <a:cubicBezTo>
                    <a:pt x="2725" y="2313"/>
                    <a:pt x="2696" y="2300"/>
                    <a:pt x="2667" y="2300"/>
                  </a:cubicBezTo>
                  <a:lnTo>
                    <a:pt x="2000" y="2300"/>
                  </a:lnTo>
                  <a:cubicBezTo>
                    <a:pt x="1945" y="2300"/>
                    <a:pt x="1900" y="2255"/>
                    <a:pt x="1900" y="2200"/>
                  </a:cubicBezTo>
                  <a:lnTo>
                    <a:pt x="1900" y="1800"/>
                  </a:lnTo>
                  <a:lnTo>
                    <a:pt x="2700" y="1800"/>
                  </a:lnTo>
                  <a:cubicBezTo>
                    <a:pt x="2866" y="1800"/>
                    <a:pt x="3000" y="1666"/>
                    <a:pt x="3000" y="1500"/>
                  </a:cubicBezTo>
                  <a:lnTo>
                    <a:pt x="3000" y="1300"/>
                  </a:lnTo>
                  <a:lnTo>
                    <a:pt x="4000" y="1300"/>
                  </a:lnTo>
                  <a:cubicBezTo>
                    <a:pt x="4055" y="1300"/>
                    <a:pt x="4100" y="1345"/>
                    <a:pt x="4100" y="1400"/>
                  </a:cubicBezTo>
                  <a:lnTo>
                    <a:pt x="4100" y="2200"/>
                  </a:lnTo>
                  <a:close/>
                  <a:moveTo>
                    <a:pt x="5800" y="1800"/>
                  </a:moveTo>
                  <a:cubicBezTo>
                    <a:pt x="5800" y="1855"/>
                    <a:pt x="5755" y="1900"/>
                    <a:pt x="5700" y="1900"/>
                  </a:cubicBezTo>
                  <a:lnTo>
                    <a:pt x="5533" y="1900"/>
                  </a:lnTo>
                  <a:cubicBezTo>
                    <a:pt x="5504" y="1900"/>
                    <a:pt x="5475" y="1913"/>
                    <a:pt x="5457" y="1936"/>
                  </a:cubicBezTo>
                  <a:lnTo>
                    <a:pt x="5200" y="2244"/>
                  </a:lnTo>
                  <a:lnTo>
                    <a:pt x="4944" y="1936"/>
                  </a:lnTo>
                  <a:cubicBezTo>
                    <a:pt x="4925" y="1913"/>
                    <a:pt x="4896" y="1900"/>
                    <a:pt x="4867" y="1900"/>
                  </a:cubicBezTo>
                  <a:lnTo>
                    <a:pt x="4300" y="1900"/>
                  </a:lnTo>
                  <a:lnTo>
                    <a:pt x="4300" y="1400"/>
                  </a:lnTo>
                  <a:cubicBezTo>
                    <a:pt x="4300" y="1234"/>
                    <a:pt x="4166" y="1100"/>
                    <a:pt x="4000" y="1100"/>
                  </a:cubicBezTo>
                  <a:lnTo>
                    <a:pt x="4000" y="1000"/>
                  </a:lnTo>
                  <a:cubicBezTo>
                    <a:pt x="4000" y="945"/>
                    <a:pt x="4045" y="900"/>
                    <a:pt x="4100" y="900"/>
                  </a:cubicBezTo>
                  <a:lnTo>
                    <a:pt x="5700" y="900"/>
                  </a:lnTo>
                  <a:cubicBezTo>
                    <a:pt x="5755" y="900"/>
                    <a:pt x="5800" y="945"/>
                    <a:pt x="5800" y="1000"/>
                  </a:cubicBezTo>
                  <a:lnTo>
                    <a:pt x="5800" y="18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37">
              <a:extLst>
                <a:ext uri="{FF2B5EF4-FFF2-40B4-BE49-F238E27FC236}">
                  <a16:creationId xmlns:a16="http://schemas.microsoft.com/office/drawing/2014/main" id="{F5FCE90D-38E7-49BD-A82C-813C447B7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5" y="3764"/>
              <a:ext cx="5" cy="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438">
              <a:extLst>
                <a:ext uri="{FF2B5EF4-FFF2-40B4-BE49-F238E27FC236}">
                  <a16:creationId xmlns:a16="http://schemas.microsoft.com/office/drawing/2014/main" id="{A50614F4-C528-4468-B8DF-C206E0DC92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6" y="3764"/>
              <a:ext cx="6" cy="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439">
              <a:extLst>
                <a:ext uri="{FF2B5EF4-FFF2-40B4-BE49-F238E27FC236}">
                  <a16:creationId xmlns:a16="http://schemas.microsoft.com/office/drawing/2014/main" id="{F8ED721C-035B-409A-A75D-A61CF85DF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8" y="3764"/>
              <a:ext cx="5" cy="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440">
              <a:extLst>
                <a:ext uri="{FF2B5EF4-FFF2-40B4-BE49-F238E27FC236}">
                  <a16:creationId xmlns:a16="http://schemas.microsoft.com/office/drawing/2014/main" id="{2CCABF0A-BEC2-4C8E-B965-94BACF42B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5" y="3796"/>
              <a:ext cx="6" cy="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441">
              <a:extLst>
                <a:ext uri="{FF2B5EF4-FFF2-40B4-BE49-F238E27FC236}">
                  <a16:creationId xmlns:a16="http://schemas.microsoft.com/office/drawing/2014/main" id="{22BEE1A5-1460-499A-962F-3FBE97B924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97" y="3796"/>
              <a:ext cx="6" cy="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442">
              <a:extLst>
                <a:ext uri="{FF2B5EF4-FFF2-40B4-BE49-F238E27FC236}">
                  <a16:creationId xmlns:a16="http://schemas.microsoft.com/office/drawing/2014/main" id="{FF621E4D-713A-4159-92E2-3EF02120C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6" y="3784"/>
              <a:ext cx="5" cy="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443">
              <a:extLst>
                <a:ext uri="{FF2B5EF4-FFF2-40B4-BE49-F238E27FC236}">
                  <a16:creationId xmlns:a16="http://schemas.microsoft.com/office/drawing/2014/main" id="{70DA7184-08E5-4797-8BC9-F65914F54C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7" y="3784"/>
              <a:ext cx="6" cy="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Rectangle 444">
              <a:extLst>
                <a:ext uri="{FF2B5EF4-FFF2-40B4-BE49-F238E27FC236}">
                  <a16:creationId xmlns:a16="http://schemas.microsoft.com/office/drawing/2014/main" id="{086CDA2D-65DD-4176-9A62-5C8DAFBA5C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9" y="3784"/>
              <a:ext cx="6" cy="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445">
              <a:extLst>
                <a:ext uri="{FF2B5EF4-FFF2-40B4-BE49-F238E27FC236}">
                  <a16:creationId xmlns:a16="http://schemas.microsoft.com/office/drawing/2014/main" id="{07581D22-A487-467F-B2E8-3F5D8B411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4" y="3744"/>
              <a:ext cx="23" cy="23"/>
            </a:xfrm>
            <a:custGeom>
              <a:avLst/>
              <a:gdLst>
                <a:gd name="T0" fmla="*/ 0 w 800"/>
                <a:gd name="T1" fmla="*/ 0 h 800"/>
                <a:gd name="T2" fmla="*/ 0 w 800"/>
                <a:gd name="T3" fmla="*/ 200 h 800"/>
                <a:gd name="T4" fmla="*/ 600 w 800"/>
                <a:gd name="T5" fmla="*/ 800 h 800"/>
                <a:gd name="T6" fmla="*/ 800 w 800"/>
                <a:gd name="T7" fmla="*/ 800 h 800"/>
                <a:gd name="T8" fmla="*/ 0 w 800"/>
                <a:gd name="T9" fmla="*/ 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0" h="800">
                  <a:moveTo>
                    <a:pt x="0" y="0"/>
                  </a:moveTo>
                  <a:lnTo>
                    <a:pt x="0" y="200"/>
                  </a:lnTo>
                  <a:cubicBezTo>
                    <a:pt x="331" y="200"/>
                    <a:pt x="600" y="469"/>
                    <a:pt x="600" y="800"/>
                  </a:cubicBezTo>
                  <a:lnTo>
                    <a:pt x="800" y="800"/>
                  </a:lnTo>
                  <a:cubicBezTo>
                    <a:pt x="800" y="358"/>
                    <a:pt x="442" y="1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446">
              <a:extLst>
                <a:ext uri="{FF2B5EF4-FFF2-40B4-BE49-F238E27FC236}">
                  <a16:creationId xmlns:a16="http://schemas.microsoft.com/office/drawing/2014/main" id="{9524DCA4-01DE-45A7-9CBA-5FFA905B8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8" y="3819"/>
              <a:ext cx="23" cy="23"/>
            </a:xfrm>
            <a:custGeom>
              <a:avLst/>
              <a:gdLst>
                <a:gd name="T0" fmla="*/ 200 w 800"/>
                <a:gd name="T1" fmla="*/ 0 h 800"/>
                <a:gd name="T2" fmla="*/ 0 w 800"/>
                <a:gd name="T3" fmla="*/ 0 h 800"/>
                <a:gd name="T4" fmla="*/ 800 w 800"/>
                <a:gd name="T5" fmla="*/ 800 h 800"/>
                <a:gd name="T6" fmla="*/ 800 w 800"/>
                <a:gd name="T7" fmla="*/ 600 h 800"/>
                <a:gd name="T8" fmla="*/ 200 w 800"/>
                <a:gd name="T9" fmla="*/ 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0" h="800">
                  <a:moveTo>
                    <a:pt x="200" y="0"/>
                  </a:moveTo>
                  <a:lnTo>
                    <a:pt x="0" y="0"/>
                  </a:lnTo>
                  <a:cubicBezTo>
                    <a:pt x="1" y="442"/>
                    <a:pt x="358" y="799"/>
                    <a:pt x="800" y="800"/>
                  </a:cubicBezTo>
                  <a:lnTo>
                    <a:pt x="800" y="600"/>
                  </a:lnTo>
                  <a:cubicBezTo>
                    <a:pt x="469" y="600"/>
                    <a:pt x="200" y="331"/>
                    <a:pt x="2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222">
            <a:extLst>
              <a:ext uri="{FF2B5EF4-FFF2-40B4-BE49-F238E27FC236}">
                <a16:creationId xmlns:a16="http://schemas.microsoft.com/office/drawing/2014/main" id="{85B02C12-5B7E-43BA-AE1F-E3E063EE8DD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005721" y="1377164"/>
            <a:ext cx="729447" cy="700143"/>
            <a:chOff x="3236" y="2959"/>
            <a:chExt cx="697" cy="669"/>
          </a:xfrm>
          <a:solidFill>
            <a:srgbClr val="B1C7F7">
              <a:alpha val="50000"/>
            </a:srgbClr>
          </a:solidFill>
        </p:grpSpPr>
        <p:sp>
          <p:nvSpPr>
            <p:cNvPr id="111" name="Freeform 223">
              <a:extLst>
                <a:ext uri="{FF2B5EF4-FFF2-40B4-BE49-F238E27FC236}">
                  <a16:creationId xmlns:a16="http://schemas.microsoft.com/office/drawing/2014/main" id="{CE14D610-89A0-4ED5-AFF4-C1D36CC53F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6" y="3329"/>
              <a:ext cx="231" cy="173"/>
            </a:xfrm>
            <a:custGeom>
              <a:avLst/>
              <a:gdLst>
                <a:gd name="T0" fmla="*/ 2024 w 2117"/>
                <a:gd name="T1" fmla="*/ 873 h 1595"/>
                <a:gd name="T2" fmla="*/ 1930 w 2117"/>
                <a:gd name="T3" fmla="*/ 967 h 1595"/>
                <a:gd name="T4" fmla="*/ 1930 w 2117"/>
                <a:gd name="T5" fmla="*/ 1407 h 1595"/>
                <a:gd name="T6" fmla="*/ 188 w 2117"/>
                <a:gd name="T7" fmla="*/ 1407 h 1595"/>
                <a:gd name="T8" fmla="*/ 188 w 2117"/>
                <a:gd name="T9" fmla="*/ 782 h 1595"/>
                <a:gd name="T10" fmla="*/ 782 w 2117"/>
                <a:gd name="T11" fmla="*/ 188 h 1595"/>
                <a:gd name="T12" fmla="*/ 851 w 2117"/>
                <a:gd name="T13" fmla="*/ 188 h 1595"/>
                <a:gd name="T14" fmla="*/ 659 w 2117"/>
                <a:gd name="T15" fmla="*/ 839 h 1595"/>
                <a:gd name="T16" fmla="*/ 682 w 2117"/>
                <a:gd name="T17" fmla="*/ 931 h 1595"/>
                <a:gd name="T18" fmla="*/ 992 w 2117"/>
                <a:gd name="T19" fmla="*/ 1248 h 1595"/>
                <a:gd name="T20" fmla="*/ 1059 w 2117"/>
                <a:gd name="T21" fmla="*/ 1277 h 1595"/>
                <a:gd name="T22" fmla="*/ 1126 w 2117"/>
                <a:gd name="T23" fmla="*/ 1248 h 1595"/>
                <a:gd name="T24" fmla="*/ 1435 w 2117"/>
                <a:gd name="T25" fmla="*/ 931 h 1595"/>
                <a:gd name="T26" fmla="*/ 1458 w 2117"/>
                <a:gd name="T27" fmla="*/ 839 h 1595"/>
                <a:gd name="T28" fmla="*/ 1266 w 2117"/>
                <a:gd name="T29" fmla="*/ 188 h 1595"/>
                <a:gd name="T30" fmla="*/ 1293 w 2117"/>
                <a:gd name="T31" fmla="*/ 188 h 1595"/>
                <a:gd name="T32" fmla="*/ 1386 w 2117"/>
                <a:gd name="T33" fmla="*/ 94 h 1595"/>
                <a:gd name="T34" fmla="*/ 1293 w 2117"/>
                <a:gd name="T35" fmla="*/ 0 h 1595"/>
                <a:gd name="T36" fmla="*/ 1141 w 2117"/>
                <a:gd name="T37" fmla="*/ 0 h 1595"/>
                <a:gd name="T38" fmla="*/ 976 w 2117"/>
                <a:gd name="T39" fmla="*/ 0 h 1595"/>
                <a:gd name="T40" fmla="*/ 782 w 2117"/>
                <a:gd name="T41" fmla="*/ 0 h 1595"/>
                <a:gd name="T42" fmla="*/ 0 w 2117"/>
                <a:gd name="T43" fmla="*/ 782 h 1595"/>
                <a:gd name="T44" fmla="*/ 0 w 2117"/>
                <a:gd name="T45" fmla="*/ 1501 h 1595"/>
                <a:gd name="T46" fmla="*/ 94 w 2117"/>
                <a:gd name="T47" fmla="*/ 1595 h 1595"/>
                <a:gd name="T48" fmla="*/ 2024 w 2117"/>
                <a:gd name="T49" fmla="*/ 1595 h 1595"/>
                <a:gd name="T50" fmla="*/ 2117 w 2117"/>
                <a:gd name="T51" fmla="*/ 1501 h 1595"/>
                <a:gd name="T52" fmla="*/ 2117 w 2117"/>
                <a:gd name="T53" fmla="*/ 967 h 1595"/>
                <a:gd name="T54" fmla="*/ 2024 w 2117"/>
                <a:gd name="T55" fmla="*/ 873 h 1595"/>
                <a:gd name="T56" fmla="*/ 1071 w 2117"/>
                <a:gd name="T57" fmla="*/ 188 h 1595"/>
                <a:gd name="T58" fmla="*/ 1263 w 2117"/>
                <a:gd name="T59" fmla="*/ 840 h 1595"/>
                <a:gd name="T60" fmla="*/ 1059 w 2117"/>
                <a:gd name="T61" fmla="*/ 1049 h 1595"/>
                <a:gd name="T62" fmla="*/ 855 w 2117"/>
                <a:gd name="T63" fmla="*/ 840 h 1595"/>
                <a:gd name="T64" fmla="*/ 1047 w 2117"/>
                <a:gd name="T65" fmla="*/ 188 h 1595"/>
                <a:gd name="T66" fmla="*/ 1071 w 2117"/>
                <a:gd name="T67" fmla="*/ 188 h 1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17" h="1595">
                  <a:moveTo>
                    <a:pt x="2024" y="873"/>
                  </a:moveTo>
                  <a:cubicBezTo>
                    <a:pt x="1972" y="873"/>
                    <a:pt x="1930" y="915"/>
                    <a:pt x="1930" y="967"/>
                  </a:cubicBezTo>
                  <a:lnTo>
                    <a:pt x="1930" y="1407"/>
                  </a:lnTo>
                  <a:lnTo>
                    <a:pt x="188" y="1407"/>
                  </a:lnTo>
                  <a:lnTo>
                    <a:pt x="188" y="782"/>
                  </a:lnTo>
                  <a:cubicBezTo>
                    <a:pt x="188" y="454"/>
                    <a:pt x="454" y="188"/>
                    <a:pt x="782" y="188"/>
                  </a:cubicBezTo>
                  <a:lnTo>
                    <a:pt x="851" y="188"/>
                  </a:lnTo>
                  <a:lnTo>
                    <a:pt x="659" y="839"/>
                  </a:lnTo>
                  <a:cubicBezTo>
                    <a:pt x="650" y="872"/>
                    <a:pt x="659" y="907"/>
                    <a:pt x="682" y="931"/>
                  </a:cubicBezTo>
                  <a:lnTo>
                    <a:pt x="992" y="1248"/>
                  </a:lnTo>
                  <a:cubicBezTo>
                    <a:pt x="1009" y="1266"/>
                    <a:pt x="1033" y="1277"/>
                    <a:pt x="1059" y="1277"/>
                  </a:cubicBezTo>
                  <a:cubicBezTo>
                    <a:pt x="1084" y="1277"/>
                    <a:pt x="1108" y="1266"/>
                    <a:pt x="1126" y="1248"/>
                  </a:cubicBezTo>
                  <a:lnTo>
                    <a:pt x="1435" y="931"/>
                  </a:lnTo>
                  <a:cubicBezTo>
                    <a:pt x="1459" y="907"/>
                    <a:pt x="1468" y="872"/>
                    <a:pt x="1458" y="839"/>
                  </a:cubicBezTo>
                  <a:lnTo>
                    <a:pt x="1266" y="188"/>
                  </a:lnTo>
                  <a:lnTo>
                    <a:pt x="1293" y="188"/>
                  </a:lnTo>
                  <a:cubicBezTo>
                    <a:pt x="1344" y="188"/>
                    <a:pt x="1386" y="146"/>
                    <a:pt x="1386" y="94"/>
                  </a:cubicBezTo>
                  <a:cubicBezTo>
                    <a:pt x="1386" y="42"/>
                    <a:pt x="1344" y="0"/>
                    <a:pt x="1293" y="0"/>
                  </a:cubicBezTo>
                  <a:lnTo>
                    <a:pt x="1141" y="0"/>
                  </a:lnTo>
                  <a:lnTo>
                    <a:pt x="976" y="0"/>
                  </a:lnTo>
                  <a:lnTo>
                    <a:pt x="782" y="0"/>
                  </a:lnTo>
                  <a:cubicBezTo>
                    <a:pt x="351" y="0"/>
                    <a:pt x="0" y="351"/>
                    <a:pt x="0" y="782"/>
                  </a:cubicBezTo>
                  <a:lnTo>
                    <a:pt x="0" y="1501"/>
                  </a:lnTo>
                  <a:cubicBezTo>
                    <a:pt x="0" y="1553"/>
                    <a:pt x="42" y="1595"/>
                    <a:pt x="94" y="1595"/>
                  </a:cubicBezTo>
                  <a:lnTo>
                    <a:pt x="2024" y="1595"/>
                  </a:lnTo>
                  <a:cubicBezTo>
                    <a:pt x="2075" y="1595"/>
                    <a:pt x="2117" y="1553"/>
                    <a:pt x="2117" y="1501"/>
                  </a:cubicBezTo>
                  <a:lnTo>
                    <a:pt x="2117" y="967"/>
                  </a:lnTo>
                  <a:cubicBezTo>
                    <a:pt x="2117" y="915"/>
                    <a:pt x="2075" y="873"/>
                    <a:pt x="2024" y="873"/>
                  </a:cubicBezTo>
                  <a:close/>
                  <a:moveTo>
                    <a:pt x="1071" y="188"/>
                  </a:moveTo>
                  <a:lnTo>
                    <a:pt x="1263" y="840"/>
                  </a:lnTo>
                  <a:lnTo>
                    <a:pt x="1059" y="1049"/>
                  </a:lnTo>
                  <a:lnTo>
                    <a:pt x="855" y="840"/>
                  </a:lnTo>
                  <a:lnTo>
                    <a:pt x="1047" y="188"/>
                  </a:lnTo>
                  <a:lnTo>
                    <a:pt x="1071" y="18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224">
              <a:extLst>
                <a:ext uri="{FF2B5EF4-FFF2-40B4-BE49-F238E27FC236}">
                  <a16:creationId xmlns:a16="http://schemas.microsoft.com/office/drawing/2014/main" id="{019E9680-B3DD-4A76-A680-05DB69DB0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6" y="3084"/>
              <a:ext cx="191" cy="233"/>
            </a:xfrm>
            <a:custGeom>
              <a:avLst/>
              <a:gdLst>
                <a:gd name="T0" fmla="*/ 1759 w 1759"/>
                <a:gd name="T1" fmla="*/ 1028 h 2138"/>
                <a:gd name="T2" fmla="*/ 1757 w 1759"/>
                <a:gd name="T3" fmla="*/ 822 h 2138"/>
                <a:gd name="T4" fmla="*/ 1748 w 1759"/>
                <a:gd name="T5" fmla="*/ 740 h 2138"/>
                <a:gd name="T6" fmla="*/ 1737 w 1759"/>
                <a:gd name="T7" fmla="*/ 683 h 2138"/>
                <a:gd name="T8" fmla="*/ 1716 w 1759"/>
                <a:gd name="T9" fmla="*/ 607 h 2138"/>
                <a:gd name="T10" fmla="*/ 1695 w 1759"/>
                <a:gd name="T11" fmla="*/ 550 h 2138"/>
                <a:gd name="T12" fmla="*/ 1665 w 1759"/>
                <a:gd name="T13" fmla="*/ 484 h 2138"/>
                <a:gd name="T14" fmla="*/ 1633 w 1759"/>
                <a:gd name="T15" fmla="*/ 426 h 2138"/>
                <a:gd name="T16" fmla="*/ 1529 w 1759"/>
                <a:gd name="T17" fmla="*/ 287 h 2138"/>
                <a:gd name="T18" fmla="*/ 1478 w 1759"/>
                <a:gd name="T19" fmla="*/ 235 h 2138"/>
                <a:gd name="T20" fmla="*/ 1452 w 1759"/>
                <a:gd name="T21" fmla="*/ 212 h 2138"/>
                <a:gd name="T22" fmla="*/ 1438 w 1759"/>
                <a:gd name="T23" fmla="*/ 201 h 2138"/>
                <a:gd name="T24" fmla="*/ 1406 w 1759"/>
                <a:gd name="T25" fmla="*/ 175 h 2138"/>
                <a:gd name="T26" fmla="*/ 1386 w 1759"/>
                <a:gd name="T27" fmla="*/ 161 h 2138"/>
                <a:gd name="T28" fmla="*/ 1369 w 1759"/>
                <a:gd name="T29" fmla="*/ 149 h 2138"/>
                <a:gd name="T30" fmla="*/ 1337 w 1759"/>
                <a:gd name="T31" fmla="*/ 128 h 2138"/>
                <a:gd name="T32" fmla="*/ 1310 w 1759"/>
                <a:gd name="T33" fmla="*/ 113 h 2138"/>
                <a:gd name="T34" fmla="*/ 1296 w 1759"/>
                <a:gd name="T35" fmla="*/ 105 h 2138"/>
                <a:gd name="T36" fmla="*/ 1281 w 1759"/>
                <a:gd name="T37" fmla="*/ 97 h 2138"/>
                <a:gd name="T38" fmla="*/ 1227 w 1759"/>
                <a:gd name="T39" fmla="*/ 72 h 2138"/>
                <a:gd name="T40" fmla="*/ 1180 w 1759"/>
                <a:gd name="T41" fmla="*/ 53 h 2138"/>
                <a:gd name="T42" fmla="*/ 927 w 1759"/>
                <a:gd name="T43" fmla="*/ 1 h 2138"/>
                <a:gd name="T44" fmla="*/ 418 w 1759"/>
                <a:gd name="T45" fmla="*/ 131 h 2138"/>
                <a:gd name="T46" fmla="*/ 880 w 1759"/>
                <a:gd name="T47" fmla="*/ 188 h 2138"/>
                <a:gd name="T48" fmla="*/ 955 w 1759"/>
                <a:gd name="T49" fmla="*/ 192 h 2138"/>
                <a:gd name="T50" fmla="*/ 1012 w 1759"/>
                <a:gd name="T51" fmla="*/ 200 h 2138"/>
                <a:gd name="T52" fmla="*/ 1066 w 1759"/>
                <a:gd name="T53" fmla="*/ 213 h 2138"/>
                <a:gd name="T54" fmla="*/ 1126 w 1759"/>
                <a:gd name="T55" fmla="*/ 233 h 2138"/>
                <a:gd name="T56" fmla="*/ 1191 w 1759"/>
                <a:gd name="T57" fmla="*/ 262 h 2138"/>
                <a:gd name="T58" fmla="*/ 1236 w 1759"/>
                <a:gd name="T59" fmla="*/ 287 h 2138"/>
                <a:gd name="T60" fmla="*/ 1265 w 1759"/>
                <a:gd name="T61" fmla="*/ 305 h 2138"/>
                <a:gd name="T62" fmla="*/ 1296 w 1759"/>
                <a:gd name="T63" fmla="*/ 327 h 2138"/>
                <a:gd name="T64" fmla="*/ 1337 w 1759"/>
                <a:gd name="T65" fmla="*/ 361 h 2138"/>
                <a:gd name="T66" fmla="*/ 1375 w 1759"/>
                <a:gd name="T67" fmla="*/ 397 h 2138"/>
                <a:gd name="T68" fmla="*/ 1412 w 1759"/>
                <a:gd name="T69" fmla="*/ 438 h 2138"/>
                <a:gd name="T70" fmla="*/ 1472 w 1759"/>
                <a:gd name="T71" fmla="*/ 523 h 2138"/>
                <a:gd name="T72" fmla="*/ 1496 w 1759"/>
                <a:gd name="T73" fmla="*/ 566 h 2138"/>
                <a:gd name="T74" fmla="*/ 1521 w 1759"/>
                <a:gd name="T75" fmla="*/ 620 h 2138"/>
                <a:gd name="T76" fmla="*/ 1537 w 1759"/>
                <a:gd name="T77" fmla="*/ 663 h 2138"/>
                <a:gd name="T78" fmla="*/ 1554 w 1759"/>
                <a:gd name="T79" fmla="*/ 725 h 2138"/>
                <a:gd name="T80" fmla="*/ 1563 w 1759"/>
                <a:gd name="T81" fmla="*/ 769 h 2138"/>
                <a:gd name="T82" fmla="*/ 1570 w 1759"/>
                <a:gd name="T83" fmla="*/ 834 h 2138"/>
                <a:gd name="T84" fmla="*/ 1572 w 1759"/>
                <a:gd name="T85" fmla="*/ 914 h 2138"/>
                <a:gd name="T86" fmla="*/ 1099 w 1759"/>
                <a:gd name="T87" fmla="*/ 659 h 2138"/>
                <a:gd name="T88" fmla="*/ 188 w 1759"/>
                <a:gd name="T89" fmla="*/ 879 h 2138"/>
                <a:gd name="T90" fmla="*/ 125 w 1759"/>
                <a:gd name="T91" fmla="*/ 427 h 2138"/>
                <a:gd name="T92" fmla="*/ 0 w 1759"/>
                <a:gd name="T93" fmla="*/ 1258 h 2138"/>
                <a:gd name="T94" fmla="*/ 472 w 1759"/>
                <a:gd name="T95" fmla="*/ 1125 h 2138"/>
                <a:gd name="T96" fmla="*/ 1572 w 1759"/>
                <a:gd name="T97" fmla="*/ 1258 h 2138"/>
                <a:gd name="T98" fmla="*/ 188 w 1759"/>
                <a:gd name="T99" fmla="*/ 1085 h 2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59" h="2138">
                  <a:moveTo>
                    <a:pt x="880" y="2138"/>
                  </a:moveTo>
                  <a:cubicBezTo>
                    <a:pt x="1365" y="2138"/>
                    <a:pt x="1759" y="1743"/>
                    <a:pt x="1759" y="1258"/>
                  </a:cubicBezTo>
                  <a:lnTo>
                    <a:pt x="1759" y="1028"/>
                  </a:lnTo>
                  <a:lnTo>
                    <a:pt x="1759" y="879"/>
                  </a:lnTo>
                  <a:cubicBezTo>
                    <a:pt x="1759" y="864"/>
                    <a:pt x="1759" y="848"/>
                    <a:pt x="1758" y="833"/>
                  </a:cubicBezTo>
                  <a:cubicBezTo>
                    <a:pt x="1758" y="829"/>
                    <a:pt x="1757" y="826"/>
                    <a:pt x="1757" y="822"/>
                  </a:cubicBezTo>
                  <a:cubicBezTo>
                    <a:pt x="1756" y="810"/>
                    <a:pt x="1755" y="798"/>
                    <a:pt x="1754" y="786"/>
                  </a:cubicBezTo>
                  <a:cubicBezTo>
                    <a:pt x="1754" y="782"/>
                    <a:pt x="1753" y="779"/>
                    <a:pt x="1753" y="775"/>
                  </a:cubicBezTo>
                  <a:cubicBezTo>
                    <a:pt x="1751" y="763"/>
                    <a:pt x="1750" y="752"/>
                    <a:pt x="1748" y="740"/>
                  </a:cubicBezTo>
                  <a:cubicBezTo>
                    <a:pt x="1747" y="736"/>
                    <a:pt x="1747" y="733"/>
                    <a:pt x="1746" y="729"/>
                  </a:cubicBezTo>
                  <a:cubicBezTo>
                    <a:pt x="1744" y="718"/>
                    <a:pt x="1742" y="706"/>
                    <a:pt x="1739" y="695"/>
                  </a:cubicBezTo>
                  <a:cubicBezTo>
                    <a:pt x="1739" y="691"/>
                    <a:pt x="1738" y="687"/>
                    <a:pt x="1737" y="683"/>
                  </a:cubicBezTo>
                  <a:cubicBezTo>
                    <a:pt x="1734" y="672"/>
                    <a:pt x="1731" y="661"/>
                    <a:pt x="1729" y="650"/>
                  </a:cubicBezTo>
                  <a:cubicBezTo>
                    <a:pt x="1727" y="646"/>
                    <a:pt x="1726" y="642"/>
                    <a:pt x="1725" y="638"/>
                  </a:cubicBezTo>
                  <a:cubicBezTo>
                    <a:pt x="1722" y="627"/>
                    <a:pt x="1719" y="617"/>
                    <a:pt x="1716" y="607"/>
                  </a:cubicBezTo>
                  <a:cubicBezTo>
                    <a:pt x="1714" y="602"/>
                    <a:pt x="1713" y="598"/>
                    <a:pt x="1711" y="593"/>
                  </a:cubicBezTo>
                  <a:cubicBezTo>
                    <a:pt x="1708" y="584"/>
                    <a:pt x="1704" y="574"/>
                    <a:pt x="1700" y="564"/>
                  </a:cubicBezTo>
                  <a:cubicBezTo>
                    <a:pt x="1699" y="559"/>
                    <a:pt x="1697" y="555"/>
                    <a:pt x="1695" y="550"/>
                  </a:cubicBezTo>
                  <a:cubicBezTo>
                    <a:pt x="1691" y="541"/>
                    <a:pt x="1687" y="532"/>
                    <a:pt x="1684" y="524"/>
                  </a:cubicBezTo>
                  <a:cubicBezTo>
                    <a:pt x="1681" y="518"/>
                    <a:pt x="1679" y="513"/>
                    <a:pt x="1676" y="507"/>
                  </a:cubicBezTo>
                  <a:cubicBezTo>
                    <a:pt x="1673" y="499"/>
                    <a:pt x="1669" y="492"/>
                    <a:pt x="1665" y="484"/>
                  </a:cubicBezTo>
                  <a:cubicBezTo>
                    <a:pt x="1662" y="478"/>
                    <a:pt x="1659" y="472"/>
                    <a:pt x="1656" y="466"/>
                  </a:cubicBezTo>
                  <a:cubicBezTo>
                    <a:pt x="1652" y="460"/>
                    <a:pt x="1649" y="453"/>
                    <a:pt x="1645" y="447"/>
                  </a:cubicBezTo>
                  <a:cubicBezTo>
                    <a:pt x="1641" y="440"/>
                    <a:pt x="1637" y="433"/>
                    <a:pt x="1633" y="426"/>
                  </a:cubicBezTo>
                  <a:cubicBezTo>
                    <a:pt x="1630" y="422"/>
                    <a:pt x="1627" y="417"/>
                    <a:pt x="1625" y="413"/>
                  </a:cubicBezTo>
                  <a:cubicBezTo>
                    <a:pt x="1598" y="371"/>
                    <a:pt x="1568" y="331"/>
                    <a:pt x="1535" y="294"/>
                  </a:cubicBezTo>
                  <a:cubicBezTo>
                    <a:pt x="1533" y="292"/>
                    <a:pt x="1531" y="289"/>
                    <a:pt x="1529" y="287"/>
                  </a:cubicBezTo>
                  <a:cubicBezTo>
                    <a:pt x="1522" y="280"/>
                    <a:pt x="1515" y="272"/>
                    <a:pt x="1508" y="265"/>
                  </a:cubicBezTo>
                  <a:cubicBezTo>
                    <a:pt x="1505" y="261"/>
                    <a:pt x="1501" y="258"/>
                    <a:pt x="1498" y="255"/>
                  </a:cubicBezTo>
                  <a:cubicBezTo>
                    <a:pt x="1491" y="248"/>
                    <a:pt x="1484" y="242"/>
                    <a:pt x="1478" y="235"/>
                  </a:cubicBezTo>
                  <a:cubicBezTo>
                    <a:pt x="1473" y="231"/>
                    <a:pt x="1469" y="228"/>
                    <a:pt x="1465" y="224"/>
                  </a:cubicBezTo>
                  <a:cubicBezTo>
                    <a:pt x="1462" y="221"/>
                    <a:pt x="1458" y="218"/>
                    <a:pt x="1455" y="215"/>
                  </a:cubicBezTo>
                  <a:cubicBezTo>
                    <a:pt x="1454" y="214"/>
                    <a:pt x="1453" y="213"/>
                    <a:pt x="1452" y="212"/>
                  </a:cubicBezTo>
                  <a:cubicBezTo>
                    <a:pt x="1450" y="211"/>
                    <a:pt x="1449" y="209"/>
                    <a:pt x="1447" y="208"/>
                  </a:cubicBezTo>
                  <a:cubicBezTo>
                    <a:pt x="1444" y="206"/>
                    <a:pt x="1442" y="204"/>
                    <a:pt x="1439" y="201"/>
                  </a:cubicBezTo>
                  <a:cubicBezTo>
                    <a:pt x="1439" y="201"/>
                    <a:pt x="1439" y="201"/>
                    <a:pt x="1438" y="201"/>
                  </a:cubicBezTo>
                  <a:cubicBezTo>
                    <a:pt x="1435" y="198"/>
                    <a:pt x="1431" y="194"/>
                    <a:pt x="1427" y="191"/>
                  </a:cubicBezTo>
                  <a:cubicBezTo>
                    <a:pt x="1423" y="189"/>
                    <a:pt x="1420" y="186"/>
                    <a:pt x="1417" y="184"/>
                  </a:cubicBezTo>
                  <a:cubicBezTo>
                    <a:pt x="1413" y="181"/>
                    <a:pt x="1410" y="178"/>
                    <a:pt x="1406" y="175"/>
                  </a:cubicBezTo>
                  <a:cubicBezTo>
                    <a:pt x="1406" y="175"/>
                    <a:pt x="1405" y="175"/>
                    <a:pt x="1405" y="175"/>
                  </a:cubicBezTo>
                  <a:cubicBezTo>
                    <a:pt x="1403" y="173"/>
                    <a:pt x="1400" y="171"/>
                    <a:pt x="1398" y="169"/>
                  </a:cubicBezTo>
                  <a:cubicBezTo>
                    <a:pt x="1394" y="166"/>
                    <a:pt x="1390" y="164"/>
                    <a:pt x="1386" y="161"/>
                  </a:cubicBezTo>
                  <a:cubicBezTo>
                    <a:pt x="1382" y="158"/>
                    <a:pt x="1377" y="154"/>
                    <a:pt x="1372" y="151"/>
                  </a:cubicBezTo>
                  <a:lnTo>
                    <a:pt x="1371" y="150"/>
                  </a:lnTo>
                  <a:cubicBezTo>
                    <a:pt x="1370" y="150"/>
                    <a:pt x="1369" y="149"/>
                    <a:pt x="1369" y="149"/>
                  </a:cubicBezTo>
                  <a:cubicBezTo>
                    <a:pt x="1364" y="146"/>
                    <a:pt x="1360" y="143"/>
                    <a:pt x="1355" y="140"/>
                  </a:cubicBezTo>
                  <a:cubicBezTo>
                    <a:pt x="1350" y="136"/>
                    <a:pt x="1344" y="133"/>
                    <a:pt x="1338" y="129"/>
                  </a:cubicBezTo>
                  <a:cubicBezTo>
                    <a:pt x="1338" y="129"/>
                    <a:pt x="1337" y="129"/>
                    <a:pt x="1337" y="128"/>
                  </a:cubicBezTo>
                  <a:cubicBezTo>
                    <a:pt x="1336" y="128"/>
                    <a:pt x="1335" y="127"/>
                    <a:pt x="1333" y="126"/>
                  </a:cubicBezTo>
                  <a:cubicBezTo>
                    <a:pt x="1330" y="124"/>
                    <a:pt x="1327" y="122"/>
                    <a:pt x="1323" y="120"/>
                  </a:cubicBezTo>
                  <a:cubicBezTo>
                    <a:pt x="1319" y="118"/>
                    <a:pt x="1315" y="115"/>
                    <a:pt x="1310" y="113"/>
                  </a:cubicBezTo>
                  <a:lnTo>
                    <a:pt x="1309" y="112"/>
                  </a:lnTo>
                  <a:cubicBezTo>
                    <a:pt x="1306" y="111"/>
                    <a:pt x="1304" y="110"/>
                    <a:pt x="1302" y="108"/>
                  </a:cubicBezTo>
                  <a:cubicBezTo>
                    <a:pt x="1300" y="107"/>
                    <a:pt x="1298" y="106"/>
                    <a:pt x="1296" y="105"/>
                  </a:cubicBezTo>
                  <a:cubicBezTo>
                    <a:pt x="1294" y="104"/>
                    <a:pt x="1292" y="103"/>
                    <a:pt x="1290" y="102"/>
                  </a:cubicBezTo>
                  <a:cubicBezTo>
                    <a:pt x="1288" y="101"/>
                    <a:pt x="1286" y="100"/>
                    <a:pt x="1284" y="99"/>
                  </a:cubicBezTo>
                  <a:lnTo>
                    <a:pt x="1281" y="97"/>
                  </a:lnTo>
                  <a:cubicBezTo>
                    <a:pt x="1277" y="95"/>
                    <a:pt x="1273" y="93"/>
                    <a:pt x="1268" y="91"/>
                  </a:cubicBezTo>
                  <a:cubicBezTo>
                    <a:pt x="1265" y="89"/>
                    <a:pt x="1261" y="87"/>
                    <a:pt x="1258" y="85"/>
                  </a:cubicBezTo>
                  <a:cubicBezTo>
                    <a:pt x="1247" y="81"/>
                    <a:pt x="1237" y="76"/>
                    <a:pt x="1227" y="72"/>
                  </a:cubicBezTo>
                  <a:cubicBezTo>
                    <a:pt x="1224" y="70"/>
                    <a:pt x="1220" y="69"/>
                    <a:pt x="1217" y="67"/>
                  </a:cubicBezTo>
                  <a:cubicBezTo>
                    <a:pt x="1205" y="63"/>
                    <a:pt x="1194" y="58"/>
                    <a:pt x="1183" y="54"/>
                  </a:cubicBezTo>
                  <a:cubicBezTo>
                    <a:pt x="1182" y="53"/>
                    <a:pt x="1181" y="53"/>
                    <a:pt x="1180" y="53"/>
                  </a:cubicBezTo>
                  <a:cubicBezTo>
                    <a:pt x="1113" y="28"/>
                    <a:pt x="1043" y="12"/>
                    <a:pt x="971" y="5"/>
                  </a:cubicBezTo>
                  <a:cubicBezTo>
                    <a:pt x="970" y="5"/>
                    <a:pt x="969" y="5"/>
                    <a:pt x="968" y="4"/>
                  </a:cubicBezTo>
                  <a:cubicBezTo>
                    <a:pt x="954" y="3"/>
                    <a:pt x="941" y="2"/>
                    <a:pt x="927" y="1"/>
                  </a:cubicBezTo>
                  <a:cubicBezTo>
                    <a:pt x="925" y="1"/>
                    <a:pt x="923" y="1"/>
                    <a:pt x="922" y="1"/>
                  </a:cubicBezTo>
                  <a:cubicBezTo>
                    <a:pt x="908" y="0"/>
                    <a:pt x="894" y="0"/>
                    <a:pt x="880" y="0"/>
                  </a:cubicBezTo>
                  <a:cubicBezTo>
                    <a:pt x="716" y="0"/>
                    <a:pt x="556" y="45"/>
                    <a:pt x="418" y="131"/>
                  </a:cubicBezTo>
                  <a:cubicBezTo>
                    <a:pt x="374" y="158"/>
                    <a:pt x="360" y="216"/>
                    <a:pt x="387" y="260"/>
                  </a:cubicBezTo>
                  <a:cubicBezTo>
                    <a:pt x="414" y="304"/>
                    <a:pt x="472" y="318"/>
                    <a:pt x="516" y="291"/>
                  </a:cubicBezTo>
                  <a:cubicBezTo>
                    <a:pt x="625" y="223"/>
                    <a:pt x="751" y="188"/>
                    <a:pt x="880" y="188"/>
                  </a:cubicBezTo>
                  <a:cubicBezTo>
                    <a:pt x="893" y="188"/>
                    <a:pt x="905" y="188"/>
                    <a:pt x="918" y="189"/>
                  </a:cubicBezTo>
                  <a:cubicBezTo>
                    <a:pt x="923" y="189"/>
                    <a:pt x="928" y="189"/>
                    <a:pt x="933" y="190"/>
                  </a:cubicBezTo>
                  <a:cubicBezTo>
                    <a:pt x="941" y="190"/>
                    <a:pt x="948" y="191"/>
                    <a:pt x="955" y="192"/>
                  </a:cubicBezTo>
                  <a:cubicBezTo>
                    <a:pt x="962" y="192"/>
                    <a:pt x="968" y="193"/>
                    <a:pt x="974" y="194"/>
                  </a:cubicBezTo>
                  <a:cubicBezTo>
                    <a:pt x="980" y="195"/>
                    <a:pt x="986" y="196"/>
                    <a:pt x="992" y="197"/>
                  </a:cubicBezTo>
                  <a:cubicBezTo>
                    <a:pt x="999" y="198"/>
                    <a:pt x="1006" y="199"/>
                    <a:pt x="1012" y="200"/>
                  </a:cubicBezTo>
                  <a:cubicBezTo>
                    <a:pt x="1018" y="201"/>
                    <a:pt x="1023" y="203"/>
                    <a:pt x="1029" y="204"/>
                  </a:cubicBezTo>
                  <a:cubicBezTo>
                    <a:pt x="1035" y="205"/>
                    <a:pt x="1042" y="207"/>
                    <a:pt x="1049" y="208"/>
                  </a:cubicBezTo>
                  <a:cubicBezTo>
                    <a:pt x="1055" y="210"/>
                    <a:pt x="1061" y="212"/>
                    <a:pt x="1066" y="213"/>
                  </a:cubicBezTo>
                  <a:cubicBezTo>
                    <a:pt x="1072" y="215"/>
                    <a:pt x="1078" y="217"/>
                    <a:pt x="1084" y="218"/>
                  </a:cubicBezTo>
                  <a:cubicBezTo>
                    <a:pt x="1096" y="222"/>
                    <a:pt x="1107" y="226"/>
                    <a:pt x="1118" y="230"/>
                  </a:cubicBezTo>
                  <a:cubicBezTo>
                    <a:pt x="1121" y="231"/>
                    <a:pt x="1123" y="232"/>
                    <a:pt x="1126" y="233"/>
                  </a:cubicBezTo>
                  <a:cubicBezTo>
                    <a:pt x="1136" y="237"/>
                    <a:pt x="1145" y="241"/>
                    <a:pt x="1155" y="245"/>
                  </a:cubicBezTo>
                  <a:cubicBezTo>
                    <a:pt x="1158" y="246"/>
                    <a:pt x="1160" y="247"/>
                    <a:pt x="1163" y="248"/>
                  </a:cubicBezTo>
                  <a:cubicBezTo>
                    <a:pt x="1172" y="253"/>
                    <a:pt x="1182" y="257"/>
                    <a:pt x="1191" y="262"/>
                  </a:cubicBezTo>
                  <a:cubicBezTo>
                    <a:pt x="1197" y="265"/>
                    <a:pt x="1202" y="267"/>
                    <a:pt x="1208" y="270"/>
                  </a:cubicBezTo>
                  <a:cubicBezTo>
                    <a:pt x="1209" y="271"/>
                    <a:pt x="1210" y="272"/>
                    <a:pt x="1212" y="272"/>
                  </a:cubicBezTo>
                  <a:cubicBezTo>
                    <a:pt x="1220" y="277"/>
                    <a:pt x="1228" y="282"/>
                    <a:pt x="1236" y="287"/>
                  </a:cubicBezTo>
                  <a:cubicBezTo>
                    <a:pt x="1238" y="288"/>
                    <a:pt x="1239" y="289"/>
                    <a:pt x="1241" y="290"/>
                  </a:cubicBezTo>
                  <a:cubicBezTo>
                    <a:pt x="1241" y="290"/>
                    <a:pt x="1241" y="290"/>
                    <a:pt x="1241" y="290"/>
                  </a:cubicBezTo>
                  <a:cubicBezTo>
                    <a:pt x="1249" y="295"/>
                    <a:pt x="1257" y="300"/>
                    <a:pt x="1265" y="305"/>
                  </a:cubicBezTo>
                  <a:cubicBezTo>
                    <a:pt x="1266" y="306"/>
                    <a:pt x="1268" y="307"/>
                    <a:pt x="1269" y="308"/>
                  </a:cubicBezTo>
                  <a:cubicBezTo>
                    <a:pt x="1277" y="313"/>
                    <a:pt x="1284" y="318"/>
                    <a:pt x="1291" y="324"/>
                  </a:cubicBezTo>
                  <a:cubicBezTo>
                    <a:pt x="1293" y="325"/>
                    <a:pt x="1294" y="326"/>
                    <a:pt x="1296" y="327"/>
                  </a:cubicBezTo>
                  <a:cubicBezTo>
                    <a:pt x="1303" y="333"/>
                    <a:pt x="1310" y="338"/>
                    <a:pt x="1317" y="344"/>
                  </a:cubicBezTo>
                  <a:cubicBezTo>
                    <a:pt x="1319" y="345"/>
                    <a:pt x="1320" y="346"/>
                    <a:pt x="1321" y="347"/>
                  </a:cubicBezTo>
                  <a:cubicBezTo>
                    <a:pt x="1327" y="352"/>
                    <a:pt x="1332" y="356"/>
                    <a:pt x="1337" y="361"/>
                  </a:cubicBezTo>
                  <a:cubicBezTo>
                    <a:pt x="1342" y="365"/>
                    <a:pt x="1346" y="369"/>
                    <a:pt x="1351" y="373"/>
                  </a:cubicBezTo>
                  <a:cubicBezTo>
                    <a:pt x="1355" y="377"/>
                    <a:pt x="1360" y="382"/>
                    <a:pt x="1364" y="386"/>
                  </a:cubicBezTo>
                  <a:cubicBezTo>
                    <a:pt x="1368" y="390"/>
                    <a:pt x="1372" y="394"/>
                    <a:pt x="1375" y="397"/>
                  </a:cubicBezTo>
                  <a:cubicBezTo>
                    <a:pt x="1380" y="402"/>
                    <a:pt x="1385" y="407"/>
                    <a:pt x="1389" y="412"/>
                  </a:cubicBezTo>
                  <a:cubicBezTo>
                    <a:pt x="1392" y="415"/>
                    <a:pt x="1395" y="419"/>
                    <a:pt x="1399" y="423"/>
                  </a:cubicBezTo>
                  <a:cubicBezTo>
                    <a:pt x="1403" y="428"/>
                    <a:pt x="1408" y="433"/>
                    <a:pt x="1412" y="438"/>
                  </a:cubicBezTo>
                  <a:cubicBezTo>
                    <a:pt x="1415" y="442"/>
                    <a:pt x="1418" y="445"/>
                    <a:pt x="1420" y="448"/>
                  </a:cubicBezTo>
                  <a:cubicBezTo>
                    <a:pt x="1435" y="467"/>
                    <a:pt x="1449" y="487"/>
                    <a:pt x="1462" y="507"/>
                  </a:cubicBezTo>
                  <a:cubicBezTo>
                    <a:pt x="1466" y="512"/>
                    <a:pt x="1469" y="517"/>
                    <a:pt x="1472" y="523"/>
                  </a:cubicBezTo>
                  <a:cubicBezTo>
                    <a:pt x="1475" y="527"/>
                    <a:pt x="1477" y="531"/>
                    <a:pt x="1480" y="535"/>
                  </a:cubicBezTo>
                  <a:cubicBezTo>
                    <a:pt x="1483" y="542"/>
                    <a:pt x="1487" y="548"/>
                    <a:pt x="1490" y="554"/>
                  </a:cubicBezTo>
                  <a:cubicBezTo>
                    <a:pt x="1492" y="558"/>
                    <a:pt x="1494" y="562"/>
                    <a:pt x="1496" y="566"/>
                  </a:cubicBezTo>
                  <a:cubicBezTo>
                    <a:pt x="1500" y="573"/>
                    <a:pt x="1503" y="580"/>
                    <a:pt x="1506" y="586"/>
                  </a:cubicBezTo>
                  <a:cubicBezTo>
                    <a:pt x="1508" y="590"/>
                    <a:pt x="1510" y="594"/>
                    <a:pt x="1511" y="597"/>
                  </a:cubicBezTo>
                  <a:cubicBezTo>
                    <a:pt x="1515" y="605"/>
                    <a:pt x="1518" y="612"/>
                    <a:pt x="1521" y="620"/>
                  </a:cubicBezTo>
                  <a:cubicBezTo>
                    <a:pt x="1522" y="623"/>
                    <a:pt x="1524" y="627"/>
                    <a:pt x="1525" y="630"/>
                  </a:cubicBezTo>
                  <a:cubicBezTo>
                    <a:pt x="1528" y="638"/>
                    <a:pt x="1531" y="646"/>
                    <a:pt x="1534" y="654"/>
                  </a:cubicBezTo>
                  <a:cubicBezTo>
                    <a:pt x="1535" y="657"/>
                    <a:pt x="1536" y="660"/>
                    <a:pt x="1537" y="663"/>
                  </a:cubicBezTo>
                  <a:cubicBezTo>
                    <a:pt x="1540" y="672"/>
                    <a:pt x="1542" y="681"/>
                    <a:pt x="1545" y="689"/>
                  </a:cubicBezTo>
                  <a:cubicBezTo>
                    <a:pt x="1546" y="692"/>
                    <a:pt x="1546" y="695"/>
                    <a:pt x="1547" y="698"/>
                  </a:cubicBezTo>
                  <a:cubicBezTo>
                    <a:pt x="1550" y="707"/>
                    <a:pt x="1552" y="716"/>
                    <a:pt x="1554" y="725"/>
                  </a:cubicBezTo>
                  <a:cubicBezTo>
                    <a:pt x="1555" y="728"/>
                    <a:pt x="1555" y="730"/>
                    <a:pt x="1556" y="733"/>
                  </a:cubicBezTo>
                  <a:cubicBezTo>
                    <a:pt x="1558" y="742"/>
                    <a:pt x="1560" y="752"/>
                    <a:pt x="1561" y="761"/>
                  </a:cubicBezTo>
                  <a:cubicBezTo>
                    <a:pt x="1562" y="764"/>
                    <a:pt x="1562" y="766"/>
                    <a:pt x="1563" y="769"/>
                  </a:cubicBezTo>
                  <a:cubicBezTo>
                    <a:pt x="1564" y="778"/>
                    <a:pt x="1565" y="788"/>
                    <a:pt x="1567" y="797"/>
                  </a:cubicBezTo>
                  <a:cubicBezTo>
                    <a:pt x="1567" y="800"/>
                    <a:pt x="1567" y="803"/>
                    <a:pt x="1568" y="806"/>
                  </a:cubicBezTo>
                  <a:cubicBezTo>
                    <a:pt x="1569" y="815"/>
                    <a:pt x="1569" y="825"/>
                    <a:pt x="1570" y="834"/>
                  </a:cubicBezTo>
                  <a:cubicBezTo>
                    <a:pt x="1570" y="837"/>
                    <a:pt x="1570" y="840"/>
                    <a:pt x="1571" y="843"/>
                  </a:cubicBezTo>
                  <a:cubicBezTo>
                    <a:pt x="1571" y="855"/>
                    <a:pt x="1572" y="867"/>
                    <a:pt x="1572" y="879"/>
                  </a:cubicBezTo>
                  <a:lnTo>
                    <a:pt x="1572" y="914"/>
                  </a:lnTo>
                  <a:cubicBezTo>
                    <a:pt x="1439" y="875"/>
                    <a:pt x="1324" y="790"/>
                    <a:pt x="1247" y="671"/>
                  </a:cubicBezTo>
                  <a:cubicBezTo>
                    <a:pt x="1231" y="646"/>
                    <a:pt x="1205" y="631"/>
                    <a:pt x="1176" y="628"/>
                  </a:cubicBezTo>
                  <a:cubicBezTo>
                    <a:pt x="1147" y="626"/>
                    <a:pt x="1118" y="637"/>
                    <a:pt x="1099" y="659"/>
                  </a:cubicBezTo>
                  <a:cubicBezTo>
                    <a:pt x="939" y="836"/>
                    <a:pt x="710" y="938"/>
                    <a:pt x="472" y="938"/>
                  </a:cubicBezTo>
                  <a:cubicBezTo>
                    <a:pt x="374" y="938"/>
                    <a:pt x="279" y="921"/>
                    <a:pt x="188" y="889"/>
                  </a:cubicBezTo>
                  <a:lnTo>
                    <a:pt x="188" y="879"/>
                  </a:lnTo>
                  <a:cubicBezTo>
                    <a:pt x="188" y="754"/>
                    <a:pt x="222" y="631"/>
                    <a:pt x="286" y="524"/>
                  </a:cubicBezTo>
                  <a:cubicBezTo>
                    <a:pt x="313" y="479"/>
                    <a:pt x="298" y="422"/>
                    <a:pt x="254" y="395"/>
                  </a:cubicBezTo>
                  <a:cubicBezTo>
                    <a:pt x="210" y="368"/>
                    <a:pt x="152" y="383"/>
                    <a:pt x="125" y="427"/>
                  </a:cubicBezTo>
                  <a:cubicBezTo>
                    <a:pt x="44" y="563"/>
                    <a:pt x="0" y="720"/>
                    <a:pt x="0" y="879"/>
                  </a:cubicBezTo>
                  <a:lnTo>
                    <a:pt x="0" y="952"/>
                  </a:lnTo>
                  <a:lnTo>
                    <a:pt x="0" y="1258"/>
                  </a:lnTo>
                  <a:cubicBezTo>
                    <a:pt x="0" y="1743"/>
                    <a:pt x="395" y="2138"/>
                    <a:pt x="880" y="2138"/>
                  </a:cubicBezTo>
                  <a:close/>
                  <a:moveTo>
                    <a:pt x="188" y="1085"/>
                  </a:moveTo>
                  <a:cubicBezTo>
                    <a:pt x="280" y="1112"/>
                    <a:pt x="375" y="1125"/>
                    <a:pt x="472" y="1125"/>
                  </a:cubicBezTo>
                  <a:cubicBezTo>
                    <a:pt x="726" y="1125"/>
                    <a:pt x="970" y="1031"/>
                    <a:pt x="1158" y="864"/>
                  </a:cubicBezTo>
                  <a:cubicBezTo>
                    <a:pt x="1267" y="987"/>
                    <a:pt x="1411" y="1072"/>
                    <a:pt x="1572" y="1107"/>
                  </a:cubicBezTo>
                  <a:lnTo>
                    <a:pt x="1572" y="1258"/>
                  </a:lnTo>
                  <a:cubicBezTo>
                    <a:pt x="1572" y="1640"/>
                    <a:pt x="1261" y="1950"/>
                    <a:pt x="880" y="1950"/>
                  </a:cubicBezTo>
                  <a:cubicBezTo>
                    <a:pt x="498" y="1950"/>
                    <a:pt x="188" y="1640"/>
                    <a:pt x="188" y="1258"/>
                  </a:cubicBezTo>
                  <a:lnTo>
                    <a:pt x="188" y="10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225">
              <a:extLst>
                <a:ext uri="{FF2B5EF4-FFF2-40B4-BE49-F238E27FC236}">
                  <a16:creationId xmlns:a16="http://schemas.microsoft.com/office/drawing/2014/main" id="{D9288ECE-67F0-44EB-9009-7A4301B049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0" y="3145"/>
              <a:ext cx="300" cy="313"/>
            </a:xfrm>
            <a:custGeom>
              <a:avLst/>
              <a:gdLst>
                <a:gd name="T0" fmla="*/ 2570 w 2760"/>
                <a:gd name="T1" fmla="*/ 1986 h 2877"/>
                <a:gd name="T2" fmla="*/ 2408 w 2760"/>
                <a:gd name="T3" fmla="*/ 2272 h 2877"/>
                <a:gd name="T4" fmla="*/ 1915 w 2760"/>
                <a:gd name="T5" fmla="*/ 1781 h 2877"/>
                <a:gd name="T6" fmla="*/ 2141 w 2760"/>
                <a:gd name="T7" fmla="*/ 1216 h 2877"/>
                <a:gd name="T8" fmla="*/ 1755 w 2760"/>
                <a:gd name="T9" fmla="*/ 1050 h 2877"/>
                <a:gd name="T10" fmla="*/ 1570 w 2760"/>
                <a:gd name="T11" fmla="*/ 335 h 2877"/>
                <a:gd name="T12" fmla="*/ 1647 w 2760"/>
                <a:gd name="T13" fmla="*/ 234 h 2877"/>
                <a:gd name="T14" fmla="*/ 2540 w 2760"/>
                <a:gd name="T15" fmla="*/ 1628 h 2877"/>
                <a:gd name="T16" fmla="*/ 2563 w 2760"/>
                <a:gd name="T17" fmla="*/ 1047 h 2877"/>
                <a:gd name="T18" fmla="*/ 1493 w 2760"/>
                <a:gd name="T19" fmla="*/ 114 h 2877"/>
                <a:gd name="T20" fmla="*/ 942 w 2760"/>
                <a:gd name="T21" fmla="*/ 1125 h 2877"/>
                <a:gd name="T22" fmla="*/ 392 w 2760"/>
                <a:gd name="T23" fmla="*/ 2320 h 2877"/>
                <a:gd name="T24" fmla="*/ 443 w 2760"/>
                <a:gd name="T25" fmla="*/ 2339 h 2877"/>
                <a:gd name="T26" fmla="*/ 479 w 2760"/>
                <a:gd name="T27" fmla="*/ 2349 h 2877"/>
                <a:gd name="T28" fmla="*/ 520 w 2760"/>
                <a:gd name="T29" fmla="*/ 2357 h 2877"/>
                <a:gd name="T30" fmla="*/ 557 w 2760"/>
                <a:gd name="T31" fmla="*/ 2361 h 2877"/>
                <a:gd name="T32" fmla="*/ 598 w 2760"/>
                <a:gd name="T33" fmla="*/ 2363 h 2877"/>
                <a:gd name="T34" fmla="*/ 623 w 2760"/>
                <a:gd name="T35" fmla="*/ 2363 h 2877"/>
                <a:gd name="T36" fmla="*/ 902 w 2760"/>
                <a:gd name="T37" fmla="*/ 2856 h 2877"/>
                <a:gd name="T38" fmla="*/ 1235 w 2760"/>
                <a:gd name="T39" fmla="*/ 2723 h 2877"/>
                <a:gd name="T40" fmla="*/ 1336 w 2760"/>
                <a:gd name="T41" fmla="*/ 2110 h 2877"/>
                <a:gd name="T42" fmla="*/ 2426 w 2760"/>
                <a:gd name="T43" fmla="*/ 2461 h 2877"/>
                <a:gd name="T44" fmla="*/ 2757 w 2760"/>
                <a:gd name="T45" fmla="*/ 1995 h 2877"/>
                <a:gd name="T46" fmla="*/ 1967 w 2760"/>
                <a:gd name="T47" fmla="*/ 1285 h 2877"/>
                <a:gd name="T48" fmla="*/ 1759 w 2760"/>
                <a:gd name="T49" fmla="*/ 1476 h 2877"/>
                <a:gd name="T50" fmla="*/ 1720 w 2760"/>
                <a:gd name="T51" fmla="*/ 1384 h 2877"/>
                <a:gd name="T52" fmla="*/ 1685 w 2760"/>
                <a:gd name="T53" fmla="*/ 1292 h 2877"/>
                <a:gd name="T54" fmla="*/ 283 w 2760"/>
                <a:gd name="T55" fmla="*/ 1960 h 2877"/>
                <a:gd name="T56" fmla="*/ 1026 w 2760"/>
                <a:gd name="T57" fmla="*/ 2032 h 2877"/>
                <a:gd name="T58" fmla="*/ 665 w 2760"/>
                <a:gd name="T59" fmla="*/ 2169 h 2877"/>
                <a:gd name="T60" fmla="*/ 1063 w 2760"/>
                <a:gd name="T61" fmla="*/ 2649 h 2877"/>
                <a:gd name="T62" fmla="*/ 941 w 2760"/>
                <a:gd name="T63" fmla="*/ 2648 h 2877"/>
                <a:gd name="T64" fmla="*/ 1063 w 2760"/>
                <a:gd name="T65" fmla="*/ 2599 h 2877"/>
                <a:gd name="T66" fmla="*/ 1298 w 2760"/>
                <a:gd name="T67" fmla="*/ 1923 h 2877"/>
                <a:gd name="T68" fmla="*/ 1043 w 2760"/>
                <a:gd name="T69" fmla="*/ 1286 h 2877"/>
                <a:gd name="T70" fmla="*/ 1359 w 2760"/>
                <a:gd name="T71" fmla="*/ 742 h 2877"/>
                <a:gd name="T72" fmla="*/ 1368 w 2760"/>
                <a:gd name="T73" fmla="*/ 808 h 2877"/>
                <a:gd name="T74" fmla="*/ 1376 w 2760"/>
                <a:gd name="T75" fmla="*/ 862 h 2877"/>
                <a:gd name="T76" fmla="*/ 1392 w 2760"/>
                <a:gd name="T77" fmla="*/ 946 h 2877"/>
                <a:gd name="T78" fmla="*/ 1404 w 2760"/>
                <a:gd name="T79" fmla="*/ 1005 h 2877"/>
                <a:gd name="T80" fmla="*/ 1421 w 2760"/>
                <a:gd name="T81" fmla="*/ 1075 h 2877"/>
                <a:gd name="T82" fmla="*/ 1438 w 2760"/>
                <a:gd name="T83" fmla="*/ 1138 h 2877"/>
                <a:gd name="T84" fmla="*/ 1459 w 2760"/>
                <a:gd name="T85" fmla="*/ 1208 h 2877"/>
                <a:gd name="T86" fmla="*/ 1480 w 2760"/>
                <a:gd name="T87" fmla="*/ 1272 h 2877"/>
                <a:gd name="T88" fmla="*/ 1505 w 2760"/>
                <a:gd name="T89" fmla="*/ 1345 h 2877"/>
                <a:gd name="T90" fmla="*/ 1528 w 2760"/>
                <a:gd name="T91" fmla="*/ 1408 h 2877"/>
                <a:gd name="T92" fmla="*/ 1571 w 2760"/>
                <a:gd name="T93" fmla="*/ 1515 h 2877"/>
                <a:gd name="T94" fmla="*/ 1603 w 2760"/>
                <a:gd name="T95" fmla="*/ 1588 h 2877"/>
                <a:gd name="T96" fmla="*/ 1633 w 2760"/>
                <a:gd name="T97" fmla="*/ 1651 h 2877"/>
                <a:gd name="T98" fmla="*/ 1665 w 2760"/>
                <a:gd name="T99" fmla="*/ 1716 h 2877"/>
                <a:gd name="T100" fmla="*/ 1696 w 2760"/>
                <a:gd name="T101" fmla="*/ 1775 h 2877"/>
                <a:gd name="T102" fmla="*/ 1730 w 2760"/>
                <a:gd name="T103" fmla="*/ 1837 h 2877"/>
                <a:gd name="T104" fmla="*/ 1763 w 2760"/>
                <a:gd name="T105" fmla="*/ 1892 h 2877"/>
                <a:gd name="T106" fmla="*/ 1800 w 2760"/>
                <a:gd name="T107" fmla="*/ 1953 h 2877"/>
                <a:gd name="T108" fmla="*/ 1840 w 2760"/>
                <a:gd name="T109" fmla="*/ 2012 h 2877"/>
                <a:gd name="T110" fmla="*/ 1878 w 2760"/>
                <a:gd name="T111" fmla="*/ 2066 h 2877"/>
                <a:gd name="T112" fmla="*/ 1906 w 2760"/>
                <a:gd name="T113" fmla="*/ 2102 h 2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60" h="2877">
                  <a:moveTo>
                    <a:pt x="2757" y="1995"/>
                  </a:moveTo>
                  <a:cubicBezTo>
                    <a:pt x="2760" y="1943"/>
                    <a:pt x="2720" y="1899"/>
                    <a:pt x="2668" y="1897"/>
                  </a:cubicBezTo>
                  <a:cubicBezTo>
                    <a:pt x="2616" y="1894"/>
                    <a:pt x="2572" y="1934"/>
                    <a:pt x="2570" y="1986"/>
                  </a:cubicBezTo>
                  <a:cubicBezTo>
                    <a:pt x="2563" y="2138"/>
                    <a:pt x="2522" y="2243"/>
                    <a:pt x="2461" y="2267"/>
                  </a:cubicBezTo>
                  <a:cubicBezTo>
                    <a:pt x="2452" y="2271"/>
                    <a:pt x="2441" y="2273"/>
                    <a:pt x="2429" y="2273"/>
                  </a:cubicBezTo>
                  <a:cubicBezTo>
                    <a:pt x="2422" y="2273"/>
                    <a:pt x="2415" y="2273"/>
                    <a:pt x="2408" y="2272"/>
                  </a:cubicBezTo>
                  <a:cubicBezTo>
                    <a:pt x="2386" y="2268"/>
                    <a:pt x="2362" y="2260"/>
                    <a:pt x="2336" y="2247"/>
                  </a:cubicBezTo>
                  <a:cubicBezTo>
                    <a:pt x="2336" y="2247"/>
                    <a:pt x="2336" y="2247"/>
                    <a:pt x="2336" y="2247"/>
                  </a:cubicBezTo>
                  <a:cubicBezTo>
                    <a:pt x="2203" y="2180"/>
                    <a:pt x="2051" y="2008"/>
                    <a:pt x="1915" y="1781"/>
                  </a:cubicBezTo>
                  <a:cubicBezTo>
                    <a:pt x="1891" y="1740"/>
                    <a:pt x="1868" y="1698"/>
                    <a:pt x="1845" y="1655"/>
                  </a:cubicBezTo>
                  <a:lnTo>
                    <a:pt x="1976" y="1602"/>
                  </a:lnTo>
                  <a:cubicBezTo>
                    <a:pt x="2128" y="1541"/>
                    <a:pt x="2202" y="1368"/>
                    <a:pt x="2141" y="1216"/>
                  </a:cubicBezTo>
                  <a:lnTo>
                    <a:pt x="2141" y="1216"/>
                  </a:lnTo>
                  <a:cubicBezTo>
                    <a:pt x="2112" y="1142"/>
                    <a:pt x="2056" y="1084"/>
                    <a:pt x="1983" y="1053"/>
                  </a:cubicBezTo>
                  <a:cubicBezTo>
                    <a:pt x="1910" y="1022"/>
                    <a:pt x="1829" y="1021"/>
                    <a:pt x="1755" y="1050"/>
                  </a:cubicBezTo>
                  <a:lnTo>
                    <a:pt x="1624" y="1103"/>
                  </a:lnTo>
                  <a:cubicBezTo>
                    <a:pt x="1534" y="789"/>
                    <a:pt x="1511" y="500"/>
                    <a:pt x="1570" y="335"/>
                  </a:cubicBezTo>
                  <a:cubicBezTo>
                    <a:pt x="1570" y="335"/>
                    <a:pt x="1570" y="335"/>
                    <a:pt x="1570" y="335"/>
                  </a:cubicBezTo>
                  <a:cubicBezTo>
                    <a:pt x="1580" y="308"/>
                    <a:pt x="1592" y="285"/>
                    <a:pt x="1605" y="268"/>
                  </a:cubicBezTo>
                  <a:cubicBezTo>
                    <a:pt x="1610" y="262"/>
                    <a:pt x="1615" y="257"/>
                    <a:pt x="1620" y="252"/>
                  </a:cubicBezTo>
                  <a:cubicBezTo>
                    <a:pt x="1628" y="244"/>
                    <a:pt x="1637" y="238"/>
                    <a:pt x="1647" y="234"/>
                  </a:cubicBezTo>
                  <a:cubicBezTo>
                    <a:pt x="1718" y="206"/>
                    <a:pt x="1842" y="275"/>
                    <a:pt x="1971" y="415"/>
                  </a:cubicBezTo>
                  <a:cubicBezTo>
                    <a:pt x="2126" y="583"/>
                    <a:pt x="2275" y="832"/>
                    <a:pt x="2389" y="1117"/>
                  </a:cubicBezTo>
                  <a:cubicBezTo>
                    <a:pt x="2457" y="1289"/>
                    <a:pt x="2510" y="1465"/>
                    <a:pt x="2540" y="1628"/>
                  </a:cubicBezTo>
                  <a:cubicBezTo>
                    <a:pt x="2550" y="1679"/>
                    <a:pt x="2599" y="1713"/>
                    <a:pt x="2650" y="1703"/>
                  </a:cubicBezTo>
                  <a:cubicBezTo>
                    <a:pt x="2700" y="1694"/>
                    <a:pt x="2734" y="1645"/>
                    <a:pt x="2725" y="1594"/>
                  </a:cubicBezTo>
                  <a:cubicBezTo>
                    <a:pt x="2692" y="1417"/>
                    <a:pt x="2637" y="1233"/>
                    <a:pt x="2563" y="1047"/>
                  </a:cubicBezTo>
                  <a:cubicBezTo>
                    <a:pt x="2440" y="742"/>
                    <a:pt x="2279" y="472"/>
                    <a:pt x="2109" y="288"/>
                  </a:cubicBezTo>
                  <a:cubicBezTo>
                    <a:pt x="1917" y="80"/>
                    <a:pt x="1729" y="0"/>
                    <a:pt x="1578" y="60"/>
                  </a:cubicBezTo>
                  <a:cubicBezTo>
                    <a:pt x="1547" y="73"/>
                    <a:pt x="1518" y="91"/>
                    <a:pt x="1493" y="114"/>
                  </a:cubicBezTo>
                  <a:cubicBezTo>
                    <a:pt x="1480" y="126"/>
                    <a:pt x="1468" y="139"/>
                    <a:pt x="1457" y="153"/>
                  </a:cubicBezTo>
                  <a:cubicBezTo>
                    <a:pt x="1433" y="184"/>
                    <a:pt x="1413" y="221"/>
                    <a:pt x="1397" y="264"/>
                  </a:cubicBezTo>
                  <a:lnTo>
                    <a:pt x="942" y="1125"/>
                  </a:lnTo>
                  <a:lnTo>
                    <a:pt x="404" y="1341"/>
                  </a:lnTo>
                  <a:cubicBezTo>
                    <a:pt x="133" y="1449"/>
                    <a:pt x="0" y="1759"/>
                    <a:pt x="109" y="2030"/>
                  </a:cubicBezTo>
                  <a:cubicBezTo>
                    <a:pt x="162" y="2161"/>
                    <a:pt x="262" y="2265"/>
                    <a:pt x="392" y="2320"/>
                  </a:cubicBezTo>
                  <a:cubicBezTo>
                    <a:pt x="401" y="2324"/>
                    <a:pt x="409" y="2327"/>
                    <a:pt x="417" y="2330"/>
                  </a:cubicBezTo>
                  <a:cubicBezTo>
                    <a:pt x="420" y="2331"/>
                    <a:pt x="423" y="2332"/>
                    <a:pt x="426" y="2333"/>
                  </a:cubicBezTo>
                  <a:cubicBezTo>
                    <a:pt x="431" y="2335"/>
                    <a:pt x="437" y="2337"/>
                    <a:pt x="443" y="2339"/>
                  </a:cubicBezTo>
                  <a:cubicBezTo>
                    <a:pt x="446" y="2340"/>
                    <a:pt x="449" y="2341"/>
                    <a:pt x="453" y="2342"/>
                  </a:cubicBezTo>
                  <a:cubicBezTo>
                    <a:pt x="458" y="2343"/>
                    <a:pt x="463" y="2345"/>
                    <a:pt x="468" y="2346"/>
                  </a:cubicBezTo>
                  <a:cubicBezTo>
                    <a:pt x="472" y="2347"/>
                    <a:pt x="475" y="2348"/>
                    <a:pt x="479" y="2349"/>
                  </a:cubicBezTo>
                  <a:cubicBezTo>
                    <a:pt x="484" y="2350"/>
                    <a:pt x="489" y="2351"/>
                    <a:pt x="494" y="2352"/>
                  </a:cubicBezTo>
                  <a:cubicBezTo>
                    <a:pt x="497" y="2353"/>
                    <a:pt x="501" y="2354"/>
                    <a:pt x="505" y="2354"/>
                  </a:cubicBezTo>
                  <a:cubicBezTo>
                    <a:pt x="510" y="2355"/>
                    <a:pt x="515" y="2356"/>
                    <a:pt x="520" y="2357"/>
                  </a:cubicBezTo>
                  <a:cubicBezTo>
                    <a:pt x="523" y="2358"/>
                    <a:pt x="527" y="2358"/>
                    <a:pt x="531" y="2358"/>
                  </a:cubicBezTo>
                  <a:cubicBezTo>
                    <a:pt x="536" y="2359"/>
                    <a:pt x="541" y="2360"/>
                    <a:pt x="546" y="2360"/>
                  </a:cubicBezTo>
                  <a:cubicBezTo>
                    <a:pt x="550" y="2361"/>
                    <a:pt x="553" y="2361"/>
                    <a:pt x="557" y="2361"/>
                  </a:cubicBezTo>
                  <a:cubicBezTo>
                    <a:pt x="562" y="2362"/>
                    <a:pt x="567" y="2362"/>
                    <a:pt x="572" y="2362"/>
                  </a:cubicBezTo>
                  <a:cubicBezTo>
                    <a:pt x="576" y="2363"/>
                    <a:pt x="580" y="2363"/>
                    <a:pt x="583" y="2363"/>
                  </a:cubicBezTo>
                  <a:cubicBezTo>
                    <a:pt x="588" y="2363"/>
                    <a:pt x="593" y="2363"/>
                    <a:pt x="598" y="2363"/>
                  </a:cubicBezTo>
                  <a:cubicBezTo>
                    <a:pt x="599" y="2363"/>
                    <a:pt x="600" y="2363"/>
                    <a:pt x="601" y="2363"/>
                  </a:cubicBezTo>
                  <a:cubicBezTo>
                    <a:pt x="604" y="2363"/>
                    <a:pt x="608" y="2363"/>
                    <a:pt x="611" y="2363"/>
                  </a:cubicBezTo>
                  <a:cubicBezTo>
                    <a:pt x="615" y="2363"/>
                    <a:pt x="619" y="2363"/>
                    <a:pt x="623" y="2363"/>
                  </a:cubicBezTo>
                  <a:cubicBezTo>
                    <a:pt x="624" y="2363"/>
                    <a:pt x="624" y="2363"/>
                    <a:pt x="625" y="2363"/>
                  </a:cubicBezTo>
                  <a:lnTo>
                    <a:pt x="767" y="2717"/>
                  </a:lnTo>
                  <a:cubicBezTo>
                    <a:pt x="792" y="2780"/>
                    <a:pt x="840" y="2830"/>
                    <a:pt x="902" y="2856"/>
                  </a:cubicBezTo>
                  <a:cubicBezTo>
                    <a:pt x="935" y="2870"/>
                    <a:pt x="968" y="2877"/>
                    <a:pt x="1002" y="2877"/>
                  </a:cubicBezTo>
                  <a:cubicBezTo>
                    <a:pt x="1034" y="2877"/>
                    <a:pt x="1066" y="2871"/>
                    <a:pt x="1096" y="2858"/>
                  </a:cubicBezTo>
                  <a:cubicBezTo>
                    <a:pt x="1159" y="2833"/>
                    <a:pt x="1208" y="2785"/>
                    <a:pt x="1235" y="2723"/>
                  </a:cubicBezTo>
                  <a:cubicBezTo>
                    <a:pt x="1262" y="2661"/>
                    <a:pt x="1262" y="2592"/>
                    <a:pt x="1237" y="2529"/>
                  </a:cubicBezTo>
                  <a:lnTo>
                    <a:pt x="1106" y="2202"/>
                  </a:lnTo>
                  <a:lnTo>
                    <a:pt x="1336" y="2110"/>
                  </a:lnTo>
                  <a:lnTo>
                    <a:pt x="2259" y="2418"/>
                  </a:lnTo>
                  <a:cubicBezTo>
                    <a:pt x="2300" y="2438"/>
                    <a:pt x="2341" y="2451"/>
                    <a:pt x="2380" y="2457"/>
                  </a:cubicBezTo>
                  <a:cubicBezTo>
                    <a:pt x="2396" y="2459"/>
                    <a:pt x="2411" y="2461"/>
                    <a:pt x="2426" y="2461"/>
                  </a:cubicBezTo>
                  <a:cubicBezTo>
                    <a:pt x="2428" y="2461"/>
                    <a:pt x="2431" y="2461"/>
                    <a:pt x="2433" y="2460"/>
                  </a:cubicBezTo>
                  <a:cubicBezTo>
                    <a:pt x="2467" y="2460"/>
                    <a:pt x="2500" y="2453"/>
                    <a:pt x="2531" y="2441"/>
                  </a:cubicBezTo>
                  <a:cubicBezTo>
                    <a:pt x="2626" y="2403"/>
                    <a:pt x="2743" y="2295"/>
                    <a:pt x="2757" y="1995"/>
                  </a:cubicBezTo>
                  <a:close/>
                  <a:moveTo>
                    <a:pt x="1825" y="1224"/>
                  </a:moveTo>
                  <a:cubicBezTo>
                    <a:pt x="1852" y="1214"/>
                    <a:pt x="1882" y="1214"/>
                    <a:pt x="1909" y="1225"/>
                  </a:cubicBezTo>
                  <a:cubicBezTo>
                    <a:pt x="1936" y="1237"/>
                    <a:pt x="1957" y="1258"/>
                    <a:pt x="1967" y="1285"/>
                  </a:cubicBezTo>
                  <a:cubicBezTo>
                    <a:pt x="1990" y="1342"/>
                    <a:pt x="1963" y="1406"/>
                    <a:pt x="1906" y="1428"/>
                  </a:cubicBezTo>
                  <a:lnTo>
                    <a:pt x="1763" y="1485"/>
                  </a:lnTo>
                  <a:cubicBezTo>
                    <a:pt x="1762" y="1482"/>
                    <a:pt x="1760" y="1479"/>
                    <a:pt x="1759" y="1476"/>
                  </a:cubicBezTo>
                  <a:cubicBezTo>
                    <a:pt x="1754" y="1465"/>
                    <a:pt x="1749" y="1455"/>
                    <a:pt x="1745" y="1444"/>
                  </a:cubicBezTo>
                  <a:cubicBezTo>
                    <a:pt x="1743" y="1439"/>
                    <a:pt x="1741" y="1435"/>
                    <a:pt x="1739" y="1430"/>
                  </a:cubicBezTo>
                  <a:cubicBezTo>
                    <a:pt x="1733" y="1415"/>
                    <a:pt x="1726" y="1400"/>
                    <a:pt x="1720" y="1384"/>
                  </a:cubicBezTo>
                  <a:cubicBezTo>
                    <a:pt x="1714" y="1369"/>
                    <a:pt x="1708" y="1354"/>
                    <a:pt x="1702" y="1338"/>
                  </a:cubicBezTo>
                  <a:cubicBezTo>
                    <a:pt x="1701" y="1334"/>
                    <a:pt x="1699" y="1329"/>
                    <a:pt x="1697" y="1324"/>
                  </a:cubicBezTo>
                  <a:cubicBezTo>
                    <a:pt x="1693" y="1313"/>
                    <a:pt x="1689" y="1303"/>
                    <a:pt x="1685" y="1292"/>
                  </a:cubicBezTo>
                  <a:cubicBezTo>
                    <a:pt x="1684" y="1288"/>
                    <a:pt x="1683" y="1285"/>
                    <a:pt x="1681" y="1282"/>
                  </a:cubicBezTo>
                  <a:lnTo>
                    <a:pt x="1825" y="1224"/>
                  </a:lnTo>
                  <a:close/>
                  <a:moveTo>
                    <a:pt x="283" y="1960"/>
                  </a:moveTo>
                  <a:cubicBezTo>
                    <a:pt x="213" y="1785"/>
                    <a:pt x="298" y="1585"/>
                    <a:pt x="474" y="1515"/>
                  </a:cubicBezTo>
                  <a:lnTo>
                    <a:pt x="771" y="1396"/>
                  </a:lnTo>
                  <a:cubicBezTo>
                    <a:pt x="817" y="1623"/>
                    <a:pt x="902" y="1836"/>
                    <a:pt x="1026" y="2032"/>
                  </a:cubicBezTo>
                  <a:lnTo>
                    <a:pt x="728" y="2151"/>
                  </a:lnTo>
                  <a:cubicBezTo>
                    <a:pt x="709" y="2159"/>
                    <a:pt x="688" y="2165"/>
                    <a:pt x="667" y="2169"/>
                  </a:cubicBezTo>
                  <a:cubicBezTo>
                    <a:pt x="666" y="2169"/>
                    <a:pt x="666" y="2169"/>
                    <a:pt x="665" y="2169"/>
                  </a:cubicBezTo>
                  <a:cubicBezTo>
                    <a:pt x="599" y="2182"/>
                    <a:pt x="530" y="2175"/>
                    <a:pt x="466" y="2148"/>
                  </a:cubicBezTo>
                  <a:cubicBezTo>
                    <a:pt x="382" y="2112"/>
                    <a:pt x="317" y="2045"/>
                    <a:pt x="283" y="1960"/>
                  </a:cubicBezTo>
                  <a:close/>
                  <a:moveTo>
                    <a:pt x="1063" y="2649"/>
                  </a:moveTo>
                  <a:cubicBezTo>
                    <a:pt x="1056" y="2665"/>
                    <a:pt x="1043" y="2678"/>
                    <a:pt x="1027" y="2684"/>
                  </a:cubicBezTo>
                  <a:cubicBezTo>
                    <a:pt x="1010" y="2691"/>
                    <a:pt x="992" y="2691"/>
                    <a:pt x="976" y="2684"/>
                  </a:cubicBezTo>
                  <a:cubicBezTo>
                    <a:pt x="960" y="2677"/>
                    <a:pt x="948" y="2664"/>
                    <a:pt x="941" y="2648"/>
                  </a:cubicBezTo>
                  <a:lnTo>
                    <a:pt x="810" y="2320"/>
                  </a:lnTo>
                  <a:lnTo>
                    <a:pt x="932" y="2271"/>
                  </a:lnTo>
                  <a:lnTo>
                    <a:pt x="1063" y="2599"/>
                  </a:lnTo>
                  <a:cubicBezTo>
                    <a:pt x="1070" y="2615"/>
                    <a:pt x="1070" y="2633"/>
                    <a:pt x="1063" y="2649"/>
                  </a:cubicBezTo>
                  <a:close/>
                  <a:moveTo>
                    <a:pt x="1363" y="1921"/>
                  </a:moveTo>
                  <a:cubicBezTo>
                    <a:pt x="1342" y="1914"/>
                    <a:pt x="1319" y="1914"/>
                    <a:pt x="1298" y="1923"/>
                  </a:cubicBezTo>
                  <a:lnTo>
                    <a:pt x="1203" y="1961"/>
                  </a:lnTo>
                  <a:cubicBezTo>
                    <a:pt x="1075" y="1767"/>
                    <a:pt x="990" y="1553"/>
                    <a:pt x="948" y="1325"/>
                  </a:cubicBezTo>
                  <a:lnTo>
                    <a:pt x="1043" y="1286"/>
                  </a:lnTo>
                  <a:cubicBezTo>
                    <a:pt x="1064" y="1278"/>
                    <a:pt x="1081" y="1263"/>
                    <a:pt x="1091" y="1243"/>
                  </a:cubicBezTo>
                  <a:lnTo>
                    <a:pt x="1359" y="737"/>
                  </a:lnTo>
                  <a:cubicBezTo>
                    <a:pt x="1359" y="739"/>
                    <a:pt x="1359" y="740"/>
                    <a:pt x="1359" y="742"/>
                  </a:cubicBezTo>
                  <a:cubicBezTo>
                    <a:pt x="1360" y="750"/>
                    <a:pt x="1361" y="758"/>
                    <a:pt x="1362" y="766"/>
                  </a:cubicBezTo>
                  <a:cubicBezTo>
                    <a:pt x="1363" y="771"/>
                    <a:pt x="1363" y="776"/>
                    <a:pt x="1364" y="781"/>
                  </a:cubicBezTo>
                  <a:cubicBezTo>
                    <a:pt x="1365" y="790"/>
                    <a:pt x="1366" y="799"/>
                    <a:pt x="1368" y="808"/>
                  </a:cubicBezTo>
                  <a:cubicBezTo>
                    <a:pt x="1368" y="813"/>
                    <a:pt x="1369" y="817"/>
                    <a:pt x="1370" y="822"/>
                  </a:cubicBezTo>
                  <a:cubicBezTo>
                    <a:pt x="1371" y="833"/>
                    <a:pt x="1373" y="844"/>
                    <a:pt x="1375" y="856"/>
                  </a:cubicBezTo>
                  <a:cubicBezTo>
                    <a:pt x="1375" y="858"/>
                    <a:pt x="1376" y="860"/>
                    <a:pt x="1376" y="862"/>
                  </a:cubicBezTo>
                  <a:cubicBezTo>
                    <a:pt x="1378" y="876"/>
                    <a:pt x="1381" y="890"/>
                    <a:pt x="1383" y="904"/>
                  </a:cubicBezTo>
                  <a:cubicBezTo>
                    <a:pt x="1384" y="907"/>
                    <a:pt x="1384" y="909"/>
                    <a:pt x="1385" y="911"/>
                  </a:cubicBezTo>
                  <a:cubicBezTo>
                    <a:pt x="1387" y="923"/>
                    <a:pt x="1389" y="934"/>
                    <a:pt x="1392" y="946"/>
                  </a:cubicBezTo>
                  <a:cubicBezTo>
                    <a:pt x="1392" y="951"/>
                    <a:pt x="1393" y="955"/>
                    <a:pt x="1394" y="960"/>
                  </a:cubicBezTo>
                  <a:cubicBezTo>
                    <a:pt x="1396" y="969"/>
                    <a:pt x="1398" y="979"/>
                    <a:pt x="1401" y="989"/>
                  </a:cubicBezTo>
                  <a:cubicBezTo>
                    <a:pt x="1402" y="994"/>
                    <a:pt x="1403" y="999"/>
                    <a:pt x="1404" y="1005"/>
                  </a:cubicBezTo>
                  <a:cubicBezTo>
                    <a:pt x="1406" y="1014"/>
                    <a:pt x="1408" y="1023"/>
                    <a:pt x="1411" y="1032"/>
                  </a:cubicBezTo>
                  <a:cubicBezTo>
                    <a:pt x="1412" y="1037"/>
                    <a:pt x="1413" y="1043"/>
                    <a:pt x="1415" y="1049"/>
                  </a:cubicBezTo>
                  <a:cubicBezTo>
                    <a:pt x="1417" y="1058"/>
                    <a:pt x="1419" y="1066"/>
                    <a:pt x="1421" y="1075"/>
                  </a:cubicBezTo>
                  <a:cubicBezTo>
                    <a:pt x="1423" y="1081"/>
                    <a:pt x="1424" y="1087"/>
                    <a:pt x="1426" y="1093"/>
                  </a:cubicBezTo>
                  <a:cubicBezTo>
                    <a:pt x="1428" y="1102"/>
                    <a:pt x="1431" y="1110"/>
                    <a:pt x="1433" y="1119"/>
                  </a:cubicBezTo>
                  <a:cubicBezTo>
                    <a:pt x="1435" y="1125"/>
                    <a:pt x="1436" y="1131"/>
                    <a:pt x="1438" y="1138"/>
                  </a:cubicBezTo>
                  <a:cubicBezTo>
                    <a:pt x="1441" y="1146"/>
                    <a:pt x="1443" y="1155"/>
                    <a:pt x="1446" y="1163"/>
                  </a:cubicBezTo>
                  <a:cubicBezTo>
                    <a:pt x="1447" y="1170"/>
                    <a:pt x="1449" y="1176"/>
                    <a:pt x="1451" y="1182"/>
                  </a:cubicBezTo>
                  <a:cubicBezTo>
                    <a:pt x="1454" y="1191"/>
                    <a:pt x="1456" y="1200"/>
                    <a:pt x="1459" y="1208"/>
                  </a:cubicBezTo>
                  <a:cubicBezTo>
                    <a:pt x="1461" y="1214"/>
                    <a:pt x="1463" y="1221"/>
                    <a:pt x="1465" y="1227"/>
                  </a:cubicBezTo>
                  <a:cubicBezTo>
                    <a:pt x="1468" y="1236"/>
                    <a:pt x="1471" y="1245"/>
                    <a:pt x="1473" y="1253"/>
                  </a:cubicBezTo>
                  <a:cubicBezTo>
                    <a:pt x="1475" y="1260"/>
                    <a:pt x="1477" y="1266"/>
                    <a:pt x="1480" y="1272"/>
                  </a:cubicBezTo>
                  <a:cubicBezTo>
                    <a:pt x="1483" y="1281"/>
                    <a:pt x="1486" y="1290"/>
                    <a:pt x="1489" y="1299"/>
                  </a:cubicBezTo>
                  <a:cubicBezTo>
                    <a:pt x="1491" y="1305"/>
                    <a:pt x="1493" y="1311"/>
                    <a:pt x="1495" y="1317"/>
                  </a:cubicBezTo>
                  <a:cubicBezTo>
                    <a:pt x="1498" y="1327"/>
                    <a:pt x="1502" y="1336"/>
                    <a:pt x="1505" y="1345"/>
                  </a:cubicBezTo>
                  <a:cubicBezTo>
                    <a:pt x="1507" y="1351"/>
                    <a:pt x="1509" y="1357"/>
                    <a:pt x="1511" y="1363"/>
                  </a:cubicBezTo>
                  <a:cubicBezTo>
                    <a:pt x="1515" y="1373"/>
                    <a:pt x="1519" y="1384"/>
                    <a:pt x="1523" y="1394"/>
                  </a:cubicBezTo>
                  <a:cubicBezTo>
                    <a:pt x="1525" y="1399"/>
                    <a:pt x="1526" y="1404"/>
                    <a:pt x="1528" y="1408"/>
                  </a:cubicBezTo>
                  <a:cubicBezTo>
                    <a:pt x="1534" y="1424"/>
                    <a:pt x="1540" y="1439"/>
                    <a:pt x="1546" y="1454"/>
                  </a:cubicBezTo>
                  <a:cubicBezTo>
                    <a:pt x="1552" y="1469"/>
                    <a:pt x="1559" y="1484"/>
                    <a:pt x="1565" y="1499"/>
                  </a:cubicBezTo>
                  <a:cubicBezTo>
                    <a:pt x="1567" y="1505"/>
                    <a:pt x="1569" y="1510"/>
                    <a:pt x="1571" y="1515"/>
                  </a:cubicBezTo>
                  <a:cubicBezTo>
                    <a:pt x="1576" y="1525"/>
                    <a:pt x="1580" y="1534"/>
                    <a:pt x="1584" y="1544"/>
                  </a:cubicBezTo>
                  <a:cubicBezTo>
                    <a:pt x="1587" y="1550"/>
                    <a:pt x="1589" y="1556"/>
                    <a:pt x="1592" y="1562"/>
                  </a:cubicBezTo>
                  <a:cubicBezTo>
                    <a:pt x="1596" y="1571"/>
                    <a:pt x="1600" y="1580"/>
                    <a:pt x="1603" y="1588"/>
                  </a:cubicBezTo>
                  <a:cubicBezTo>
                    <a:pt x="1606" y="1595"/>
                    <a:pt x="1609" y="1601"/>
                    <a:pt x="1612" y="1607"/>
                  </a:cubicBezTo>
                  <a:cubicBezTo>
                    <a:pt x="1616" y="1615"/>
                    <a:pt x="1620" y="1623"/>
                    <a:pt x="1623" y="1631"/>
                  </a:cubicBezTo>
                  <a:cubicBezTo>
                    <a:pt x="1626" y="1638"/>
                    <a:pt x="1630" y="1644"/>
                    <a:pt x="1633" y="1651"/>
                  </a:cubicBezTo>
                  <a:cubicBezTo>
                    <a:pt x="1636" y="1658"/>
                    <a:pt x="1640" y="1666"/>
                    <a:pt x="1644" y="1674"/>
                  </a:cubicBezTo>
                  <a:cubicBezTo>
                    <a:pt x="1647" y="1680"/>
                    <a:pt x="1650" y="1687"/>
                    <a:pt x="1653" y="1693"/>
                  </a:cubicBezTo>
                  <a:cubicBezTo>
                    <a:pt x="1657" y="1701"/>
                    <a:pt x="1661" y="1708"/>
                    <a:pt x="1665" y="1716"/>
                  </a:cubicBezTo>
                  <a:cubicBezTo>
                    <a:pt x="1668" y="1722"/>
                    <a:pt x="1671" y="1728"/>
                    <a:pt x="1675" y="1735"/>
                  </a:cubicBezTo>
                  <a:cubicBezTo>
                    <a:pt x="1678" y="1742"/>
                    <a:pt x="1682" y="1750"/>
                    <a:pt x="1686" y="1757"/>
                  </a:cubicBezTo>
                  <a:cubicBezTo>
                    <a:pt x="1689" y="1763"/>
                    <a:pt x="1693" y="1769"/>
                    <a:pt x="1696" y="1775"/>
                  </a:cubicBezTo>
                  <a:cubicBezTo>
                    <a:pt x="1700" y="1783"/>
                    <a:pt x="1704" y="1790"/>
                    <a:pt x="1708" y="1797"/>
                  </a:cubicBezTo>
                  <a:cubicBezTo>
                    <a:pt x="1711" y="1803"/>
                    <a:pt x="1715" y="1809"/>
                    <a:pt x="1718" y="1815"/>
                  </a:cubicBezTo>
                  <a:cubicBezTo>
                    <a:pt x="1722" y="1822"/>
                    <a:pt x="1726" y="1830"/>
                    <a:pt x="1730" y="1837"/>
                  </a:cubicBezTo>
                  <a:cubicBezTo>
                    <a:pt x="1733" y="1842"/>
                    <a:pt x="1737" y="1848"/>
                    <a:pt x="1740" y="1854"/>
                  </a:cubicBezTo>
                  <a:cubicBezTo>
                    <a:pt x="1744" y="1861"/>
                    <a:pt x="1748" y="1868"/>
                    <a:pt x="1753" y="1875"/>
                  </a:cubicBezTo>
                  <a:cubicBezTo>
                    <a:pt x="1756" y="1881"/>
                    <a:pt x="1759" y="1887"/>
                    <a:pt x="1763" y="1892"/>
                  </a:cubicBezTo>
                  <a:cubicBezTo>
                    <a:pt x="1767" y="1899"/>
                    <a:pt x="1771" y="1906"/>
                    <a:pt x="1776" y="1914"/>
                  </a:cubicBezTo>
                  <a:cubicBezTo>
                    <a:pt x="1779" y="1919"/>
                    <a:pt x="1782" y="1924"/>
                    <a:pt x="1785" y="1929"/>
                  </a:cubicBezTo>
                  <a:cubicBezTo>
                    <a:pt x="1790" y="1937"/>
                    <a:pt x="1795" y="1945"/>
                    <a:pt x="1800" y="1953"/>
                  </a:cubicBezTo>
                  <a:cubicBezTo>
                    <a:pt x="1803" y="1957"/>
                    <a:pt x="1806" y="1961"/>
                    <a:pt x="1808" y="1965"/>
                  </a:cubicBezTo>
                  <a:cubicBezTo>
                    <a:pt x="1816" y="1977"/>
                    <a:pt x="1824" y="1988"/>
                    <a:pt x="1831" y="1999"/>
                  </a:cubicBezTo>
                  <a:cubicBezTo>
                    <a:pt x="1834" y="2004"/>
                    <a:pt x="1837" y="2008"/>
                    <a:pt x="1840" y="2012"/>
                  </a:cubicBezTo>
                  <a:cubicBezTo>
                    <a:pt x="1845" y="2019"/>
                    <a:pt x="1850" y="2026"/>
                    <a:pt x="1855" y="2033"/>
                  </a:cubicBezTo>
                  <a:cubicBezTo>
                    <a:pt x="1858" y="2038"/>
                    <a:pt x="1862" y="2043"/>
                    <a:pt x="1865" y="2048"/>
                  </a:cubicBezTo>
                  <a:cubicBezTo>
                    <a:pt x="1870" y="2054"/>
                    <a:pt x="1874" y="2060"/>
                    <a:pt x="1878" y="2066"/>
                  </a:cubicBezTo>
                  <a:cubicBezTo>
                    <a:pt x="1882" y="2071"/>
                    <a:pt x="1886" y="2076"/>
                    <a:pt x="1890" y="2081"/>
                  </a:cubicBezTo>
                  <a:cubicBezTo>
                    <a:pt x="1894" y="2087"/>
                    <a:pt x="1898" y="2092"/>
                    <a:pt x="1902" y="2098"/>
                  </a:cubicBezTo>
                  <a:cubicBezTo>
                    <a:pt x="1903" y="2099"/>
                    <a:pt x="1905" y="2101"/>
                    <a:pt x="1906" y="2102"/>
                  </a:cubicBezTo>
                  <a:lnTo>
                    <a:pt x="1363" y="19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226">
              <a:extLst>
                <a:ext uri="{FF2B5EF4-FFF2-40B4-BE49-F238E27FC236}">
                  <a16:creationId xmlns:a16="http://schemas.microsoft.com/office/drawing/2014/main" id="{3164E726-1847-42F2-A2E5-C446F03DA7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9" y="2959"/>
              <a:ext cx="254" cy="669"/>
            </a:xfrm>
            <a:custGeom>
              <a:avLst/>
              <a:gdLst>
                <a:gd name="T0" fmla="*/ 1470 w 2337"/>
                <a:gd name="T1" fmla="*/ 2981 h 6150"/>
                <a:gd name="T2" fmla="*/ 226 w 2337"/>
                <a:gd name="T3" fmla="*/ 1153 h 6150"/>
                <a:gd name="T4" fmla="*/ 806 w 2337"/>
                <a:gd name="T5" fmla="*/ 878 h 6150"/>
                <a:gd name="T6" fmla="*/ 1245 w 2337"/>
                <a:gd name="T7" fmla="*/ 439 h 6150"/>
                <a:gd name="T8" fmla="*/ 806 w 2337"/>
                <a:gd name="T9" fmla="*/ 0 h 6150"/>
                <a:gd name="T10" fmla="*/ 368 w 2337"/>
                <a:gd name="T11" fmla="*/ 439 h 6150"/>
                <a:gd name="T12" fmla="*/ 28 w 2337"/>
                <a:gd name="T13" fmla="*/ 1085 h 6150"/>
                <a:gd name="T14" fmla="*/ 28 w 2337"/>
                <a:gd name="T15" fmla="*/ 1218 h 6150"/>
                <a:gd name="T16" fmla="*/ 28 w 2337"/>
                <a:gd name="T17" fmla="*/ 4932 h 6150"/>
                <a:gd name="T18" fmla="*/ 0 w 2337"/>
                <a:gd name="T19" fmla="*/ 4998 h 6150"/>
                <a:gd name="T20" fmla="*/ 0 w 2337"/>
                <a:gd name="T21" fmla="*/ 4998 h 6150"/>
                <a:gd name="T22" fmla="*/ 0 w 2337"/>
                <a:gd name="T23" fmla="*/ 4999 h 6150"/>
                <a:gd name="T24" fmla="*/ 0 w 2337"/>
                <a:gd name="T25" fmla="*/ 4999 h 6150"/>
                <a:gd name="T26" fmla="*/ 28 w 2337"/>
                <a:gd name="T27" fmla="*/ 5065 h 6150"/>
                <a:gd name="T28" fmla="*/ 368 w 2337"/>
                <a:gd name="T29" fmla="*/ 5711 h 6150"/>
                <a:gd name="T30" fmla="*/ 806 w 2337"/>
                <a:gd name="T31" fmla="*/ 6150 h 6150"/>
                <a:gd name="T32" fmla="*/ 1245 w 2337"/>
                <a:gd name="T33" fmla="*/ 5711 h 6150"/>
                <a:gd name="T34" fmla="*/ 806 w 2337"/>
                <a:gd name="T35" fmla="*/ 5272 h 6150"/>
                <a:gd name="T36" fmla="*/ 225 w 2337"/>
                <a:gd name="T37" fmla="*/ 4997 h 6150"/>
                <a:gd name="T38" fmla="*/ 1470 w 2337"/>
                <a:gd name="T39" fmla="*/ 3169 h 6150"/>
                <a:gd name="T40" fmla="*/ 2337 w 2337"/>
                <a:gd name="T41" fmla="*/ 3075 h 6150"/>
                <a:gd name="T42" fmla="*/ 629 w 2337"/>
                <a:gd name="T43" fmla="*/ 261 h 6150"/>
                <a:gd name="T44" fmla="*/ 806 w 2337"/>
                <a:gd name="T45" fmla="*/ 188 h 6150"/>
                <a:gd name="T46" fmla="*/ 1058 w 2337"/>
                <a:gd name="T47" fmla="*/ 439 h 6150"/>
                <a:gd name="T48" fmla="*/ 806 w 2337"/>
                <a:gd name="T49" fmla="*/ 691 h 6150"/>
                <a:gd name="T50" fmla="*/ 629 w 2337"/>
                <a:gd name="T51" fmla="*/ 617 h 6150"/>
                <a:gd name="T52" fmla="*/ 555 w 2337"/>
                <a:gd name="T53" fmla="*/ 439 h 6150"/>
                <a:gd name="T54" fmla="*/ 984 w 2337"/>
                <a:gd name="T55" fmla="*/ 5533 h 6150"/>
                <a:gd name="T56" fmla="*/ 1058 w 2337"/>
                <a:gd name="T57" fmla="*/ 5711 h 6150"/>
                <a:gd name="T58" fmla="*/ 806 w 2337"/>
                <a:gd name="T59" fmla="*/ 5962 h 6150"/>
                <a:gd name="T60" fmla="*/ 555 w 2337"/>
                <a:gd name="T61" fmla="*/ 5711 h 6150"/>
                <a:gd name="T62" fmla="*/ 806 w 2337"/>
                <a:gd name="T63" fmla="*/ 5459 h 6150"/>
                <a:gd name="T64" fmla="*/ 1898 w 2337"/>
                <a:gd name="T65" fmla="*/ 3326 h 6150"/>
                <a:gd name="T66" fmla="*/ 1898 w 2337"/>
                <a:gd name="T67" fmla="*/ 2824 h 6150"/>
                <a:gd name="T68" fmla="*/ 1898 w 2337"/>
                <a:gd name="T69" fmla="*/ 3326 h 6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37" h="6150">
                  <a:moveTo>
                    <a:pt x="1898" y="2636"/>
                  </a:moveTo>
                  <a:cubicBezTo>
                    <a:pt x="1688" y="2636"/>
                    <a:pt x="1513" y="2784"/>
                    <a:pt x="1470" y="2981"/>
                  </a:cubicBezTo>
                  <a:lnTo>
                    <a:pt x="983" y="2981"/>
                  </a:lnTo>
                  <a:cubicBezTo>
                    <a:pt x="961" y="2296"/>
                    <a:pt x="694" y="1653"/>
                    <a:pt x="226" y="1153"/>
                  </a:cubicBezTo>
                  <a:lnTo>
                    <a:pt x="569" y="809"/>
                  </a:lnTo>
                  <a:cubicBezTo>
                    <a:pt x="640" y="854"/>
                    <a:pt x="721" y="878"/>
                    <a:pt x="806" y="878"/>
                  </a:cubicBezTo>
                  <a:cubicBezTo>
                    <a:pt x="924" y="878"/>
                    <a:pt x="1034" y="832"/>
                    <a:pt x="1117" y="749"/>
                  </a:cubicBezTo>
                  <a:cubicBezTo>
                    <a:pt x="1200" y="667"/>
                    <a:pt x="1245" y="556"/>
                    <a:pt x="1245" y="439"/>
                  </a:cubicBezTo>
                  <a:cubicBezTo>
                    <a:pt x="1245" y="322"/>
                    <a:pt x="1200" y="212"/>
                    <a:pt x="1117" y="129"/>
                  </a:cubicBezTo>
                  <a:cubicBezTo>
                    <a:pt x="1034" y="46"/>
                    <a:pt x="924" y="0"/>
                    <a:pt x="806" y="0"/>
                  </a:cubicBezTo>
                  <a:cubicBezTo>
                    <a:pt x="689" y="0"/>
                    <a:pt x="579" y="46"/>
                    <a:pt x="496" y="129"/>
                  </a:cubicBezTo>
                  <a:cubicBezTo>
                    <a:pt x="413" y="212"/>
                    <a:pt x="368" y="322"/>
                    <a:pt x="368" y="439"/>
                  </a:cubicBezTo>
                  <a:cubicBezTo>
                    <a:pt x="368" y="524"/>
                    <a:pt x="392" y="606"/>
                    <a:pt x="437" y="676"/>
                  </a:cubicBezTo>
                  <a:lnTo>
                    <a:pt x="28" y="1085"/>
                  </a:lnTo>
                  <a:cubicBezTo>
                    <a:pt x="10" y="1103"/>
                    <a:pt x="0" y="1127"/>
                    <a:pt x="0" y="1151"/>
                  </a:cubicBezTo>
                  <a:cubicBezTo>
                    <a:pt x="0" y="1176"/>
                    <a:pt x="10" y="1200"/>
                    <a:pt x="28" y="1218"/>
                  </a:cubicBezTo>
                  <a:cubicBezTo>
                    <a:pt x="524" y="1714"/>
                    <a:pt x="797" y="2373"/>
                    <a:pt x="797" y="3075"/>
                  </a:cubicBezTo>
                  <a:cubicBezTo>
                    <a:pt x="797" y="3776"/>
                    <a:pt x="524" y="4436"/>
                    <a:pt x="28" y="4932"/>
                  </a:cubicBezTo>
                  <a:cubicBezTo>
                    <a:pt x="19" y="4941"/>
                    <a:pt x="11" y="4952"/>
                    <a:pt x="7" y="4964"/>
                  </a:cubicBezTo>
                  <a:cubicBezTo>
                    <a:pt x="3" y="4975"/>
                    <a:pt x="0" y="4986"/>
                    <a:pt x="0" y="4998"/>
                  </a:cubicBezTo>
                  <a:lnTo>
                    <a:pt x="0" y="4998"/>
                  </a:lnTo>
                  <a:lnTo>
                    <a:pt x="0" y="4998"/>
                  </a:lnTo>
                  <a:lnTo>
                    <a:pt x="0" y="4999"/>
                  </a:lnTo>
                  <a:lnTo>
                    <a:pt x="0" y="4999"/>
                  </a:lnTo>
                  <a:lnTo>
                    <a:pt x="0" y="4999"/>
                  </a:lnTo>
                  <a:lnTo>
                    <a:pt x="0" y="4999"/>
                  </a:lnTo>
                  <a:cubicBezTo>
                    <a:pt x="0" y="5017"/>
                    <a:pt x="5" y="5034"/>
                    <a:pt x="14" y="5048"/>
                  </a:cubicBezTo>
                  <a:cubicBezTo>
                    <a:pt x="18" y="5054"/>
                    <a:pt x="23" y="5060"/>
                    <a:pt x="28" y="5065"/>
                  </a:cubicBezTo>
                  <a:lnTo>
                    <a:pt x="437" y="5474"/>
                  </a:lnTo>
                  <a:cubicBezTo>
                    <a:pt x="392" y="5544"/>
                    <a:pt x="368" y="5626"/>
                    <a:pt x="368" y="5711"/>
                  </a:cubicBezTo>
                  <a:cubicBezTo>
                    <a:pt x="368" y="5828"/>
                    <a:pt x="413" y="5938"/>
                    <a:pt x="496" y="6021"/>
                  </a:cubicBezTo>
                  <a:cubicBezTo>
                    <a:pt x="579" y="6104"/>
                    <a:pt x="689" y="6150"/>
                    <a:pt x="806" y="6150"/>
                  </a:cubicBezTo>
                  <a:cubicBezTo>
                    <a:pt x="924" y="6150"/>
                    <a:pt x="1034" y="6104"/>
                    <a:pt x="1117" y="6021"/>
                  </a:cubicBezTo>
                  <a:cubicBezTo>
                    <a:pt x="1200" y="5938"/>
                    <a:pt x="1245" y="5828"/>
                    <a:pt x="1245" y="5711"/>
                  </a:cubicBezTo>
                  <a:cubicBezTo>
                    <a:pt x="1245" y="5594"/>
                    <a:pt x="1200" y="5483"/>
                    <a:pt x="1117" y="5401"/>
                  </a:cubicBezTo>
                  <a:cubicBezTo>
                    <a:pt x="1034" y="5318"/>
                    <a:pt x="924" y="5272"/>
                    <a:pt x="806" y="5272"/>
                  </a:cubicBezTo>
                  <a:cubicBezTo>
                    <a:pt x="721" y="5272"/>
                    <a:pt x="640" y="5296"/>
                    <a:pt x="570" y="5341"/>
                  </a:cubicBezTo>
                  <a:lnTo>
                    <a:pt x="225" y="4997"/>
                  </a:lnTo>
                  <a:cubicBezTo>
                    <a:pt x="694" y="4497"/>
                    <a:pt x="961" y="3854"/>
                    <a:pt x="983" y="3169"/>
                  </a:cubicBezTo>
                  <a:lnTo>
                    <a:pt x="1470" y="3169"/>
                  </a:lnTo>
                  <a:cubicBezTo>
                    <a:pt x="1513" y="3366"/>
                    <a:pt x="1688" y="3514"/>
                    <a:pt x="1898" y="3514"/>
                  </a:cubicBezTo>
                  <a:cubicBezTo>
                    <a:pt x="2140" y="3514"/>
                    <a:pt x="2337" y="3317"/>
                    <a:pt x="2337" y="3075"/>
                  </a:cubicBezTo>
                  <a:cubicBezTo>
                    <a:pt x="2337" y="2833"/>
                    <a:pt x="2140" y="2636"/>
                    <a:pt x="1898" y="2636"/>
                  </a:cubicBezTo>
                  <a:close/>
                  <a:moveTo>
                    <a:pt x="629" y="261"/>
                  </a:moveTo>
                  <a:cubicBezTo>
                    <a:pt x="629" y="261"/>
                    <a:pt x="629" y="261"/>
                    <a:pt x="629" y="261"/>
                  </a:cubicBezTo>
                  <a:cubicBezTo>
                    <a:pt x="676" y="214"/>
                    <a:pt x="739" y="188"/>
                    <a:pt x="806" y="188"/>
                  </a:cubicBezTo>
                  <a:cubicBezTo>
                    <a:pt x="874" y="188"/>
                    <a:pt x="937" y="214"/>
                    <a:pt x="984" y="261"/>
                  </a:cubicBezTo>
                  <a:cubicBezTo>
                    <a:pt x="1032" y="309"/>
                    <a:pt x="1058" y="372"/>
                    <a:pt x="1058" y="439"/>
                  </a:cubicBezTo>
                  <a:cubicBezTo>
                    <a:pt x="1058" y="506"/>
                    <a:pt x="1032" y="569"/>
                    <a:pt x="984" y="617"/>
                  </a:cubicBezTo>
                  <a:cubicBezTo>
                    <a:pt x="937" y="664"/>
                    <a:pt x="874" y="691"/>
                    <a:pt x="806" y="691"/>
                  </a:cubicBezTo>
                  <a:cubicBezTo>
                    <a:pt x="739" y="691"/>
                    <a:pt x="676" y="664"/>
                    <a:pt x="629" y="617"/>
                  </a:cubicBezTo>
                  <a:cubicBezTo>
                    <a:pt x="629" y="617"/>
                    <a:pt x="629" y="617"/>
                    <a:pt x="629" y="617"/>
                  </a:cubicBezTo>
                  <a:cubicBezTo>
                    <a:pt x="629" y="617"/>
                    <a:pt x="628" y="617"/>
                    <a:pt x="628" y="616"/>
                  </a:cubicBezTo>
                  <a:cubicBezTo>
                    <a:pt x="581" y="569"/>
                    <a:pt x="555" y="506"/>
                    <a:pt x="555" y="439"/>
                  </a:cubicBezTo>
                  <a:cubicBezTo>
                    <a:pt x="555" y="372"/>
                    <a:pt x="581" y="309"/>
                    <a:pt x="629" y="261"/>
                  </a:cubicBezTo>
                  <a:close/>
                  <a:moveTo>
                    <a:pt x="984" y="5533"/>
                  </a:moveTo>
                  <a:cubicBezTo>
                    <a:pt x="984" y="5533"/>
                    <a:pt x="984" y="5533"/>
                    <a:pt x="984" y="5533"/>
                  </a:cubicBezTo>
                  <a:cubicBezTo>
                    <a:pt x="1032" y="5581"/>
                    <a:pt x="1058" y="5644"/>
                    <a:pt x="1058" y="5711"/>
                  </a:cubicBezTo>
                  <a:cubicBezTo>
                    <a:pt x="1058" y="5778"/>
                    <a:pt x="1032" y="5841"/>
                    <a:pt x="984" y="5889"/>
                  </a:cubicBezTo>
                  <a:cubicBezTo>
                    <a:pt x="937" y="5936"/>
                    <a:pt x="874" y="5962"/>
                    <a:pt x="806" y="5962"/>
                  </a:cubicBezTo>
                  <a:cubicBezTo>
                    <a:pt x="739" y="5962"/>
                    <a:pt x="676" y="5936"/>
                    <a:pt x="629" y="5889"/>
                  </a:cubicBezTo>
                  <a:cubicBezTo>
                    <a:pt x="581" y="5841"/>
                    <a:pt x="555" y="5778"/>
                    <a:pt x="555" y="5711"/>
                  </a:cubicBezTo>
                  <a:cubicBezTo>
                    <a:pt x="555" y="5644"/>
                    <a:pt x="581" y="5581"/>
                    <a:pt x="629" y="5533"/>
                  </a:cubicBezTo>
                  <a:cubicBezTo>
                    <a:pt x="676" y="5486"/>
                    <a:pt x="739" y="5459"/>
                    <a:pt x="806" y="5459"/>
                  </a:cubicBezTo>
                  <a:cubicBezTo>
                    <a:pt x="874" y="5459"/>
                    <a:pt x="937" y="5486"/>
                    <a:pt x="984" y="5533"/>
                  </a:cubicBezTo>
                  <a:close/>
                  <a:moveTo>
                    <a:pt x="1898" y="3326"/>
                  </a:moveTo>
                  <a:cubicBezTo>
                    <a:pt x="1760" y="3326"/>
                    <a:pt x="1647" y="3214"/>
                    <a:pt x="1647" y="3075"/>
                  </a:cubicBezTo>
                  <a:cubicBezTo>
                    <a:pt x="1647" y="2936"/>
                    <a:pt x="1760" y="2824"/>
                    <a:pt x="1898" y="2824"/>
                  </a:cubicBezTo>
                  <a:cubicBezTo>
                    <a:pt x="2037" y="2824"/>
                    <a:pt x="2150" y="2936"/>
                    <a:pt x="2150" y="3075"/>
                  </a:cubicBezTo>
                  <a:cubicBezTo>
                    <a:pt x="2150" y="3214"/>
                    <a:pt x="2037" y="3326"/>
                    <a:pt x="1898" y="332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957960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6ACE6-03EB-4A20-8E7F-7A7EFAFF2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Комплаенс </a:t>
            </a:r>
            <a:r>
              <a:rPr lang="ru-RU" sz="2200" dirty="0" err="1"/>
              <a:t>бўлинманинг</a:t>
            </a:r>
            <a:r>
              <a:rPr lang="ru-RU" sz="2200" dirty="0"/>
              <a:t> </a:t>
            </a:r>
            <a:r>
              <a:rPr lang="ru-RU" sz="2200" dirty="0" err="1"/>
              <a:t>ўрни</a:t>
            </a:r>
            <a:r>
              <a:rPr lang="ru-RU" sz="2200" dirty="0"/>
              <a:t> </a:t>
            </a:r>
            <a:r>
              <a:rPr lang="ru-RU" sz="2200" dirty="0" err="1"/>
              <a:t>ва</a:t>
            </a:r>
            <a:r>
              <a:rPr lang="ru-RU" sz="2200" dirty="0"/>
              <a:t> роли: </a:t>
            </a:r>
            <a:br>
              <a:rPr lang="ru-RU" sz="2200" dirty="0"/>
            </a:br>
            <a:r>
              <a:rPr lang="ru-RU" sz="2200" dirty="0"/>
              <a:t>Ўзбекистон </a:t>
            </a:r>
            <a:r>
              <a:rPr lang="ru-RU" sz="2200" dirty="0" err="1"/>
              <a:t>Республикасида</a:t>
            </a:r>
            <a:r>
              <a:rPr lang="ru-RU" sz="2200" dirty="0"/>
              <a:t> комплаенс </a:t>
            </a:r>
            <a:r>
              <a:rPr lang="ru-RU" sz="2200" dirty="0" err="1"/>
              <a:t>функцияларини</a:t>
            </a:r>
            <a:r>
              <a:rPr lang="ru-RU" sz="2200" dirty="0"/>
              <a:t> </a:t>
            </a:r>
            <a:r>
              <a:rPr lang="ru-RU" sz="2200" dirty="0" err="1"/>
              <a:t>ташкил</a:t>
            </a:r>
            <a:r>
              <a:rPr lang="ru-RU" sz="2200" dirty="0"/>
              <a:t> </a:t>
            </a:r>
            <a:r>
              <a:rPr lang="ru-RU" sz="2200" dirty="0" err="1"/>
              <a:t>этиш</a:t>
            </a:r>
            <a:r>
              <a:rPr lang="ru-RU" sz="2200" dirty="0"/>
              <a:t> </a:t>
            </a:r>
            <a:r>
              <a:rPr lang="ru-RU" sz="2200" dirty="0" err="1"/>
              <a:t>амалиёти</a:t>
            </a:r>
            <a:r>
              <a:rPr lang="ru-RU" sz="2200" dirty="0"/>
              <a:t> (9/9)</a:t>
            </a:r>
            <a:endParaRPr lang="en-US" sz="2200" dirty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BE15930-107F-46E1-B3B2-FE49FDACC50A}"/>
              </a:ext>
            </a:extLst>
          </p:cNvPr>
          <p:cNvSpPr/>
          <p:nvPr/>
        </p:nvSpPr>
        <p:spPr>
          <a:xfrm>
            <a:off x="448935" y="2106349"/>
            <a:ext cx="3537195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нтрагентлар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ончлилиг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екшир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рид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ғолиблар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нлашд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клиф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объектив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рзд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ўри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иқилиш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ъминла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DF1C21-EAC5-47C7-9EEF-FE6886634496}"/>
              </a:ext>
            </a:extLst>
          </p:cNvPr>
          <p:cNvGrpSpPr/>
          <p:nvPr/>
        </p:nvGrpSpPr>
        <p:grpSpPr>
          <a:xfrm>
            <a:off x="448932" y="1139479"/>
            <a:ext cx="3537200" cy="981502"/>
            <a:chOff x="448932" y="916722"/>
            <a:chExt cx="2084719" cy="981502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8C01026B-B7A4-4020-A99B-DF9C2998A167}"/>
                </a:ext>
              </a:extLst>
            </p:cNvPr>
            <p:cNvSpPr/>
            <p:nvPr/>
          </p:nvSpPr>
          <p:spPr>
            <a:xfrm>
              <a:off x="448933" y="1712800"/>
              <a:ext cx="2084718" cy="1417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E3ABD41-0DD7-4039-B6A7-BB2A3D4E71DD}"/>
                </a:ext>
              </a:extLst>
            </p:cNvPr>
            <p:cNvSpPr/>
            <p:nvPr/>
          </p:nvSpPr>
          <p:spPr>
            <a:xfrm>
              <a:off x="453588" y="916722"/>
              <a:ext cx="861633" cy="981502"/>
            </a:xfrm>
            <a:prstGeom prst="rect">
              <a:avLst/>
            </a:prstGeom>
          </p:spPr>
          <p:txBody>
            <a:bodyPr wrap="none" lIns="0" tIns="0" bIns="0" anchor="t">
              <a:noAutofit/>
            </a:bodyPr>
            <a:lstStyle/>
            <a:p>
              <a:r>
                <a:rPr lang="ru-RU" sz="6000" spc="-244" dirty="0">
                  <a:solidFill>
                    <a:schemeClr val="accent4">
                      <a:lumMod val="40000"/>
                      <a:lumOff val="60000"/>
                      <a:alpha val="36000"/>
                    </a:schemeClr>
                  </a:solidFill>
                  <a:latin typeface="Arial" panose="020B0604020202020204" pitchFamily="34" charset="0"/>
                </a:rPr>
                <a:t>07</a:t>
              </a:r>
              <a:endParaRPr lang="en-US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942EFAB-F8DE-4961-9917-4E9114E501CC}"/>
                </a:ext>
              </a:extLst>
            </p:cNvPr>
            <p:cNvSpPr/>
            <p:nvPr/>
          </p:nvSpPr>
          <p:spPr>
            <a:xfrm>
              <a:off x="448932" y="1244854"/>
              <a:ext cx="2084718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4371" tIns="44371" rIns="44371" bIns="44371" rtlCol="0" anchor="b">
              <a:noAutofit/>
            </a:bodyPr>
            <a:lstStyle/>
            <a:p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Харид</a:t>
              </a:r>
              <a:b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</a:br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комиссияси</a:t>
              </a:r>
              <a:endParaRPr lang="ru-RU" sz="16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7EC455E-87E8-4AB4-9DCA-58FB556A6E52}"/>
              </a:ext>
            </a:extLst>
          </p:cNvPr>
          <p:cNvSpPr/>
          <p:nvPr/>
        </p:nvSpPr>
        <p:spPr>
          <a:xfrm>
            <a:off x="4330413" y="2106349"/>
            <a:ext cx="3640938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ухгалтерия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ранзакциялар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йич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авлат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шкилоти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арч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астлабк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ужжатлар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вжудлиг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ақланиш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екшириш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ъминла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/товар/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измат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отиб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л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зарурлиг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сдиғ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вжудлиги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ъминла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(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аҳбар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уйруғ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рид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лабномас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ошқ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шакллард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.)</a:t>
            </a: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рид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хсус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хборот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порталид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жойлаштириш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ъминлаш</a:t>
            </a:r>
            <a:endParaRPr lang="en-US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измат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екширувлар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/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ёк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азорат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чораларини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ўтказ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мплаенс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линмас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/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ёк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ички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удитнинг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ўровиг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ино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астлабк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ужжат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қдим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ш</a:t>
            </a:r>
            <a:endParaRPr lang="ru-RU" sz="140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CBF271B-750C-4485-92AB-B7E0E14357FE}"/>
              </a:ext>
            </a:extLst>
          </p:cNvPr>
          <p:cNvGrpSpPr/>
          <p:nvPr/>
        </p:nvGrpSpPr>
        <p:grpSpPr>
          <a:xfrm>
            <a:off x="4330410" y="1139479"/>
            <a:ext cx="3537200" cy="981502"/>
            <a:chOff x="448932" y="916722"/>
            <a:chExt cx="2084719" cy="981502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3DFF92B-B91F-46A0-AFC7-9EE4CE9EB463}"/>
                </a:ext>
              </a:extLst>
            </p:cNvPr>
            <p:cNvSpPr/>
            <p:nvPr/>
          </p:nvSpPr>
          <p:spPr>
            <a:xfrm>
              <a:off x="453588" y="916722"/>
              <a:ext cx="861633" cy="981502"/>
            </a:xfrm>
            <a:prstGeom prst="rect">
              <a:avLst/>
            </a:prstGeom>
          </p:spPr>
          <p:txBody>
            <a:bodyPr wrap="none" lIns="0" tIns="0" bIns="0" anchor="t">
              <a:noAutofit/>
            </a:bodyPr>
            <a:lstStyle/>
            <a:p>
              <a:r>
                <a:rPr lang="ru-RU" sz="6000" spc="-244" dirty="0">
                  <a:solidFill>
                    <a:schemeClr val="accent4">
                      <a:lumMod val="40000"/>
                      <a:lumOff val="60000"/>
                      <a:alpha val="36000"/>
                    </a:schemeClr>
                  </a:solidFill>
                  <a:latin typeface="Arial" panose="020B0604020202020204" pitchFamily="34" charset="0"/>
                </a:rPr>
                <a:t>08</a:t>
              </a:r>
              <a:endParaRPr lang="en-US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20BC3B2B-DA9D-4117-BA0F-004B3D4D913C}"/>
                </a:ext>
              </a:extLst>
            </p:cNvPr>
            <p:cNvSpPr/>
            <p:nvPr/>
          </p:nvSpPr>
          <p:spPr>
            <a:xfrm>
              <a:off x="448933" y="1712800"/>
              <a:ext cx="2084718" cy="1417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9BB578AA-5A27-46E4-AC45-497D7EC0944A}"/>
                </a:ext>
              </a:extLst>
            </p:cNvPr>
            <p:cNvSpPr/>
            <p:nvPr/>
          </p:nvSpPr>
          <p:spPr>
            <a:xfrm>
              <a:off x="448932" y="1244854"/>
              <a:ext cx="2084718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4371" tIns="44371" rIns="44371" bIns="44371" rtlCol="0" anchor="b">
              <a:noAutofit/>
            </a:bodyPr>
            <a:lstStyle/>
            <a:p>
              <a: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Бухгалтерия</a:t>
              </a:r>
            </a:p>
          </p:txBody>
        </p:sp>
      </p:grp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88EB52EB-070C-468E-B88D-84A8A588CC3D}"/>
              </a:ext>
            </a:extLst>
          </p:cNvPr>
          <p:cNvSpPr/>
          <p:nvPr/>
        </p:nvSpPr>
        <p:spPr>
          <a:xfrm>
            <a:off x="8211891" y="2106349"/>
            <a:ext cx="3764209" cy="62121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0" bIns="44371" rtlCol="0" anchor="t">
            <a:noAutofit/>
          </a:bodyPr>
          <a:lstStyle/>
          <a:p>
            <a:pPr marL="285750" indent="-285750"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чки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ужжатларнинг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га қарши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кспертизаси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ўтказиш</a:t>
            </a:r>
            <a:endParaRPr lang="ru-RU" sz="135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га қарши курашиш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ўғрисидаг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онун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ужжатлари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мониторинг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35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га қарши курашиш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шарти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лаб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иқиш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у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шартномаларг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иритилиши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азорат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</a:t>
            </a:r>
            <a:endParaRPr lang="ru-RU" sz="135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нтрагентларнинг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ончлилиги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екшириш</a:t>
            </a:r>
            <a:endParaRPr lang="ru-RU" sz="135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омзодлар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г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жойлашаётганд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екшириш</a:t>
            </a:r>
            <a:endParaRPr lang="ru-RU" sz="135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га қарши курашиш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ртиб-таомиллар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ички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ҳужжатлар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комиллаштириш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йич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клифлар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лаб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иқиш</a:t>
            </a:r>
            <a:endParaRPr lang="ru-RU" sz="135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  <a:p>
            <a:pPr marL="285750" indent="-285750"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нфаатлар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ўқнашув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салалари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ўриб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чиқишд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тирок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ш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(Одоб-ахлоқ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миссияс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аркибид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)</a:t>
            </a:r>
          </a:p>
          <a:p>
            <a:pPr marL="285750" indent="-285750">
              <a:spcAft>
                <a:spcPts val="300"/>
              </a:spcAft>
              <a:buClr>
                <a:schemeClr val="accent4"/>
              </a:buClr>
              <a:buFont typeface="Arial" panose="020B0604020202020204" pitchFamily="34" charset="0"/>
              <a:buChar char="►"/>
            </a:pP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доб-ахлоқ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коррупцияга қарши курашиш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оҳасидаг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оидабузарликларни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ергов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қилишда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иштирок</a:t>
            </a:r>
            <a:r>
              <a:rPr lang="ru-RU" sz="135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35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этиш</a:t>
            </a:r>
            <a:endParaRPr lang="ru-RU" sz="1350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2DAAC47-42D0-4B87-9B38-E0859F2AC06D}"/>
              </a:ext>
            </a:extLst>
          </p:cNvPr>
          <p:cNvGrpSpPr/>
          <p:nvPr/>
        </p:nvGrpSpPr>
        <p:grpSpPr>
          <a:xfrm>
            <a:off x="8211888" y="1139479"/>
            <a:ext cx="3537200" cy="981502"/>
            <a:chOff x="448932" y="916722"/>
            <a:chExt cx="2084719" cy="981502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4654F6F7-E0A4-4935-94C4-96D0D0851B04}"/>
                </a:ext>
              </a:extLst>
            </p:cNvPr>
            <p:cNvSpPr/>
            <p:nvPr/>
          </p:nvSpPr>
          <p:spPr>
            <a:xfrm>
              <a:off x="448933" y="1712800"/>
              <a:ext cx="2084718" cy="14175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A2C3225-FE39-486E-9C40-BEE38103D8AA}"/>
                </a:ext>
              </a:extLst>
            </p:cNvPr>
            <p:cNvSpPr/>
            <p:nvPr/>
          </p:nvSpPr>
          <p:spPr>
            <a:xfrm>
              <a:off x="453588" y="916722"/>
              <a:ext cx="861633" cy="981502"/>
            </a:xfrm>
            <a:prstGeom prst="rect">
              <a:avLst/>
            </a:prstGeom>
          </p:spPr>
          <p:txBody>
            <a:bodyPr wrap="none" lIns="0" tIns="0" bIns="0" anchor="t">
              <a:noAutofit/>
            </a:bodyPr>
            <a:lstStyle/>
            <a:p>
              <a:r>
                <a:rPr lang="ru-RU" sz="6000" spc="-244" dirty="0">
                  <a:solidFill>
                    <a:schemeClr val="accent4">
                      <a:lumMod val="40000"/>
                      <a:lumOff val="60000"/>
                      <a:alpha val="36000"/>
                    </a:schemeClr>
                  </a:solidFill>
                  <a:latin typeface="Arial" panose="020B0604020202020204" pitchFamily="34" charset="0"/>
                </a:rPr>
                <a:t>09</a:t>
              </a:r>
              <a:endParaRPr lang="en-US" sz="6000" spc="-244" dirty="0">
                <a:solidFill>
                  <a:schemeClr val="accent4">
                    <a:lumMod val="40000"/>
                    <a:lumOff val="60000"/>
                    <a:alpha val="36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832D5CC1-011A-4A47-B9AF-1842B7AFE334}"/>
                </a:ext>
              </a:extLst>
            </p:cNvPr>
            <p:cNvSpPr/>
            <p:nvPr/>
          </p:nvSpPr>
          <p:spPr>
            <a:xfrm>
              <a:off x="448932" y="1244854"/>
              <a:ext cx="2084718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44371" tIns="44371" rIns="44371" bIns="44371" rtlCol="0" anchor="b">
              <a:noAutofit/>
            </a:bodyPr>
            <a:lstStyle/>
            <a:p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Юридик</a:t>
              </a:r>
              <a: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br>
                <a:rPr lang="ru-RU" sz="16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</a:br>
              <a:r>
                <a:rPr lang="ru-RU" sz="1600" b="1" dirty="0" err="1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rPr>
                <a:t>хизмат</a:t>
              </a:r>
              <a:endParaRPr lang="ru-RU" sz="1600" b="1" dirty="0">
                <a:solidFill>
                  <a:srgbClr val="2112AE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79" name="Group 238">
            <a:extLst>
              <a:ext uri="{FF2B5EF4-FFF2-40B4-BE49-F238E27FC236}">
                <a16:creationId xmlns:a16="http://schemas.microsoft.com/office/drawing/2014/main" id="{967840CC-9DEC-4351-A0A4-40AA7B42039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75365" y="1382507"/>
            <a:ext cx="692244" cy="695255"/>
            <a:chOff x="806" y="2318"/>
            <a:chExt cx="230" cy="231"/>
          </a:xfrm>
          <a:solidFill>
            <a:srgbClr val="B1C7F7">
              <a:alpha val="50000"/>
            </a:srgbClr>
          </a:solidFill>
        </p:grpSpPr>
        <p:sp>
          <p:nvSpPr>
            <p:cNvPr id="80" name="Freeform 114">
              <a:extLst>
                <a:ext uri="{FF2B5EF4-FFF2-40B4-BE49-F238E27FC236}">
                  <a16:creationId xmlns:a16="http://schemas.microsoft.com/office/drawing/2014/main" id="{79AB87C5-617C-4DFE-BD8D-3A3467B4A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" y="2318"/>
              <a:ext cx="191" cy="204"/>
            </a:xfrm>
            <a:custGeom>
              <a:avLst/>
              <a:gdLst>
                <a:gd name="T0" fmla="*/ 427 w 7111"/>
                <a:gd name="T1" fmla="*/ 7538 h 7538"/>
                <a:gd name="T2" fmla="*/ 3840 w 7111"/>
                <a:gd name="T3" fmla="*/ 7538 h 7538"/>
                <a:gd name="T4" fmla="*/ 3982 w 7111"/>
                <a:gd name="T5" fmla="*/ 7396 h 7538"/>
                <a:gd name="T6" fmla="*/ 3840 w 7111"/>
                <a:gd name="T7" fmla="*/ 7253 h 7538"/>
                <a:gd name="T8" fmla="*/ 427 w 7111"/>
                <a:gd name="T9" fmla="*/ 7253 h 7538"/>
                <a:gd name="T10" fmla="*/ 284 w 7111"/>
                <a:gd name="T11" fmla="*/ 7111 h 7538"/>
                <a:gd name="T12" fmla="*/ 284 w 7111"/>
                <a:gd name="T13" fmla="*/ 427 h 7538"/>
                <a:gd name="T14" fmla="*/ 427 w 7111"/>
                <a:gd name="T15" fmla="*/ 284 h 7538"/>
                <a:gd name="T16" fmla="*/ 853 w 7111"/>
                <a:gd name="T17" fmla="*/ 711 h 7538"/>
                <a:gd name="T18" fmla="*/ 853 w 7111"/>
                <a:gd name="T19" fmla="*/ 1138 h 7538"/>
                <a:gd name="T20" fmla="*/ 1138 w 7111"/>
                <a:gd name="T21" fmla="*/ 1422 h 7538"/>
                <a:gd name="T22" fmla="*/ 5973 w 7111"/>
                <a:gd name="T23" fmla="*/ 1422 h 7538"/>
                <a:gd name="T24" fmla="*/ 5973 w 7111"/>
                <a:gd name="T25" fmla="*/ 3271 h 7538"/>
                <a:gd name="T26" fmla="*/ 6116 w 7111"/>
                <a:gd name="T27" fmla="*/ 3413 h 7538"/>
                <a:gd name="T28" fmla="*/ 6258 w 7111"/>
                <a:gd name="T29" fmla="*/ 3271 h 7538"/>
                <a:gd name="T30" fmla="*/ 6258 w 7111"/>
                <a:gd name="T31" fmla="*/ 1422 h 7538"/>
                <a:gd name="T32" fmla="*/ 6827 w 7111"/>
                <a:gd name="T33" fmla="*/ 1422 h 7538"/>
                <a:gd name="T34" fmla="*/ 7111 w 7111"/>
                <a:gd name="T35" fmla="*/ 1138 h 7538"/>
                <a:gd name="T36" fmla="*/ 7111 w 7111"/>
                <a:gd name="T37" fmla="*/ 711 h 7538"/>
                <a:gd name="T38" fmla="*/ 6400 w 7111"/>
                <a:gd name="T39" fmla="*/ 0 h 7538"/>
                <a:gd name="T40" fmla="*/ 427 w 7111"/>
                <a:gd name="T41" fmla="*/ 0 h 7538"/>
                <a:gd name="T42" fmla="*/ 0 w 7111"/>
                <a:gd name="T43" fmla="*/ 427 h 7538"/>
                <a:gd name="T44" fmla="*/ 0 w 7111"/>
                <a:gd name="T45" fmla="*/ 7111 h 7538"/>
                <a:gd name="T46" fmla="*/ 427 w 7111"/>
                <a:gd name="T47" fmla="*/ 7538 h 7538"/>
                <a:gd name="T48" fmla="*/ 6400 w 7111"/>
                <a:gd name="T49" fmla="*/ 284 h 7538"/>
                <a:gd name="T50" fmla="*/ 6827 w 7111"/>
                <a:gd name="T51" fmla="*/ 711 h 7538"/>
                <a:gd name="T52" fmla="*/ 6827 w 7111"/>
                <a:gd name="T53" fmla="*/ 1138 h 7538"/>
                <a:gd name="T54" fmla="*/ 1138 w 7111"/>
                <a:gd name="T55" fmla="*/ 1138 h 7538"/>
                <a:gd name="T56" fmla="*/ 1138 w 7111"/>
                <a:gd name="T57" fmla="*/ 711 h 7538"/>
                <a:gd name="T58" fmla="*/ 992 w 7111"/>
                <a:gd name="T59" fmla="*/ 284 h 7538"/>
                <a:gd name="T60" fmla="*/ 6400 w 7111"/>
                <a:gd name="T61" fmla="*/ 284 h 7538"/>
                <a:gd name="T62" fmla="*/ 6400 w 7111"/>
                <a:gd name="T63" fmla="*/ 284 h 7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11" h="7538">
                  <a:moveTo>
                    <a:pt x="427" y="7538"/>
                  </a:moveTo>
                  <a:lnTo>
                    <a:pt x="3840" y="7538"/>
                  </a:lnTo>
                  <a:cubicBezTo>
                    <a:pt x="3919" y="7538"/>
                    <a:pt x="3982" y="7474"/>
                    <a:pt x="3982" y="7396"/>
                  </a:cubicBezTo>
                  <a:cubicBezTo>
                    <a:pt x="3982" y="7317"/>
                    <a:pt x="3919" y="7253"/>
                    <a:pt x="3840" y="7253"/>
                  </a:cubicBezTo>
                  <a:lnTo>
                    <a:pt x="427" y="7253"/>
                  </a:lnTo>
                  <a:cubicBezTo>
                    <a:pt x="348" y="7253"/>
                    <a:pt x="284" y="7190"/>
                    <a:pt x="284" y="7111"/>
                  </a:cubicBezTo>
                  <a:lnTo>
                    <a:pt x="284" y="427"/>
                  </a:lnTo>
                  <a:cubicBezTo>
                    <a:pt x="284" y="348"/>
                    <a:pt x="348" y="284"/>
                    <a:pt x="427" y="284"/>
                  </a:cubicBezTo>
                  <a:cubicBezTo>
                    <a:pt x="662" y="284"/>
                    <a:pt x="853" y="475"/>
                    <a:pt x="853" y="711"/>
                  </a:cubicBezTo>
                  <a:lnTo>
                    <a:pt x="853" y="1138"/>
                  </a:lnTo>
                  <a:cubicBezTo>
                    <a:pt x="853" y="1295"/>
                    <a:pt x="981" y="1422"/>
                    <a:pt x="1138" y="1422"/>
                  </a:cubicBezTo>
                  <a:lnTo>
                    <a:pt x="5973" y="1422"/>
                  </a:lnTo>
                  <a:lnTo>
                    <a:pt x="5973" y="3271"/>
                  </a:lnTo>
                  <a:cubicBezTo>
                    <a:pt x="5973" y="3350"/>
                    <a:pt x="6037" y="3413"/>
                    <a:pt x="6116" y="3413"/>
                  </a:cubicBezTo>
                  <a:cubicBezTo>
                    <a:pt x="6194" y="3413"/>
                    <a:pt x="6258" y="3350"/>
                    <a:pt x="6258" y="3271"/>
                  </a:cubicBezTo>
                  <a:lnTo>
                    <a:pt x="6258" y="1422"/>
                  </a:lnTo>
                  <a:lnTo>
                    <a:pt x="6827" y="1422"/>
                  </a:lnTo>
                  <a:cubicBezTo>
                    <a:pt x="6984" y="1422"/>
                    <a:pt x="7111" y="1295"/>
                    <a:pt x="7111" y="1138"/>
                  </a:cubicBezTo>
                  <a:lnTo>
                    <a:pt x="7111" y="711"/>
                  </a:lnTo>
                  <a:cubicBezTo>
                    <a:pt x="7111" y="319"/>
                    <a:pt x="6793" y="0"/>
                    <a:pt x="6400" y="0"/>
                  </a:cubicBezTo>
                  <a:lnTo>
                    <a:pt x="427" y="0"/>
                  </a:lnTo>
                  <a:cubicBezTo>
                    <a:pt x="191" y="0"/>
                    <a:pt x="0" y="191"/>
                    <a:pt x="0" y="427"/>
                  </a:cubicBezTo>
                  <a:lnTo>
                    <a:pt x="0" y="7111"/>
                  </a:lnTo>
                  <a:cubicBezTo>
                    <a:pt x="0" y="7347"/>
                    <a:pt x="191" y="7538"/>
                    <a:pt x="427" y="7538"/>
                  </a:cubicBezTo>
                  <a:close/>
                  <a:moveTo>
                    <a:pt x="6400" y="284"/>
                  </a:moveTo>
                  <a:cubicBezTo>
                    <a:pt x="6636" y="284"/>
                    <a:pt x="6827" y="475"/>
                    <a:pt x="6827" y="711"/>
                  </a:cubicBezTo>
                  <a:lnTo>
                    <a:pt x="6827" y="1138"/>
                  </a:lnTo>
                  <a:lnTo>
                    <a:pt x="1138" y="1138"/>
                  </a:lnTo>
                  <a:lnTo>
                    <a:pt x="1138" y="711"/>
                  </a:lnTo>
                  <a:cubicBezTo>
                    <a:pt x="1137" y="557"/>
                    <a:pt x="1086" y="407"/>
                    <a:pt x="992" y="284"/>
                  </a:cubicBezTo>
                  <a:lnTo>
                    <a:pt x="6400" y="284"/>
                  </a:lnTo>
                  <a:close/>
                  <a:moveTo>
                    <a:pt x="6400" y="28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15">
              <a:extLst>
                <a:ext uri="{FF2B5EF4-FFF2-40B4-BE49-F238E27FC236}">
                  <a16:creationId xmlns:a16="http://schemas.microsoft.com/office/drawing/2014/main" id="{A7B838E7-90A4-4CD5-B710-61307D2AA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1" y="2422"/>
              <a:ext cx="84" cy="84"/>
            </a:xfrm>
            <a:custGeom>
              <a:avLst/>
              <a:gdLst>
                <a:gd name="T0" fmla="*/ 1564 w 3129"/>
                <a:gd name="T1" fmla="*/ 3129 h 3129"/>
                <a:gd name="T2" fmla="*/ 3129 w 3129"/>
                <a:gd name="T3" fmla="*/ 1564 h 3129"/>
                <a:gd name="T4" fmla="*/ 1564 w 3129"/>
                <a:gd name="T5" fmla="*/ 0 h 3129"/>
                <a:gd name="T6" fmla="*/ 0 w 3129"/>
                <a:gd name="T7" fmla="*/ 1564 h 3129"/>
                <a:gd name="T8" fmla="*/ 1564 w 3129"/>
                <a:gd name="T9" fmla="*/ 3129 h 3129"/>
                <a:gd name="T10" fmla="*/ 1564 w 3129"/>
                <a:gd name="T11" fmla="*/ 284 h 3129"/>
                <a:gd name="T12" fmla="*/ 2844 w 3129"/>
                <a:gd name="T13" fmla="*/ 1564 h 3129"/>
                <a:gd name="T14" fmla="*/ 1564 w 3129"/>
                <a:gd name="T15" fmla="*/ 2844 h 3129"/>
                <a:gd name="T16" fmla="*/ 284 w 3129"/>
                <a:gd name="T17" fmla="*/ 1564 h 3129"/>
                <a:gd name="T18" fmla="*/ 1564 w 3129"/>
                <a:gd name="T19" fmla="*/ 284 h 3129"/>
                <a:gd name="T20" fmla="*/ 1564 w 3129"/>
                <a:gd name="T21" fmla="*/ 284 h 3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9" h="3129">
                  <a:moveTo>
                    <a:pt x="1564" y="3129"/>
                  </a:moveTo>
                  <a:cubicBezTo>
                    <a:pt x="2428" y="3129"/>
                    <a:pt x="3129" y="2428"/>
                    <a:pt x="3129" y="1564"/>
                  </a:cubicBezTo>
                  <a:cubicBezTo>
                    <a:pt x="3129" y="700"/>
                    <a:pt x="2428" y="0"/>
                    <a:pt x="1564" y="0"/>
                  </a:cubicBezTo>
                  <a:cubicBezTo>
                    <a:pt x="700" y="0"/>
                    <a:pt x="0" y="700"/>
                    <a:pt x="0" y="1564"/>
                  </a:cubicBezTo>
                  <a:cubicBezTo>
                    <a:pt x="1" y="2428"/>
                    <a:pt x="701" y="3128"/>
                    <a:pt x="1564" y="3129"/>
                  </a:cubicBezTo>
                  <a:close/>
                  <a:moveTo>
                    <a:pt x="1564" y="284"/>
                  </a:moveTo>
                  <a:cubicBezTo>
                    <a:pt x="2271" y="284"/>
                    <a:pt x="2844" y="858"/>
                    <a:pt x="2844" y="1564"/>
                  </a:cubicBezTo>
                  <a:cubicBezTo>
                    <a:pt x="2844" y="2271"/>
                    <a:pt x="2271" y="2844"/>
                    <a:pt x="1564" y="2844"/>
                  </a:cubicBezTo>
                  <a:cubicBezTo>
                    <a:pt x="857" y="2844"/>
                    <a:pt x="284" y="2271"/>
                    <a:pt x="284" y="1564"/>
                  </a:cubicBezTo>
                  <a:cubicBezTo>
                    <a:pt x="285" y="858"/>
                    <a:pt x="858" y="285"/>
                    <a:pt x="1564" y="284"/>
                  </a:cubicBezTo>
                  <a:close/>
                  <a:moveTo>
                    <a:pt x="1564" y="28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16">
              <a:extLst>
                <a:ext uri="{FF2B5EF4-FFF2-40B4-BE49-F238E27FC236}">
                  <a16:creationId xmlns:a16="http://schemas.microsoft.com/office/drawing/2014/main" id="{C949B19A-275C-48F8-8441-B20EAA322A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" y="2418"/>
              <a:ext cx="115" cy="131"/>
            </a:xfrm>
            <a:custGeom>
              <a:avLst/>
              <a:gdLst>
                <a:gd name="T0" fmla="*/ 3697 w 4266"/>
                <a:gd name="T1" fmla="*/ 0 h 4835"/>
                <a:gd name="T2" fmla="*/ 569 w 4266"/>
                <a:gd name="T3" fmla="*/ 0 h 4835"/>
                <a:gd name="T4" fmla="*/ 0 w 4266"/>
                <a:gd name="T5" fmla="*/ 569 h 4835"/>
                <a:gd name="T6" fmla="*/ 0 w 4266"/>
                <a:gd name="T7" fmla="*/ 4266 h 4835"/>
                <a:gd name="T8" fmla="*/ 569 w 4266"/>
                <a:gd name="T9" fmla="*/ 4835 h 4835"/>
                <a:gd name="T10" fmla="*/ 3697 w 4266"/>
                <a:gd name="T11" fmla="*/ 4835 h 4835"/>
                <a:gd name="T12" fmla="*/ 4266 w 4266"/>
                <a:gd name="T13" fmla="*/ 4266 h 4835"/>
                <a:gd name="T14" fmla="*/ 4266 w 4266"/>
                <a:gd name="T15" fmla="*/ 569 h 4835"/>
                <a:gd name="T16" fmla="*/ 3697 w 4266"/>
                <a:gd name="T17" fmla="*/ 0 h 4835"/>
                <a:gd name="T18" fmla="*/ 569 w 4266"/>
                <a:gd name="T19" fmla="*/ 284 h 4835"/>
                <a:gd name="T20" fmla="*/ 3697 w 4266"/>
                <a:gd name="T21" fmla="*/ 284 h 4835"/>
                <a:gd name="T22" fmla="*/ 3982 w 4266"/>
                <a:gd name="T23" fmla="*/ 569 h 4835"/>
                <a:gd name="T24" fmla="*/ 284 w 4266"/>
                <a:gd name="T25" fmla="*/ 569 h 4835"/>
                <a:gd name="T26" fmla="*/ 569 w 4266"/>
                <a:gd name="T27" fmla="*/ 284 h 4835"/>
                <a:gd name="T28" fmla="*/ 284 w 4266"/>
                <a:gd name="T29" fmla="*/ 1706 h 4835"/>
                <a:gd name="T30" fmla="*/ 284 w 4266"/>
                <a:gd name="T31" fmla="*/ 853 h 4835"/>
                <a:gd name="T32" fmla="*/ 1251 w 4266"/>
                <a:gd name="T33" fmla="*/ 853 h 4835"/>
                <a:gd name="T34" fmla="*/ 505 w 4266"/>
                <a:gd name="T35" fmla="*/ 1706 h 4835"/>
                <a:gd name="T36" fmla="*/ 284 w 4266"/>
                <a:gd name="T37" fmla="*/ 1706 h 4835"/>
                <a:gd name="T38" fmla="*/ 1629 w 4266"/>
                <a:gd name="T39" fmla="*/ 853 h 4835"/>
                <a:gd name="T40" fmla="*/ 1991 w 4266"/>
                <a:gd name="T41" fmla="*/ 853 h 4835"/>
                <a:gd name="T42" fmla="*/ 1735 w 4266"/>
                <a:gd name="T43" fmla="*/ 1194 h 4835"/>
                <a:gd name="T44" fmla="*/ 1718 w 4266"/>
                <a:gd name="T45" fmla="*/ 1336 h 4835"/>
                <a:gd name="T46" fmla="*/ 1832 w 4266"/>
                <a:gd name="T47" fmla="*/ 1421 h 4835"/>
                <a:gd name="T48" fmla="*/ 1962 w 4266"/>
                <a:gd name="T49" fmla="*/ 1365 h 4835"/>
                <a:gd name="T50" fmla="*/ 2346 w 4266"/>
                <a:gd name="T51" fmla="*/ 853 h 4835"/>
                <a:gd name="T52" fmla="*/ 3982 w 4266"/>
                <a:gd name="T53" fmla="*/ 853 h 4835"/>
                <a:gd name="T54" fmla="*/ 3982 w 4266"/>
                <a:gd name="T55" fmla="*/ 1706 h 4835"/>
                <a:gd name="T56" fmla="*/ 881 w 4266"/>
                <a:gd name="T57" fmla="*/ 1706 h 4835"/>
                <a:gd name="T58" fmla="*/ 1629 w 4266"/>
                <a:gd name="T59" fmla="*/ 853 h 4835"/>
                <a:gd name="T60" fmla="*/ 3697 w 4266"/>
                <a:gd name="T61" fmla="*/ 4551 h 4835"/>
                <a:gd name="T62" fmla="*/ 569 w 4266"/>
                <a:gd name="T63" fmla="*/ 4551 h 4835"/>
                <a:gd name="T64" fmla="*/ 284 w 4266"/>
                <a:gd name="T65" fmla="*/ 4266 h 4835"/>
                <a:gd name="T66" fmla="*/ 284 w 4266"/>
                <a:gd name="T67" fmla="*/ 1991 h 4835"/>
                <a:gd name="T68" fmla="*/ 3982 w 4266"/>
                <a:gd name="T69" fmla="*/ 1991 h 4835"/>
                <a:gd name="T70" fmla="*/ 3982 w 4266"/>
                <a:gd name="T71" fmla="*/ 4266 h 4835"/>
                <a:gd name="T72" fmla="*/ 3697 w 4266"/>
                <a:gd name="T73" fmla="*/ 4551 h 4835"/>
                <a:gd name="T74" fmla="*/ 3697 w 4266"/>
                <a:gd name="T75" fmla="*/ 4551 h 4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66" h="4835">
                  <a:moveTo>
                    <a:pt x="3697" y="0"/>
                  </a:moveTo>
                  <a:lnTo>
                    <a:pt x="569" y="0"/>
                  </a:lnTo>
                  <a:cubicBezTo>
                    <a:pt x="254" y="0"/>
                    <a:pt x="0" y="254"/>
                    <a:pt x="0" y="569"/>
                  </a:cubicBezTo>
                  <a:lnTo>
                    <a:pt x="0" y="4266"/>
                  </a:lnTo>
                  <a:cubicBezTo>
                    <a:pt x="0" y="4581"/>
                    <a:pt x="254" y="4835"/>
                    <a:pt x="569" y="4835"/>
                  </a:cubicBezTo>
                  <a:lnTo>
                    <a:pt x="3697" y="4835"/>
                  </a:lnTo>
                  <a:cubicBezTo>
                    <a:pt x="4012" y="4835"/>
                    <a:pt x="4266" y="4581"/>
                    <a:pt x="4266" y="4266"/>
                  </a:cubicBezTo>
                  <a:lnTo>
                    <a:pt x="4266" y="569"/>
                  </a:lnTo>
                  <a:cubicBezTo>
                    <a:pt x="4266" y="254"/>
                    <a:pt x="4012" y="0"/>
                    <a:pt x="3697" y="0"/>
                  </a:cubicBezTo>
                  <a:close/>
                  <a:moveTo>
                    <a:pt x="569" y="284"/>
                  </a:moveTo>
                  <a:lnTo>
                    <a:pt x="3697" y="284"/>
                  </a:lnTo>
                  <a:cubicBezTo>
                    <a:pt x="3855" y="284"/>
                    <a:pt x="3982" y="412"/>
                    <a:pt x="3982" y="569"/>
                  </a:cubicBezTo>
                  <a:lnTo>
                    <a:pt x="284" y="569"/>
                  </a:lnTo>
                  <a:cubicBezTo>
                    <a:pt x="284" y="412"/>
                    <a:pt x="411" y="284"/>
                    <a:pt x="569" y="284"/>
                  </a:cubicBezTo>
                  <a:close/>
                  <a:moveTo>
                    <a:pt x="284" y="1706"/>
                  </a:moveTo>
                  <a:lnTo>
                    <a:pt x="284" y="853"/>
                  </a:lnTo>
                  <a:lnTo>
                    <a:pt x="1251" y="853"/>
                  </a:lnTo>
                  <a:lnTo>
                    <a:pt x="505" y="1706"/>
                  </a:lnTo>
                  <a:lnTo>
                    <a:pt x="284" y="1706"/>
                  </a:lnTo>
                  <a:close/>
                  <a:moveTo>
                    <a:pt x="1629" y="853"/>
                  </a:moveTo>
                  <a:lnTo>
                    <a:pt x="1991" y="853"/>
                  </a:lnTo>
                  <a:lnTo>
                    <a:pt x="1735" y="1194"/>
                  </a:lnTo>
                  <a:cubicBezTo>
                    <a:pt x="1704" y="1235"/>
                    <a:pt x="1698" y="1289"/>
                    <a:pt x="1718" y="1336"/>
                  </a:cubicBezTo>
                  <a:cubicBezTo>
                    <a:pt x="1738" y="1382"/>
                    <a:pt x="1781" y="1415"/>
                    <a:pt x="1832" y="1421"/>
                  </a:cubicBezTo>
                  <a:cubicBezTo>
                    <a:pt x="1882" y="1427"/>
                    <a:pt x="1932" y="1406"/>
                    <a:pt x="1962" y="1365"/>
                  </a:cubicBezTo>
                  <a:lnTo>
                    <a:pt x="2346" y="853"/>
                  </a:lnTo>
                  <a:lnTo>
                    <a:pt x="3982" y="853"/>
                  </a:lnTo>
                  <a:lnTo>
                    <a:pt x="3982" y="1706"/>
                  </a:lnTo>
                  <a:lnTo>
                    <a:pt x="881" y="1706"/>
                  </a:lnTo>
                  <a:lnTo>
                    <a:pt x="1629" y="853"/>
                  </a:lnTo>
                  <a:close/>
                  <a:moveTo>
                    <a:pt x="3697" y="4551"/>
                  </a:moveTo>
                  <a:lnTo>
                    <a:pt x="569" y="4551"/>
                  </a:lnTo>
                  <a:cubicBezTo>
                    <a:pt x="411" y="4551"/>
                    <a:pt x="284" y="4424"/>
                    <a:pt x="284" y="4266"/>
                  </a:cubicBezTo>
                  <a:lnTo>
                    <a:pt x="284" y="1991"/>
                  </a:lnTo>
                  <a:lnTo>
                    <a:pt x="3982" y="1991"/>
                  </a:lnTo>
                  <a:lnTo>
                    <a:pt x="3982" y="4266"/>
                  </a:lnTo>
                  <a:cubicBezTo>
                    <a:pt x="3982" y="4424"/>
                    <a:pt x="3855" y="4551"/>
                    <a:pt x="3697" y="4551"/>
                  </a:cubicBezTo>
                  <a:close/>
                  <a:moveTo>
                    <a:pt x="3697" y="455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17">
              <a:extLst>
                <a:ext uri="{FF2B5EF4-FFF2-40B4-BE49-F238E27FC236}">
                  <a16:creationId xmlns:a16="http://schemas.microsoft.com/office/drawing/2014/main" id="{676C67C7-EBB6-48C5-9B35-C3D2406555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" y="2372"/>
              <a:ext cx="126" cy="7"/>
            </a:xfrm>
            <a:custGeom>
              <a:avLst/>
              <a:gdLst>
                <a:gd name="T0" fmla="*/ 4551 w 4694"/>
                <a:gd name="T1" fmla="*/ 0 h 285"/>
                <a:gd name="T2" fmla="*/ 143 w 4694"/>
                <a:gd name="T3" fmla="*/ 0 h 285"/>
                <a:gd name="T4" fmla="*/ 0 w 4694"/>
                <a:gd name="T5" fmla="*/ 142 h 285"/>
                <a:gd name="T6" fmla="*/ 143 w 4694"/>
                <a:gd name="T7" fmla="*/ 285 h 285"/>
                <a:gd name="T8" fmla="*/ 4551 w 4694"/>
                <a:gd name="T9" fmla="*/ 285 h 285"/>
                <a:gd name="T10" fmla="*/ 4694 w 4694"/>
                <a:gd name="T11" fmla="*/ 142 h 285"/>
                <a:gd name="T12" fmla="*/ 4551 w 4694"/>
                <a:gd name="T13" fmla="*/ 0 h 285"/>
                <a:gd name="T14" fmla="*/ 4551 w 4694"/>
                <a:gd name="T15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94" h="285">
                  <a:moveTo>
                    <a:pt x="4551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2"/>
                  </a:cubicBezTo>
                  <a:cubicBezTo>
                    <a:pt x="0" y="221"/>
                    <a:pt x="64" y="285"/>
                    <a:pt x="143" y="285"/>
                  </a:cubicBezTo>
                  <a:lnTo>
                    <a:pt x="4551" y="285"/>
                  </a:lnTo>
                  <a:cubicBezTo>
                    <a:pt x="4630" y="285"/>
                    <a:pt x="4694" y="221"/>
                    <a:pt x="4694" y="142"/>
                  </a:cubicBezTo>
                  <a:cubicBezTo>
                    <a:pt x="4694" y="64"/>
                    <a:pt x="4630" y="0"/>
                    <a:pt x="4551" y="0"/>
                  </a:cubicBezTo>
                  <a:close/>
                  <a:moveTo>
                    <a:pt x="4551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18">
              <a:extLst>
                <a:ext uri="{FF2B5EF4-FFF2-40B4-BE49-F238E27FC236}">
                  <a16:creationId xmlns:a16="http://schemas.microsoft.com/office/drawing/2014/main" id="{190C1419-7203-4F85-88A1-E7DB3D4062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" y="2387"/>
              <a:ext cx="31" cy="8"/>
            </a:xfrm>
            <a:custGeom>
              <a:avLst/>
              <a:gdLst>
                <a:gd name="T0" fmla="*/ 143 w 1138"/>
                <a:gd name="T1" fmla="*/ 284 h 284"/>
                <a:gd name="T2" fmla="*/ 996 w 1138"/>
                <a:gd name="T3" fmla="*/ 284 h 284"/>
                <a:gd name="T4" fmla="*/ 1138 w 1138"/>
                <a:gd name="T5" fmla="*/ 142 h 284"/>
                <a:gd name="T6" fmla="*/ 996 w 1138"/>
                <a:gd name="T7" fmla="*/ 0 h 284"/>
                <a:gd name="T8" fmla="*/ 143 w 1138"/>
                <a:gd name="T9" fmla="*/ 0 h 284"/>
                <a:gd name="T10" fmla="*/ 0 w 1138"/>
                <a:gd name="T11" fmla="*/ 142 h 284"/>
                <a:gd name="T12" fmla="*/ 143 w 1138"/>
                <a:gd name="T13" fmla="*/ 284 h 284"/>
                <a:gd name="T14" fmla="*/ 143 w 1138"/>
                <a:gd name="T15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38" h="284">
                  <a:moveTo>
                    <a:pt x="143" y="284"/>
                  </a:moveTo>
                  <a:lnTo>
                    <a:pt x="996" y="284"/>
                  </a:lnTo>
                  <a:cubicBezTo>
                    <a:pt x="1074" y="284"/>
                    <a:pt x="1138" y="221"/>
                    <a:pt x="1138" y="142"/>
                  </a:cubicBezTo>
                  <a:cubicBezTo>
                    <a:pt x="1138" y="64"/>
                    <a:pt x="1074" y="0"/>
                    <a:pt x="996" y="0"/>
                  </a:cubicBezTo>
                  <a:lnTo>
                    <a:pt x="143" y="0"/>
                  </a:lnTo>
                  <a:cubicBezTo>
                    <a:pt x="64" y="0"/>
                    <a:pt x="0" y="64"/>
                    <a:pt x="0" y="142"/>
                  </a:cubicBezTo>
                  <a:cubicBezTo>
                    <a:pt x="0" y="221"/>
                    <a:pt x="64" y="284"/>
                    <a:pt x="143" y="284"/>
                  </a:cubicBezTo>
                  <a:close/>
                  <a:moveTo>
                    <a:pt x="143" y="28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19">
              <a:extLst>
                <a:ext uri="{FF2B5EF4-FFF2-40B4-BE49-F238E27FC236}">
                  <a16:creationId xmlns:a16="http://schemas.microsoft.com/office/drawing/2014/main" id="{120A051F-8DB3-4389-8B5C-05F43080A7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5" y="2387"/>
              <a:ext cx="80" cy="8"/>
            </a:xfrm>
            <a:custGeom>
              <a:avLst/>
              <a:gdLst>
                <a:gd name="T0" fmla="*/ 2844 w 2987"/>
                <a:gd name="T1" fmla="*/ 0 h 284"/>
                <a:gd name="T2" fmla="*/ 142 w 2987"/>
                <a:gd name="T3" fmla="*/ 0 h 284"/>
                <a:gd name="T4" fmla="*/ 0 w 2987"/>
                <a:gd name="T5" fmla="*/ 142 h 284"/>
                <a:gd name="T6" fmla="*/ 142 w 2987"/>
                <a:gd name="T7" fmla="*/ 284 h 284"/>
                <a:gd name="T8" fmla="*/ 2844 w 2987"/>
                <a:gd name="T9" fmla="*/ 284 h 284"/>
                <a:gd name="T10" fmla="*/ 2987 w 2987"/>
                <a:gd name="T11" fmla="*/ 142 h 284"/>
                <a:gd name="T12" fmla="*/ 2844 w 2987"/>
                <a:gd name="T13" fmla="*/ 0 h 284"/>
                <a:gd name="T14" fmla="*/ 2844 w 2987"/>
                <a:gd name="T15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87" h="284">
                  <a:moveTo>
                    <a:pt x="2844" y="0"/>
                  </a:moveTo>
                  <a:lnTo>
                    <a:pt x="142" y="0"/>
                  </a:lnTo>
                  <a:cubicBezTo>
                    <a:pt x="64" y="0"/>
                    <a:pt x="0" y="64"/>
                    <a:pt x="0" y="142"/>
                  </a:cubicBezTo>
                  <a:cubicBezTo>
                    <a:pt x="0" y="221"/>
                    <a:pt x="64" y="284"/>
                    <a:pt x="142" y="284"/>
                  </a:cubicBezTo>
                  <a:lnTo>
                    <a:pt x="2844" y="284"/>
                  </a:lnTo>
                  <a:cubicBezTo>
                    <a:pt x="2923" y="284"/>
                    <a:pt x="2987" y="221"/>
                    <a:pt x="2987" y="142"/>
                  </a:cubicBezTo>
                  <a:cubicBezTo>
                    <a:pt x="2987" y="64"/>
                    <a:pt x="2923" y="0"/>
                    <a:pt x="2844" y="0"/>
                  </a:cubicBezTo>
                  <a:close/>
                  <a:moveTo>
                    <a:pt x="2844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20">
              <a:extLst>
                <a:ext uri="{FF2B5EF4-FFF2-40B4-BE49-F238E27FC236}">
                  <a16:creationId xmlns:a16="http://schemas.microsoft.com/office/drawing/2014/main" id="{AFD42DE7-03A3-4220-8FCA-D0DFD9E528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" y="2403"/>
              <a:ext cx="73" cy="7"/>
            </a:xfrm>
            <a:custGeom>
              <a:avLst/>
              <a:gdLst>
                <a:gd name="T0" fmla="*/ 143 w 2703"/>
                <a:gd name="T1" fmla="*/ 284 h 284"/>
                <a:gd name="T2" fmla="*/ 2560 w 2703"/>
                <a:gd name="T3" fmla="*/ 284 h 284"/>
                <a:gd name="T4" fmla="*/ 2703 w 2703"/>
                <a:gd name="T5" fmla="*/ 142 h 284"/>
                <a:gd name="T6" fmla="*/ 2560 w 2703"/>
                <a:gd name="T7" fmla="*/ 0 h 284"/>
                <a:gd name="T8" fmla="*/ 143 w 2703"/>
                <a:gd name="T9" fmla="*/ 0 h 284"/>
                <a:gd name="T10" fmla="*/ 0 w 2703"/>
                <a:gd name="T11" fmla="*/ 142 h 284"/>
                <a:gd name="T12" fmla="*/ 143 w 2703"/>
                <a:gd name="T13" fmla="*/ 284 h 284"/>
                <a:gd name="T14" fmla="*/ 143 w 2703"/>
                <a:gd name="T15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03" h="284">
                  <a:moveTo>
                    <a:pt x="143" y="284"/>
                  </a:moveTo>
                  <a:lnTo>
                    <a:pt x="2560" y="284"/>
                  </a:lnTo>
                  <a:cubicBezTo>
                    <a:pt x="2639" y="284"/>
                    <a:pt x="2703" y="221"/>
                    <a:pt x="2703" y="142"/>
                  </a:cubicBezTo>
                  <a:cubicBezTo>
                    <a:pt x="2703" y="64"/>
                    <a:pt x="2639" y="0"/>
                    <a:pt x="2560" y="0"/>
                  </a:cubicBezTo>
                  <a:lnTo>
                    <a:pt x="143" y="0"/>
                  </a:lnTo>
                  <a:cubicBezTo>
                    <a:pt x="64" y="0"/>
                    <a:pt x="0" y="64"/>
                    <a:pt x="0" y="142"/>
                  </a:cubicBezTo>
                  <a:cubicBezTo>
                    <a:pt x="0" y="221"/>
                    <a:pt x="64" y="284"/>
                    <a:pt x="143" y="284"/>
                  </a:cubicBezTo>
                  <a:close/>
                  <a:moveTo>
                    <a:pt x="143" y="28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21">
              <a:extLst>
                <a:ext uri="{FF2B5EF4-FFF2-40B4-BE49-F238E27FC236}">
                  <a16:creationId xmlns:a16="http://schemas.microsoft.com/office/drawing/2014/main" id="{1308823B-7CD3-46C8-9D4A-C2FB174516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7" y="2403"/>
              <a:ext cx="38" cy="7"/>
            </a:xfrm>
            <a:custGeom>
              <a:avLst/>
              <a:gdLst>
                <a:gd name="T0" fmla="*/ 1280 w 1423"/>
                <a:gd name="T1" fmla="*/ 0 h 284"/>
                <a:gd name="T2" fmla="*/ 143 w 1423"/>
                <a:gd name="T3" fmla="*/ 0 h 284"/>
                <a:gd name="T4" fmla="*/ 0 w 1423"/>
                <a:gd name="T5" fmla="*/ 142 h 284"/>
                <a:gd name="T6" fmla="*/ 143 w 1423"/>
                <a:gd name="T7" fmla="*/ 284 h 284"/>
                <a:gd name="T8" fmla="*/ 1280 w 1423"/>
                <a:gd name="T9" fmla="*/ 284 h 284"/>
                <a:gd name="T10" fmla="*/ 1423 w 1423"/>
                <a:gd name="T11" fmla="*/ 142 h 284"/>
                <a:gd name="T12" fmla="*/ 1280 w 1423"/>
                <a:gd name="T13" fmla="*/ 0 h 284"/>
                <a:gd name="T14" fmla="*/ 1280 w 1423"/>
                <a:gd name="T15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3" h="284">
                  <a:moveTo>
                    <a:pt x="1280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2"/>
                  </a:cubicBezTo>
                  <a:cubicBezTo>
                    <a:pt x="0" y="221"/>
                    <a:pt x="64" y="284"/>
                    <a:pt x="143" y="284"/>
                  </a:cubicBezTo>
                  <a:lnTo>
                    <a:pt x="1280" y="284"/>
                  </a:lnTo>
                  <a:cubicBezTo>
                    <a:pt x="1359" y="284"/>
                    <a:pt x="1423" y="221"/>
                    <a:pt x="1423" y="142"/>
                  </a:cubicBezTo>
                  <a:cubicBezTo>
                    <a:pt x="1423" y="64"/>
                    <a:pt x="1359" y="0"/>
                    <a:pt x="1280" y="0"/>
                  </a:cubicBezTo>
                  <a:close/>
                  <a:moveTo>
                    <a:pt x="128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22">
              <a:extLst>
                <a:ext uri="{FF2B5EF4-FFF2-40B4-BE49-F238E27FC236}">
                  <a16:creationId xmlns:a16="http://schemas.microsoft.com/office/drawing/2014/main" id="{0EE132F7-72A1-4600-850A-49ED1531D8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6" y="2479"/>
              <a:ext cx="23" cy="23"/>
            </a:xfrm>
            <a:custGeom>
              <a:avLst/>
              <a:gdLst>
                <a:gd name="T0" fmla="*/ 568 w 853"/>
                <a:gd name="T1" fmla="*/ 0 h 854"/>
                <a:gd name="T2" fmla="*/ 284 w 853"/>
                <a:gd name="T3" fmla="*/ 0 h 854"/>
                <a:gd name="T4" fmla="*/ 0 w 853"/>
                <a:gd name="T5" fmla="*/ 285 h 854"/>
                <a:gd name="T6" fmla="*/ 0 w 853"/>
                <a:gd name="T7" fmla="*/ 569 h 854"/>
                <a:gd name="T8" fmla="*/ 284 w 853"/>
                <a:gd name="T9" fmla="*/ 854 h 854"/>
                <a:gd name="T10" fmla="*/ 568 w 853"/>
                <a:gd name="T11" fmla="*/ 854 h 854"/>
                <a:gd name="T12" fmla="*/ 853 w 853"/>
                <a:gd name="T13" fmla="*/ 569 h 854"/>
                <a:gd name="T14" fmla="*/ 853 w 853"/>
                <a:gd name="T15" fmla="*/ 285 h 854"/>
                <a:gd name="T16" fmla="*/ 568 w 853"/>
                <a:gd name="T17" fmla="*/ 0 h 854"/>
                <a:gd name="T18" fmla="*/ 284 w 853"/>
                <a:gd name="T19" fmla="*/ 569 h 854"/>
                <a:gd name="T20" fmla="*/ 284 w 853"/>
                <a:gd name="T21" fmla="*/ 285 h 854"/>
                <a:gd name="T22" fmla="*/ 568 w 853"/>
                <a:gd name="T23" fmla="*/ 285 h 854"/>
                <a:gd name="T24" fmla="*/ 568 w 853"/>
                <a:gd name="T25" fmla="*/ 569 h 854"/>
                <a:gd name="T26" fmla="*/ 284 w 853"/>
                <a:gd name="T27" fmla="*/ 569 h 854"/>
                <a:gd name="T28" fmla="*/ 284 w 853"/>
                <a:gd name="T29" fmla="*/ 569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3" h="854">
                  <a:moveTo>
                    <a:pt x="568" y="0"/>
                  </a:moveTo>
                  <a:lnTo>
                    <a:pt x="284" y="0"/>
                  </a:lnTo>
                  <a:cubicBezTo>
                    <a:pt x="127" y="0"/>
                    <a:pt x="0" y="128"/>
                    <a:pt x="0" y="285"/>
                  </a:cubicBezTo>
                  <a:lnTo>
                    <a:pt x="0" y="569"/>
                  </a:lnTo>
                  <a:cubicBezTo>
                    <a:pt x="0" y="726"/>
                    <a:pt x="127" y="854"/>
                    <a:pt x="284" y="854"/>
                  </a:cubicBezTo>
                  <a:lnTo>
                    <a:pt x="568" y="854"/>
                  </a:lnTo>
                  <a:cubicBezTo>
                    <a:pt x="726" y="854"/>
                    <a:pt x="853" y="726"/>
                    <a:pt x="853" y="569"/>
                  </a:cubicBezTo>
                  <a:lnTo>
                    <a:pt x="853" y="285"/>
                  </a:lnTo>
                  <a:cubicBezTo>
                    <a:pt x="853" y="128"/>
                    <a:pt x="726" y="0"/>
                    <a:pt x="568" y="0"/>
                  </a:cubicBezTo>
                  <a:close/>
                  <a:moveTo>
                    <a:pt x="284" y="569"/>
                  </a:moveTo>
                  <a:lnTo>
                    <a:pt x="284" y="285"/>
                  </a:lnTo>
                  <a:lnTo>
                    <a:pt x="568" y="285"/>
                  </a:lnTo>
                  <a:lnTo>
                    <a:pt x="568" y="569"/>
                  </a:lnTo>
                  <a:lnTo>
                    <a:pt x="284" y="569"/>
                  </a:lnTo>
                  <a:close/>
                  <a:moveTo>
                    <a:pt x="284" y="56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23">
              <a:extLst>
                <a:ext uri="{FF2B5EF4-FFF2-40B4-BE49-F238E27FC236}">
                  <a16:creationId xmlns:a16="http://schemas.microsoft.com/office/drawing/2014/main" id="{DF8FCD7D-6F17-48DD-AD65-8C288974AB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6" y="2510"/>
              <a:ext cx="23" cy="23"/>
            </a:xfrm>
            <a:custGeom>
              <a:avLst/>
              <a:gdLst>
                <a:gd name="T0" fmla="*/ 568 w 853"/>
                <a:gd name="T1" fmla="*/ 0 h 853"/>
                <a:gd name="T2" fmla="*/ 284 w 853"/>
                <a:gd name="T3" fmla="*/ 0 h 853"/>
                <a:gd name="T4" fmla="*/ 0 w 853"/>
                <a:gd name="T5" fmla="*/ 285 h 853"/>
                <a:gd name="T6" fmla="*/ 0 w 853"/>
                <a:gd name="T7" fmla="*/ 569 h 853"/>
                <a:gd name="T8" fmla="*/ 284 w 853"/>
                <a:gd name="T9" fmla="*/ 853 h 853"/>
                <a:gd name="T10" fmla="*/ 568 w 853"/>
                <a:gd name="T11" fmla="*/ 853 h 853"/>
                <a:gd name="T12" fmla="*/ 853 w 853"/>
                <a:gd name="T13" fmla="*/ 569 h 853"/>
                <a:gd name="T14" fmla="*/ 853 w 853"/>
                <a:gd name="T15" fmla="*/ 285 h 853"/>
                <a:gd name="T16" fmla="*/ 568 w 853"/>
                <a:gd name="T17" fmla="*/ 0 h 853"/>
                <a:gd name="T18" fmla="*/ 284 w 853"/>
                <a:gd name="T19" fmla="*/ 569 h 853"/>
                <a:gd name="T20" fmla="*/ 284 w 853"/>
                <a:gd name="T21" fmla="*/ 285 h 853"/>
                <a:gd name="T22" fmla="*/ 568 w 853"/>
                <a:gd name="T23" fmla="*/ 285 h 853"/>
                <a:gd name="T24" fmla="*/ 568 w 853"/>
                <a:gd name="T25" fmla="*/ 569 h 853"/>
                <a:gd name="T26" fmla="*/ 284 w 853"/>
                <a:gd name="T27" fmla="*/ 569 h 853"/>
                <a:gd name="T28" fmla="*/ 284 w 853"/>
                <a:gd name="T29" fmla="*/ 569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3" h="853">
                  <a:moveTo>
                    <a:pt x="568" y="0"/>
                  </a:moveTo>
                  <a:lnTo>
                    <a:pt x="284" y="0"/>
                  </a:lnTo>
                  <a:cubicBezTo>
                    <a:pt x="127" y="0"/>
                    <a:pt x="0" y="127"/>
                    <a:pt x="0" y="285"/>
                  </a:cubicBezTo>
                  <a:lnTo>
                    <a:pt x="0" y="569"/>
                  </a:lnTo>
                  <a:cubicBezTo>
                    <a:pt x="0" y="726"/>
                    <a:pt x="127" y="853"/>
                    <a:pt x="284" y="853"/>
                  </a:cubicBezTo>
                  <a:lnTo>
                    <a:pt x="568" y="853"/>
                  </a:lnTo>
                  <a:cubicBezTo>
                    <a:pt x="726" y="853"/>
                    <a:pt x="853" y="726"/>
                    <a:pt x="853" y="569"/>
                  </a:cubicBezTo>
                  <a:lnTo>
                    <a:pt x="853" y="285"/>
                  </a:lnTo>
                  <a:cubicBezTo>
                    <a:pt x="853" y="127"/>
                    <a:pt x="726" y="0"/>
                    <a:pt x="568" y="0"/>
                  </a:cubicBezTo>
                  <a:close/>
                  <a:moveTo>
                    <a:pt x="284" y="569"/>
                  </a:moveTo>
                  <a:lnTo>
                    <a:pt x="284" y="285"/>
                  </a:lnTo>
                  <a:lnTo>
                    <a:pt x="568" y="285"/>
                  </a:lnTo>
                  <a:lnTo>
                    <a:pt x="568" y="569"/>
                  </a:lnTo>
                  <a:lnTo>
                    <a:pt x="284" y="569"/>
                  </a:lnTo>
                  <a:close/>
                  <a:moveTo>
                    <a:pt x="284" y="56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24">
              <a:extLst>
                <a:ext uri="{FF2B5EF4-FFF2-40B4-BE49-F238E27FC236}">
                  <a16:creationId xmlns:a16="http://schemas.microsoft.com/office/drawing/2014/main" id="{FDB2003E-77F3-4878-9FD9-3B67A305D3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" y="2479"/>
              <a:ext cx="23" cy="23"/>
            </a:xfrm>
            <a:custGeom>
              <a:avLst/>
              <a:gdLst>
                <a:gd name="T0" fmla="*/ 569 w 854"/>
                <a:gd name="T1" fmla="*/ 0 h 854"/>
                <a:gd name="T2" fmla="*/ 285 w 854"/>
                <a:gd name="T3" fmla="*/ 0 h 854"/>
                <a:gd name="T4" fmla="*/ 0 w 854"/>
                <a:gd name="T5" fmla="*/ 285 h 854"/>
                <a:gd name="T6" fmla="*/ 0 w 854"/>
                <a:gd name="T7" fmla="*/ 569 h 854"/>
                <a:gd name="T8" fmla="*/ 285 w 854"/>
                <a:gd name="T9" fmla="*/ 854 h 854"/>
                <a:gd name="T10" fmla="*/ 569 w 854"/>
                <a:gd name="T11" fmla="*/ 854 h 854"/>
                <a:gd name="T12" fmla="*/ 854 w 854"/>
                <a:gd name="T13" fmla="*/ 569 h 854"/>
                <a:gd name="T14" fmla="*/ 854 w 854"/>
                <a:gd name="T15" fmla="*/ 285 h 854"/>
                <a:gd name="T16" fmla="*/ 569 w 854"/>
                <a:gd name="T17" fmla="*/ 0 h 854"/>
                <a:gd name="T18" fmla="*/ 285 w 854"/>
                <a:gd name="T19" fmla="*/ 569 h 854"/>
                <a:gd name="T20" fmla="*/ 285 w 854"/>
                <a:gd name="T21" fmla="*/ 285 h 854"/>
                <a:gd name="T22" fmla="*/ 569 w 854"/>
                <a:gd name="T23" fmla="*/ 285 h 854"/>
                <a:gd name="T24" fmla="*/ 569 w 854"/>
                <a:gd name="T25" fmla="*/ 569 h 854"/>
                <a:gd name="T26" fmla="*/ 285 w 854"/>
                <a:gd name="T27" fmla="*/ 569 h 854"/>
                <a:gd name="T28" fmla="*/ 285 w 854"/>
                <a:gd name="T29" fmla="*/ 569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4" h="854">
                  <a:moveTo>
                    <a:pt x="569" y="0"/>
                  </a:moveTo>
                  <a:lnTo>
                    <a:pt x="285" y="0"/>
                  </a:lnTo>
                  <a:cubicBezTo>
                    <a:pt x="128" y="0"/>
                    <a:pt x="0" y="128"/>
                    <a:pt x="0" y="285"/>
                  </a:cubicBezTo>
                  <a:lnTo>
                    <a:pt x="0" y="569"/>
                  </a:lnTo>
                  <a:cubicBezTo>
                    <a:pt x="0" y="726"/>
                    <a:pt x="128" y="854"/>
                    <a:pt x="285" y="854"/>
                  </a:cubicBezTo>
                  <a:lnTo>
                    <a:pt x="569" y="854"/>
                  </a:lnTo>
                  <a:cubicBezTo>
                    <a:pt x="726" y="854"/>
                    <a:pt x="854" y="726"/>
                    <a:pt x="854" y="569"/>
                  </a:cubicBezTo>
                  <a:lnTo>
                    <a:pt x="854" y="285"/>
                  </a:lnTo>
                  <a:cubicBezTo>
                    <a:pt x="854" y="128"/>
                    <a:pt x="726" y="0"/>
                    <a:pt x="569" y="0"/>
                  </a:cubicBezTo>
                  <a:close/>
                  <a:moveTo>
                    <a:pt x="285" y="569"/>
                  </a:moveTo>
                  <a:lnTo>
                    <a:pt x="285" y="285"/>
                  </a:lnTo>
                  <a:lnTo>
                    <a:pt x="569" y="285"/>
                  </a:lnTo>
                  <a:lnTo>
                    <a:pt x="569" y="569"/>
                  </a:lnTo>
                  <a:lnTo>
                    <a:pt x="285" y="569"/>
                  </a:lnTo>
                  <a:close/>
                  <a:moveTo>
                    <a:pt x="285" y="56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25">
              <a:extLst>
                <a:ext uri="{FF2B5EF4-FFF2-40B4-BE49-F238E27FC236}">
                  <a16:creationId xmlns:a16="http://schemas.microsoft.com/office/drawing/2014/main" id="{B8169214-36E3-44A9-BBDF-6DFE2C8C1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7" y="2479"/>
              <a:ext cx="23" cy="54"/>
            </a:xfrm>
            <a:custGeom>
              <a:avLst/>
              <a:gdLst>
                <a:gd name="T0" fmla="*/ 569 w 853"/>
                <a:gd name="T1" fmla="*/ 0 h 1991"/>
                <a:gd name="T2" fmla="*/ 285 w 853"/>
                <a:gd name="T3" fmla="*/ 0 h 1991"/>
                <a:gd name="T4" fmla="*/ 0 w 853"/>
                <a:gd name="T5" fmla="*/ 285 h 1991"/>
                <a:gd name="T6" fmla="*/ 0 w 853"/>
                <a:gd name="T7" fmla="*/ 1707 h 1991"/>
                <a:gd name="T8" fmla="*/ 285 w 853"/>
                <a:gd name="T9" fmla="*/ 1991 h 1991"/>
                <a:gd name="T10" fmla="*/ 569 w 853"/>
                <a:gd name="T11" fmla="*/ 1991 h 1991"/>
                <a:gd name="T12" fmla="*/ 853 w 853"/>
                <a:gd name="T13" fmla="*/ 1707 h 1991"/>
                <a:gd name="T14" fmla="*/ 853 w 853"/>
                <a:gd name="T15" fmla="*/ 285 h 1991"/>
                <a:gd name="T16" fmla="*/ 569 w 853"/>
                <a:gd name="T17" fmla="*/ 0 h 1991"/>
                <a:gd name="T18" fmla="*/ 285 w 853"/>
                <a:gd name="T19" fmla="*/ 1707 h 1991"/>
                <a:gd name="T20" fmla="*/ 285 w 853"/>
                <a:gd name="T21" fmla="*/ 285 h 1991"/>
                <a:gd name="T22" fmla="*/ 569 w 853"/>
                <a:gd name="T23" fmla="*/ 285 h 1991"/>
                <a:gd name="T24" fmla="*/ 569 w 853"/>
                <a:gd name="T25" fmla="*/ 1707 h 1991"/>
                <a:gd name="T26" fmla="*/ 285 w 853"/>
                <a:gd name="T27" fmla="*/ 1707 h 1991"/>
                <a:gd name="T28" fmla="*/ 285 w 853"/>
                <a:gd name="T29" fmla="*/ 1707 h 1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3" h="1991">
                  <a:moveTo>
                    <a:pt x="569" y="0"/>
                  </a:moveTo>
                  <a:lnTo>
                    <a:pt x="285" y="0"/>
                  </a:lnTo>
                  <a:cubicBezTo>
                    <a:pt x="127" y="0"/>
                    <a:pt x="0" y="128"/>
                    <a:pt x="0" y="285"/>
                  </a:cubicBezTo>
                  <a:lnTo>
                    <a:pt x="0" y="1707"/>
                  </a:lnTo>
                  <a:cubicBezTo>
                    <a:pt x="0" y="1864"/>
                    <a:pt x="127" y="1991"/>
                    <a:pt x="285" y="1991"/>
                  </a:cubicBezTo>
                  <a:lnTo>
                    <a:pt x="569" y="1991"/>
                  </a:lnTo>
                  <a:cubicBezTo>
                    <a:pt x="726" y="1991"/>
                    <a:pt x="853" y="1864"/>
                    <a:pt x="853" y="1707"/>
                  </a:cubicBezTo>
                  <a:lnTo>
                    <a:pt x="853" y="285"/>
                  </a:lnTo>
                  <a:cubicBezTo>
                    <a:pt x="853" y="128"/>
                    <a:pt x="726" y="0"/>
                    <a:pt x="569" y="0"/>
                  </a:cubicBezTo>
                  <a:close/>
                  <a:moveTo>
                    <a:pt x="285" y="1707"/>
                  </a:moveTo>
                  <a:lnTo>
                    <a:pt x="285" y="285"/>
                  </a:lnTo>
                  <a:lnTo>
                    <a:pt x="569" y="285"/>
                  </a:lnTo>
                  <a:lnTo>
                    <a:pt x="569" y="1707"/>
                  </a:lnTo>
                  <a:lnTo>
                    <a:pt x="285" y="1707"/>
                  </a:lnTo>
                  <a:close/>
                  <a:moveTo>
                    <a:pt x="285" y="170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26">
              <a:extLst>
                <a:ext uri="{FF2B5EF4-FFF2-40B4-BE49-F238E27FC236}">
                  <a16:creationId xmlns:a16="http://schemas.microsoft.com/office/drawing/2014/main" id="{0B79B44B-F99F-4593-9236-C27EC94F41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" y="2510"/>
              <a:ext cx="23" cy="23"/>
            </a:xfrm>
            <a:custGeom>
              <a:avLst/>
              <a:gdLst>
                <a:gd name="T0" fmla="*/ 569 w 854"/>
                <a:gd name="T1" fmla="*/ 0 h 853"/>
                <a:gd name="T2" fmla="*/ 285 w 854"/>
                <a:gd name="T3" fmla="*/ 0 h 853"/>
                <a:gd name="T4" fmla="*/ 0 w 854"/>
                <a:gd name="T5" fmla="*/ 285 h 853"/>
                <a:gd name="T6" fmla="*/ 0 w 854"/>
                <a:gd name="T7" fmla="*/ 569 h 853"/>
                <a:gd name="T8" fmla="*/ 285 w 854"/>
                <a:gd name="T9" fmla="*/ 853 h 853"/>
                <a:gd name="T10" fmla="*/ 569 w 854"/>
                <a:gd name="T11" fmla="*/ 853 h 853"/>
                <a:gd name="T12" fmla="*/ 854 w 854"/>
                <a:gd name="T13" fmla="*/ 569 h 853"/>
                <a:gd name="T14" fmla="*/ 854 w 854"/>
                <a:gd name="T15" fmla="*/ 285 h 853"/>
                <a:gd name="T16" fmla="*/ 569 w 854"/>
                <a:gd name="T17" fmla="*/ 0 h 853"/>
                <a:gd name="T18" fmla="*/ 285 w 854"/>
                <a:gd name="T19" fmla="*/ 569 h 853"/>
                <a:gd name="T20" fmla="*/ 285 w 854"/>
                <a:gd name="T21" fmla="*/ 285 h 853"/>
                <a:gd name="T22" fmla="*/ 569 w 854"/>
                <a:gd name="T23" fmla="*/ 285 h 853"/>
                <a:gd name="T24" fmla="*/ 569 w 854"/>
                <a:gd name="T25" fmla="*/ 569 h 853"/>
                <a:gd name="T26" fmla="*/ 285 w 854"/>
                <a:gd name="T27" fmla="*/ 569 h 853"/>
                <a:gd name="T28" fmla="*/ 285 w 854"/>
                <a:gd name="T29" fmla="*/ 569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4" h="853">
                  <a:moveTo>
                    <a:pt x="569" y="0"/>
                  </a:moveTo>
                  <a:lnTo>
                    <a:pt x="285" y="0"/>
                  </a:lnTo>
                  <a:cubicBezTo>
                    <a:pt x="128" y="0"/>
                    <a:pt x="0" y="127"/>
                    <a:pt x="0" y="285"/>
                  </a:cubicBezTo>
                  <a:lnTo>
                    <a:pt x="0" y="569"/>
                  </a:lnTo>
                  <a:cubicBezTo>
                    <a:pt x="0" y="726"/>
                    <a:pt x="128" y="853"/>
                    <a:pt x="285" y="853"/>
                  </a:cubicBezTo>
                  <a:lnTo>
                    <a:pt x="569" y="853"/>
                  </a:lnTo>
                  <a:cubicBezTo>
                    <a:pt x="726" y="853"/>
                    <a:pt x="854" y="726"/>
                    <a:pt x="854" y="569"/>
                  </a:cubicBezTo>
                  <a:lnTo>
                    <a:pt x="854" y="285"/>
                  </a:lnTo>
                  <a:cubicBezTo>
                    <a:pt x="854" y="127"/>
                    <a:pt x="726" y="0"/>
                    <a:pt x="569" y="0"/>
                  </a:cubicBezTo>
                  <a:close/>
                  <a:moveTo>
                    <a:pt x="285" y="569"/>
                  </a:moveTo>
                  <a:lnTo>
                    <a:pt x="285" y="285"/>
                  </a:lnTo>
                  <a:lnTo>
                    <a:pt x="569" y="285"/>
                  </a:lnTo>
                  <a:lnTo>
                    <a:pt x="569" y="569"/>
                  </a:lnTo>
                  <a:lnTo>
                    <a:pt x="285" y="569"/>
                  </a:lnTo>
                  <a:close/>
                  <a:moveTo>
                    <a:pt x="285" y="56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27">
              <a:extLst>
                <a:ext uri="{FF2B5EF4-FFF2-40B4-BE49-F238E27FC236}">
                  <a16:creationId xmlns:a16="http://schemas.microsoft.com/office/drawing/2014/main" id="{73C7AB84-13B4-42DD-A345-C5816B0136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8" y="2437"/>
              <a:ext cx="31" cy="54"/>
            </a:xfrm>
            <a:custGeom>
              <a:avLst/>
              <a:gdLst>
                <a:gd name="T0" fmla="*/ 712 w 1138"/>
                <a:gd name="T1" fmla="*/ 1422 h 1991"/>
                <a:gd name="T2" fmla="*/ 143 w 1138"/>
                <a:gd name="T3" fmla="*/ 1422 h 1991"/>
                <a:gd name="T4" fmla="*/ 0 w 1138"/>
                <a:gd name="T5" fmla="*/ 1564 h 1991"/>
                <a:gd name="T6" fmla="*/ 143 w 1138"/>
                <a:gd name="T7" fmla="*/ 1707 h 1991"/>
                <a:gd name="T8" fmla="*/ 427 w 1138"/>
                <a:gd name="T9" fmla="*/ 1707 h 1991"/>
                <a:gd name="T10" fmla="*/ 427 w 1138"/>
                <a:gd name="T11" fmla="*/ 1849 h 1991"/>
                <a:gd name="T12" fmla="*/ 569 w 1138"/>
                <a:gd name="T13" fmla="*/ 1991 h 1991"/>
                <a:gd name="T14" fmla="*/ 712 w 1138"/>
                <a:gd name="T15" fmla="*/ 1849 h 1991"/>
                <a:gd name="T16" fmla="*/ 712 w 1138"/>
                <a:gd name="T17" fmla="*/ 1707 h 1991"/>
                <a:gd name="T18" fmla="*/ 1138 w 1138"/>
                <a:gd name="T19" fmla="*/ 1280 h 1991"/>
                <a:gd name="T20" fmla="*/ 712 w 1138"/>
                <a:gd name="T21" fmla="*/ 853 h 1991"/>
                <a:gd name="T22" fmla="*/ 427 w 1138"/>
                <a:gd name="T23" fmla="*/ 853 h 1991"/>
                <a:gd name="T24" fmla="*/ 285 w 1138"/>
                <a:gd name="T25" fmla="*/ 711 h 1991"/>
                <a:gd name="T26" fmla="*/ 427 w 1138"/>
                <a:gd name="T27" fmla="*/ 569 h 1991"/>
                <a:gd name="T28" fmla="*/ 996 w 1138"/>
                <a:gd name="T29" fmla="*/ 569 h 1991"/>
                <a:gd name="T30" fmla="*/ 1138 w 1138"/>
                <a:gd name="T31" fmla="*/ 427 h 1991"/>
                <a:gd name="T32" fmla="*/ 996 w 1138"/>
                <a:gd name="T33" fmla="*/ 284 h 1991"/>
                <a:gd name="T34" fmla="*/ 712 w 1138"/>
                <a:gd name="T35" fmla="*/ 284 h 1991"/>
                <a:gd name="T36" fmla="*/ 712 w 1138"/>
                <a:gd name="T37" fmla="*/ 142 h 1991"/>
                <a:gd name="T38" fmla="*/ 569 w 1138"/>
                <a:gd name="T39" fmla="*/ 0 h 1991"/>
                <a:gd name="T40" fmla="*/ 427 w 1138"/>
                <a:gd name="T41" fmla="*/ 142 h 1991"/>
                <a:gd name="T42" fmla="*/ 427 w 1138"/>
                <a:gd name="T43" fmla="*/ 284 h 1991"/>
                <a:gd name="T44" fmla="*/ 0 w 1138"/>
                <a:gd name="T45" fmla="*/ 711 h 1991"/>
                <a:gd name="T46" fmla="*/ 427 w 1138"/>
                <a:gd name="T47" fmla="*/ 1138 h 1991"/>
                <a:gd name="T48" fmla="*/ 712 w 1138"/>
                <a:gd name="T49" fmla="*/ 1138 h 1991"/>
                <a:gd name="T50" fmla="*/ 854 w 1138"/>
                <a:gd name="T51" fmla="*/ 1280 h 1991"/>
                <a:gd name="T52" fmla="*/ 712 w 1138"/>
                <a:gd name="T53" fmla="*/ 1422 h 1991"/>
                <a:gd name="T54" fmla="*/ 712 w 1138"/>
                <a:gd name="T55" fmla="*/ 1422 h 1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38" h="1991">
                  <a:moveTo>
                    <a:pt x="712" y="1422"/>
                  </a:moveTo>
                  <a:lnTo>
                    <a:pt x="143" y="1422"/>
                  </a:lnTo>
                  <a:cubicBezTo>
                    <a:pt x="64" y="1422"/>
                    <a:pt x="0" y="1486"/>
                    <a:pt x="0" y="1564"/>
                  </a:cubicBezTo>
                  <a:cubicBezTo>
                    <a:pt x="0" y="1643"/>
                    <a:pt x="64" y="1707"/>
                    <a:pt x="143" y="1707"/>
                  </a:cubicBezTo>
                  <a:lnTo>
                    <a:pt x="427" y="1707"/>
                  </a:lnTo>
                  <a:lnTo>
                    <a:pt x="427" y="1849"/>
                  </a:lnTo>
                  <a:cubicBezTo>
                    <a:pt x="427" y="1927"/>
                    <a:pt x="491" y="1991"/>
                    <a:pt x="569" y="1991"/>
                  </a:cubicBezTo>
                  <a:cubicBezTo>
                    <a:pt x="648" y="1991"/>
                    <a:pt x="712" y="1927"/>
                    <a:pt x="712" y="1849"/>
                  </a:cubicBezTo>
                  <a:lnTo>
                    <a:pt x="712" y="1707"/>
                  </a:lnTo>
                  <a:cubicBezTo>
                    <a:pt x="947" y="1707"/>
                    <a:pt x="1138" y="1516"/>
                    <a:pt x="1138" y="1280"/>
                  </a:cubicBezTo>
                  <a:cubicBezTo>
                    <a:pt x="1138" y="1044"/>
                    <a:pt x="947" y="853"/>
                    <a:pt x="712" y="853"/>
                  </a:cubicBezTo>
                  <a:lnTo>
                    <a:pt x="427" y="853"/>
                  </a:lnTo>
                  <a:cubicBezTo>
                    <a:pt x="349" y="853"/>
                    <a:pt x="285" y="790"/>
                    <a:pt x="285" y="711"/>
                  </a:cubicBezTo>
                  <a:cubicBezTo>
                    <a:pt x="285" y="632"/>
                    <a:pt x="349" y="569"/>
                    <a:pt x="427" y="569"/>
                  </a:cubicBezTo>
                  <a:lnTo>
                    <a:pt x="996" y="569"/>
                  </a:lnTo>
                  <a:cubicBezTo>
                    <a:pt x="1075" y="569"/>
                    <a:pt x="1138" y="505"/>
                    <a:pt x="1138" y="427"/>
                  </a:cubicBezTo>
                  <a:cubicBezTo>
                    <a:pt x="1138" y="348"/>
                    <a:pt x="1075" y="284"/>
                    <a:pt x="996" y="284"/>
                  </a:cubicBezTo>
                  <a:lnTo>
                    <a:pt x="712" y="284"/>
                  </a:lnTo>
                  <a:lnTo>
                    <a:pt x="712" y="142"/>
                  </a:lnTo>
                  <a:cubicBezTo>
                    <a:pt x="712" y="64"/>
                    <a:pt x="648" y="0"/>
                    <a:pt x="569" y="0"/>
                  </a:cubicBezTo>
                  <a:cubicBezTo>
                    <a:pt x="491" y="0"/>
                    <a:pt x="427" y="64"/>
                    <a:pt x="427" y="142"/>
                  </a:cubicBezTo>
                  <a:lnTo>
                    <a:pt x="427" y="284"/>
                  </a:lnTo>
                  <a:cubicBezTo>
                    <a:pt x="191" y="284"/>
                    <a:pt x="0" y="475"/>
                    <a:pt x="0" y="711"/>
                  </a:cubicBezTo>
                  <a:cubicBezTo>
                    <a:pt x="0" y="947"/>
                    <a:pt x="191" y="1138"/>
                    <a:pt x="427" y="1138"/>
                  </a:cubicBezTo>
                  <a:lnTo>
                    <a:pt x="712" y="1138"/>
                  </a:lnTo>
                  <a:cubicBezTo>
                    <a:pt x="790" y="1138"/>
                    <a:pt x="854" y="1201"/>
                    <a:pt x="854" y="1280"/>
                  </a:cubicBezTo>
                  <a:cubicBezTo>
                    <a:pt x="854" y="1358"/>
                    <a:pt x="790" y="1422"/>
                    <a:pt x="712" y="1422"/>
                  </a:cubicBezTo>
                  <a:close/>
                  <a:moveTo>
                    <a:pt x="712" y="1422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7E7073A-E7E2-4DD2-9954-E56E323930BC}"/>
              </a:ext>
            </a:extLst>
          </p:cNvPr>
          <p:cNvGrpSpPr/>
          <p:nvPr/>
        </p:nvGrpSpPr>
        <p:grpSpPr>
          <a:xfrm>
            <a:off x="11176001" y="1400269"/>
            <a:ext cx="553178" cy="687360"/>
            <a:chOff x="860425" y="2705100"/>
            <a:chExt cx="693737" cy="862013"/>
          </a:xfrm>
          <a:solidFill>
            <a:srgbClr val="B1C7F7">
              <a:alpha val="50000"/>
            </a:srgbClr>
          </a:solidFill>
        </p:grpSpPr>
        <p:sp>
          <p:nvSpPr>
            <p:cNvPr id="95" name="Freeform 28">
              <a:extLst>
                <a:ext uri="{FF2B5EF4-FFF2-40B4-BE49-F238E27FC236}">
                  <a16:creationId xmlns:a16="http://schemas.microsoft.com/office/drawing/2014/main" id="{CF81B743-090F-4678-9318-8C4899F5A0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25" y="2705100"/>
              <a:ext cx="693737" cy="862013"/>
            </a:xfrm>
            <a:custGeom>
              <a:avLst/>
              <a:gdLst>
                <a:gd name="T0" fmla="*/ 1274 w 6667"/>
                <a:gd name="T1" fmla="*/ 0 h 8267"/>
                <a:gd name="T2" fmla="*/ 0 w 6667"/>
                <a:gd name="T3" fmla="*/ 1415 h 8267"/>
                <a:gd name="T4" fmla="*/ 0 w 6667"/>
                <a:gd name="T5" fmla="*/ 8267 h 8267"/>
                <a:gd name="T6" fmla="*/ 6667 w 6667"/>
                <a:gd name="T7" fmla="*/ 8267 h 8267"/>
                <a:gd name="T8" fmla="*/ 6667 w 6667"/>
                <a:gd name="T9" fmla="*/ 0 h 8267"/>
                <a:gd name="T10" fmla="*/ 1274 w 6667"/>
                <a:gd name="T11" fmla="*/ 0 h 8267"/>
                <a:gd name="T12" fmla="*/ 1200 w 6667"/>
                <a:gd name="T13" fmla="*/ 481 h 8267"/>
                <a:gd name="T14" fmla="*/ 1200 w 6667"/>
                <a:gd name="T15" fmla="*/ 1333 h 8267"/>
                <a:gd name="T16" fmla="*/ 433 w 6667"/>
                <a:gd name="T17" fmla="*/ 1333 h 8267"/>
                <a:gd name="T18" fmla="*/ 1200 w 6667"/>
                <a:gd name="T19" fmla="*/ 481 h 8267"/>
                <a:gd name="T20" fmla="*/ 6400 w 6667"/>
                <a:gd name="T21" fmla="*/ 8000 h 8267"/>
                <a:gd name="T22" fmla="*/ 267 w 6667"/>
                <a:gd name="T23" fmla="*/ 8000 h 8267"/>
                <a:gd name="T24" fmla="*/ 267 w 6667"/>
                <a:gd name="T25" fmla="*/ 1600 h 8267"/>
                <a:gd name="T26" fmla="*/ 1467 w 6667"/>
                <a:gd name="T27" fmla="*/ 1600 h 8267"/>
                <a:gd name="T28" fmla="*/ 1467 w 6667"/>
                <a:gd name="T29" fmla="*/ 267 h 8267"/>
                <a:gd name="T30" fmla="*/ 6400 w 6667"/>
                <a:gd name="T31" fmla="*/ 267 h 8267"/>
                <a:gd name="T32" fmla="*/ 6400 w 6667"/>
                <a:gd name="T33" fmla="*/ 8000 h 8267"/>
                <a:gd name="T34" fmla="*/ 6400 w 6667"/>
                <a:gd name="T35" fmla="*/ 8000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67" h="8267">
                  <a:moveTo>
                    <a:pt x="1274" y="0"/>
                  </a:moveTo>
                  <a:lnTo>
                    <a:pt x="0" y="1415"/>
                  </a:lnTo>
                  <a:lnTo>
                    <a:pt x="0" y="8267"/>
                  </a:lnTo>
                  <a:lnTo>
                    <a:pt x="6667" y="8267"/>
                  </a:lnTo>
                  <a:lnTo>
                    <a:pt x="6667" y="0"/>
                  </a:lnTo>
                  <a:lnTo>
                    <a:pt x="1274" y="0"/>
                  </a:lnTo>
                  <a:close/>
                  <a:moveTo>
                    <a:pt x="1200" y="481"/>
                  </a:moveTo>
                  <a:lnTo>
                    <a:pt x="1200" y="1333"/>
                  </a:lnTo>
                  <a:lnTo>
                    <a:pt x="433" y="1333"/>
                  </a:lnTo>
                  <a:lnTo>
                    <a:pt x="1200" y="481"/>
                  </a:lnTo>
                  <a:close/>
                  <a:moveTo>
                    <a:pt x="6400" y="8000"/>
                  </a:moveTo>
                  <a:lnTo>
                    <a:pt x="267" y="8000"/>
                  </a:lnTo>
                  <a:lnTo>
                    <a:pt x="267" y="1600"/>
                  </a:lnTo>
                  <a:lnTo>
                    <a:pt x="1467" y="1600"/>
                  </a:lnTo>
                  <a:lnTo>
                    <a:pt x="1467" y="267"/>
                  </a:lnTo>
                  <a:lnTo>
                    <a:pt x="6400" y="267"/>
                  </a:lnTo>
                  <a:lnTo>
                    <a:pt x="6400" y="8000"/>
                  </a:lnTo>
                  <a:close/>
                  <a:moveTo>
                    <a:pt x="6400" y="800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9">
              <a:extLst>
                <a:ext uri="{FF2B5EF4-FFF2-40B4-BE49-F238E27FC236}">
                  <a16:creationId xmlns:a16="http://schemas.microsoft.com/office/drawing/2014/main" id="{B3868576-4D61-4F18-87AD-0460527AB5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4925" y="2760663"/>
              <a:ext cx="193675" cy="28575"/>
            </a:xfrm>
            <a:custGeom>
              <a:avLst/>
              <a:gdLst>
                <a:gd name="T0" fmla="*/ 0 w 1866"/>
                <a:gd name="T1" fmla="*/ 0 h 267"/>
                <a:gd name="T2" fmla="*/ 1866 w 1866"/>
                <a:gd name="T3" fmla="*/ 0 h 267"/>
                <a:gd name="T4" fmla="*/ 1866 w 1866"/>
                <a:gd name="T5" fmla="*/ 267 h 267"/>
                <a:gd name="T6" fmla="*/ 0 w 1866"/>
                <a:gd name="T7" fmla="*/ 267 h 267"/>
                <a:gd name="T8" fmla="*/ 0 w 1866"/>
                <a:gd name="T9" fmla="*/ 0 h 267"/>
                <a:gd name="T10" fmla="*/ 0 w 18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6" h="267">
                  <a:moveTo>
                    <a:pt x="0" y="0"/>
                  </a:moveTo>
                  <a:lnTo>
                    <a:pt x="1866" y="0"/>
                  </a:lnTo>
                  <a:lnTo>
                    <a:pt x="18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0">
              <a:extLst>
                <a:ext uri="{FF2B5EF4-FFF2-40B4-BE49-F238E27FC236}">
                  <a16:creationId xmlns:a16="http://schemas.microsoft.com/office/drawing/2014/main" id="{CDB05474-1581-4CE7-9FF0-F42C8D24BF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3800" y="2816225"/>
              <a:ext cx="304800" cy="28575"/>
            </a:xfrm>
            <a:custGeom>
              <a:avLst/>
              <a:gdLst>
                <a:gd name="T0" fmla="*/ 0 w 2933"/>
                <a:gd name="T1" fmla="*/ 0 h 266"/>
                <a:gd name="T2" fmla="*/ 2933 w 2933"/>
                <a:gd name="T3" fmla="*/ 0 h 266"/>
                <a:gd name="T4" fmla="*/ 2933 w 2933"/>
                <a:gd name="T5" fmla="*/ 266 h 266"/>
                <a:gd name="T6" fmla="*/ 0 w 2933"/>
                <a:gd name="T7" fmla="*/ 266 h 266"/>
                <a:gd name="T8" fmla="*/ 0 w 2933"/>
                <a:gd name="T9" fmla="*/ 0 h 266"/>
                <a:gd name="T10" fmla="*/ 0 w 2933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33" h="266">
                  <a:moveTo>
                    <a:pt x="0" y="0"/>
                  </a:moveTo>
                  <a:lnTo>
                    <a:pt x="2933" y="0"/>
                  </a:lnTo>
                  <a:lnTo>
                    <a:pt x="2933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1">
              <a:extLst>
                <a:ext uri="{FF2B5EF4-FFF2-40B4-BE49-F238E27FC236}">
                  <a16:creationId xmlns:a16="http://schemas.microsoft.com/office/drawing/2014/main" id="{917728A0-7B37-4E93-AD03-501795DFC3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975" y="2871788"/>
              <a:ext cx="528637" cy="584200"/>
            </a:xfrm>
            <a:custGeom>
              <a:avLst/>
              <a:gdLst>
                <a:gd name="T0" fmla="*/ 3063 w 5067"/>
                <a:gd name="T1" fmla="*/ 267 h 5600"/>
                <a:gd name="T2" fmla="*/ 2003 w 5067"/>
                <a:gd name="T3" fmla="*/ 267 h 5600"/>
                <a:gd name="T4" fmla="*/ 0 w 5067"/>
                <a:gd name="T5" fmla="*/ 533 h 5600"/>
                <a:gd name="T6" fmla="*/ 267 w 5067"/>
                <a:gd name="T7" fmla="*/ 1067 h 5600"/>
                <a:gd name="T8" fmla="*/ 301 w 5067"/>
                <a:gd name="T9" fmla="*/ 2133 h 5600"/>
                <a:gd name="T10" fmla="*/ 0 w 5067"/>
                <a:gd name="T11" fmla="*/ 2267 h 5600"/>
                <a:gd name="T12" fmla="*/ 1200 w 5067"/>
                <a:gd name="T13" fmla="*/ 2933 h 5600"/>
                <a:gd name="T14" fmla="*/ 1867 w 5067"/>
                <a:gd name="T15" fmla="*/ 2133 h 5600"/>
                <a:gd name="T16" fmla="*/ 1246 w 5067"/>
                <a:gd name="T17" fmla="*/ 1067 h 5600"/>
                <a:gd name="T18" fmla="*/ 2133 w 5067"/>
                <a:gd name="T19" fmla="*/ 1197 h 5600"/>
                <a:gd name="T20" fmla="*/ 2000 w 5067"/>
                <a:gd name="T21" fmla="*/ 4800 h 5600"/>
                <a:gd name="T22" fmla="*/ 1333 w 5067"/>
                <a:gd name="T23" fmla="*/ 5600 h 5600"/>
                <a:gd name="T24" fmla="*/ 3733 w 5067"/>
                <a:gd name="T25" fmla="*/ 5467 h 5600"/>
                <a:gd name="T26" fmla="*/ 2933 w 5067"/>
                <a:gd name="T27" fmla="*/ 4800 h 5600"/>
                <a:gd name="T28" fmla="*/ 3063 w 5067"/>
                <a:gd name="T29" fmla="*/ 1067 h 5600"/>
                <a:gd name="T30" fmla="*/ 3501 w 5067"/>
                <a:gd name="T31" fmla="*/ 2133 h 5600"/>
                <a:gd name="T32" fmla="*/ 3200 w 5067"/>
                <a:gd name="T33" fmla="*/ 2267 h 5600"/>
                <a:gd name="T34" fmla="*/ 4400 w 5067"/>
                <a:gd name="T35" fmla="*/ 2933 h 5600"/>
                <a:gd name="T36" fmla="*/ 5067 w 5067"/>
                <a:gd name="T37" fmla="*/ 2133 h 5600"/>
                <a:gd name="T38" fmla="*/ 4446 w 5067"/>
                <a:gd name="T39" fmla="*/ 1067 h 5600"/>
                <a:gd name="T40" fmla="*/ 5067 w 5067"/>
                <a:gd name="T41" fmla="*/ 800 h 5600"/>
                <a:gd name="T42" fmla="*/ 4800 w 5067"/>
                <a:gd name="T43" fmla="*/ 267 h 5600"/>
                <a:gd name="T44" fmla="*/ 667 w 5067"/>
                <a:gd name="T45" fmla="*/ 2667 h 5600"/>
                <a:gd name="T46" fmla="*/ 1577 w 5067"/>
                <a:gd name="T47" fmla="*/ 2400 h 5600"/>
                <a:gd name="T48" fmla="*/ 1287 w 5067"/>
                <a:gd name="T49" fmla="*/ 2133 h 5600"/>
                <a:gd name="T50" fmla="*/ 899 w 5067"/>
                <a:gd name="T51" fmla="*/ 1067 h 5600"/>
                <a:gd name="T52" fmla="*/ 1287 w 5067"/>
                <a:gd name="T53" fmla="*/ 2133 h 5600"/>
                <a:gd name="T54" fmla="*/ 267 w 5067"/>
                <a:gd name="T55" fmla="*/ 533 h 5600"/>
                <a:gd name="T56" fmla="*/ 1867 w 5067"/>
                <a:gd name="T57" fmla="*/ 667 h 5600"/>
                <a:gd name="T58" fmla="*/ 267 w 5067"/>
                <a:gd name="T59" fmla="*/ 800 h 5600"/>
                <a:gd name="T60" fmla="*/ 1623 w 5067"/>
                <a:gd name="T61" fmla="*/ 5333 h 5600"/>
                <a:gd name="T62" fmla="*/ 3067 w 5067"/>
                <a:gd name="T63" fmla="*/ 5067 h 5600"/>
                <a:gd name="T64" fmla="*/ 2667 w 5067"/>
                <a:gd name="T65" fmla="*/ 4800 h 5600"/>
                <a:gd name="T66" fmla="*/ 2400 w 5067"/>
                <a:gd name="T67" fmla="*/ 1320 h 5600"/>
                <a:gd name="T68" fmla="*/ 2667 w 5067"/>
                <a:gd name="T69" fmla="*/ 1320 h 5600"/>
                <a:gd name="T70" fmla="*/ 2533 w 5067"/>
                <a:gd name="T71" fmla="*/ 1067 h 5600"/>
                <a:gd name="T72" fmla="*/ 2533 w 5067"/>
                <a:gd name="T73" fmla="*/ 267 h 5600"/>
                <a:gd name="T74" fmla="*/ 2533 w 5067"/>
                <a:gd name="T75" fmla="*/ 1067 h 5600"/>
                <a:gd name="T76" fmla="*/ 3867 w 5067"/>
                <a:gd name="T77" fmla="*/ 2667 h 5600"/>
                <a:gd name="T78" fmla="*/ 4777 w 5067"/>
                <a:gd name="T79" fmla="*/ 2400 h 5600"/>
                <a:gd name="T80" fmla="*/ 4487 w 5067"/>
                <a:gd name="T81" fmla="*/ 2133 h 5600"/>
                <a:gd name="T82" fmla="*/ 4099 w 5067"/>
                <a:gd name="T83" fmla="*/ 1067 h 5600"/>
                <a:gd name="T84" fmla="*/ 4487 w 5067"/>
                <a:gd name="T85" fmla="*/ 2133 h 5600"/>
                <a:gd name="T86" fmla="*/ 3187 w 5067"/>
                <a:gd name="T87" fmla="*/ 800 h 5600"/>
                <a:gd name="T88" fmla="*/ 3187 w 5067"/>
                <a:gd name="T89" fmla="*/ 533 h 5600"/>
                <a:gd name="T90" fmla="*/ 4800 w 5067"/>
                <a:gd name="T91" fmla="*/ 800 h 5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067" h="5600">
                  <a:moveTo>
                    <a:pt x="4800" y="267"/>
                  </a:moveTo>
                  <a:lnTo>
                    <a:pt x="3063" y="267"/>
                  </a:lnTo>
                  <a:cubicBezTo>
                    <a:pt x="2941" y="106"/>
                    <a:pt x="2750" y="0"/>
                    <a:pt x="2533" y="0"/>
                  </a:cubicBezTo>
                  <a:cubicBezTo>
                    <a:pt x="2317" y="0"/>
                    <a:pt x="2125" y="106"/>
                    <a:pt x="2003" y="267"/>
                  </a:cubicBezTo>
                  <a:lnTo>
                    <a:pt x="267" y="267"/>
                  </a:lnTo>
                  <a:cubicBezTo>
                    <a:pt x="120" y="267"/>
                    <a:pt x="0" y="386"/>
                    <a:pt x="0" y="533"/>
                  </a:cubicBezTo>
                  <a:lnTo>
                    <a:pt x="0" y="800"/>
                  </a:lnTo>
                  <a:cubicBezTo>
                    <a:pt x="0" y="947"/>
                    <a:pt x="120" y="1067"/>
                    <a:pt x="267" y="1067"/>
                  </a:cubicBezTo>
                  <a:lnTo>
                    <a:pt x="621" y="1067"/>
                  </a:lnTo>
                  <a:lnTo>
                    <a:pt x="301" y="2133"/>
                  </a:lnTo>
                  <a:lnTo>
                    <a:pt x="0" y="2133"/>
                  </a:lnTo>
                  <a:lnTo>
                    <a:pt x="0" y="2267"/>
                  </a:lnTo>
                  <a:cubicBezTo>
                    <a:pt x="0" y="2634"/>
                    <a:pt x="299" y="2933"/>
                    <a:pt x="667" y="2933"/>
                  </a:cubicBezTo>
                  <a:lnTo>
                    <a:pt x="1200" y="2933"/>
                  </a:lnTo>
                  <a:cubicBezTo>
                    <a:pt x="1568" y="2933"/>
                    <a:pt x="1867" y="2634"/>
                    <a:pt x="1867" y="2267"/>
                  </a:cubicBezTo>
                  <a:lnTo>
                    <a:pt x="1867" y="2133"/>
                  </a:lnTo>
                  <a:lnTo>
                    <a:pt x="1566" y="2133"/>
                  </a:lnTo>
                  <a:lnTo>
                    <a:pt x="1246" y="1067"/>
                  </a:lnTo>
                  <a:lnTo>
                    <a:pt x="2003" y="1067"/>
                  </a:lnTo>
                  <a:cubicBezTo>
                    <a:pt x="2041" y="1116"/>
                    <a:pt x="2084" y="1159"/>
                    <a:pt x="2133" y="1197"/>
                  </a:cubicBezTo>
                  <a:lnTo>
                    <a:pt x="2133" y="4800"/>
                  </a:lnTo>
                  <a:lnTo>
                    <a:pt x="2000" y="4800"/>
                  </a:lnTo>
                  <a:cubicBezTo>
                    <a:pt x="1632" y="4800"/>
                    <a:pt x="1333" y="5099"/>
                    <a:pt x="1333" y="5467"/>
                  </a:cubicBezTo>
                  <a:lnTo>
                    <a:pt x="1333" y="5600"/>
                  </a:lnTo>
                  <a:lnTo>
                    <a:pt x="3733" y="5600"/>
                  </a:lnTo>
                  <a:lnTo>
                    <a:pt x="3733" y="5467"/>
                  </a:lnTo>
                  <a:cubicBezTo>
                    <a:pt x="3733" y="5099"/>
                    <a:pt x="3434" y="4800"/>
                    <a:pt x="3067" y="4800"/>
                  </a:cubicBezTo>
                  <a:lnTo>
                    <a:pt x="2933" y="4800"/>
                  </a:lnTo>
                  <a:lnTo>
                    <a:pt x="2933" y="1197"/>
                  </a:lnTo>
                  <a:cubicBezTo>
                    <a:pt x="2982" y="1159"/>
                    <a:pt x="3026" y="1116"/>
                    <a:pt x="3063" y="1067"/>
                  </a:cubicBezTo>
                  <a:lnTo>
                    <a:pt x="3821" y="1067"/>
                  </a:lnTo>
                  <a:lnTo>
                    <a:pt x="3501" y="2133"/>
                  </a:lnTo>
                  <a:lnTo>
                    <a:pt x="3200" y="2133"/>
                  </a:lnTo>
                  <a:lnTo>
                    <a:pt x="3200" y="2267"/>
                  </a:lnTo>
                  <a:cubicBezTo>
                    <a:pt x="3200" y="2634"/>
                    <a:pt x="3499" y="2933"/>
                    <a:pt x="3867" y="2933"/>
                  </a:cubicBezTo>
                  <a:lnTo>
                    <a:pt x="4400" y="2933"/>
                  </a:lnTo>
                  <a:cubicBezTo>
                    <a:pt x="4768" y="2933"/>
                    <a:pt x="5067" y="2634"/>
                    <a:pt x="5067" y="2267"/>
                  </a:cubicBezTo>
                  <a:lnTo>
                    <a:pt x="5067" y="2133"/>
                  </a:lnTo>
                  <a:lnTo>
                    <a:pt x="4766" y="2133"/>
                  </a:lnTo>
                  <a:lnTo>
                    <a:pt x="4446" y="1067"/>
                  </a:lnTo>
                  <a:lnTo>
                    <a:pt x="4800" y="1067"/>
                  </a:lnTo>
                  <a:cubicBezTo>
                    <a:pt x="4947" y="1067"/>
                    <a:pt x="5067" y="947"/>
                    <a:pt x="5067" y="800"/>
                  </a:cubicBezTo>
                  <a:lnTo>
                    <a:pt x="5067" y="533"/>
                  </a:lnTo>
                  <a:cubicBezTo>
                    <a:pt x="5067" y="386"/>
                    <a:pt x="4947" y="267"/>
                    <a:pt x="4800" y="267"/>
                  </a:cubicBezTo>
                  <a:close/>
                  <a:moveTo>
                    <a:pt x="1200" y="2667"/>
                  </a:moveTo>
                  <a:lnTo>
                    <a:pt x="667" y="2667"/>
                  </a:lnTo>
                  <a:cubicBezTo>
                    <a:pt x="493" y="2667"/>
                    <a:pt x="345" y="2555"/>
                    <a:pt x="289" y="2400"/>
                  </a:cubicBezTo>
                  <a:lnTo>
                    <a:pt x="1577" y="2400"/>
                  </a:lnTo>
                  <a:cubicBezTo>
                    <a:pt x="1522" y="2555"/>
                    <a:pt x="1374" y="2667"/>
                    <a:pt x="1200" y="2667"/>
                  </a:cubicBezTo>
                  <a:close/>
                  <a:moveTo>
                    <a:pt x="1287" y="2133"/>
                  </a:moveTo>
                  <a:lnTo>
                    <a:pt x="579" y="2133"/>
                  </a:lnTo>
                  <a:lnTo>
                    <a:pt x="899" y="1067"/>
                  </a:lnTo>
                  <a:lnTo>
                    <a:pt x="967" y="1067"/>
                  </a:lnTo>
                  <a:lnTo>
                    <a:pt x="1287" y="2133"/>
                  </a:lnTo>
                  <a:close/>
                  <a:moveTo>
                    <a:pt x="267" y="800"/>
                  </a:moveTo>
                  <a:lnTo>
                    <a:pt x="267" y="533"/>
                  </a:lnTo>
                  <a:lnTo>
                    <a:pt x="1880" y="533"/>
                  </a:lnTo>
                  <a:cubicBezTo>
                    <a:pt x="1871" y="576"/>
                    <a:pt x="1867" y="621"/>
                    <a:pt x="1867" y="667"/>
                  </a:cubicBezTo>
                  <a:cubicBezTo>
                    <a:pt x="1867" y="712"/>
                    <a:pt x="1871" y="757"/>
                    <a:pt x="1880" y="800"/>
                  </a:cubicBezTo>
                  <a:lnTo>
                    <a:pt x="267" y="800"/>
                  </a:lnTo>
                  <a:close/>
                  <a:moveTo>
                    <a:pt x="3444" y="5333"/>
                  </a:moveTo>
                  <a:lnTo>
                    <a:pt x="1623" y="5333"/>
                  </a:lnTo>
                  <a:cubicBezTo>
                    <a:pt x="1678" y="5178"/>
                    <a:pt x="1826" y="5067"/>
                    <a:pt x="2000" y="5067"/>
                  </a:cubicBezTo>
                  <a:lnTo>
                    <a:pt x="3067" y="5067"/>
                  </a:lnTo>
                  <a:cubicBezTo>
                    <a:pt x="3241" y="5067"/>
                    <a:pt x="3389" y="5178"/>
                    <a:pt x="3444" y="5333"/>
                  </a:cubicBezTo>
                  <a:close/>
                  <a:moveTo>
                    <a:pt x="2667" y="4800"/>
                  </a:moveTo>
                  <a:lnTo>
                    <a:pt x="2400" y="4800"/>
                  </a:lnTo>
                  <a:lnTo>
                    <a:pt x="2400" y="1320"/>
                  </a:lnTo>
                  <a:cubicBezTo>
                    <a:pt x="2443" y="1329"/>
                    <a:pt x="2488" y="1333"/>
                    <a:pt x="2533" y="1333"/>
                  </a:cubicBezTo>
                  <a:cubicBezTo>
                    <a:pt x="2579" y="1333"/>
                    <a:pt x="2624" y="1329"/>
                    <a:pt x="2667" y="1320"/>
                  </a:cubicBezTo>
                  <a:lnTo>
                    <a:pt x="2667" y="4800"/>
                  </a:lnTo>
                  <a:close/>
                  <a:moveTo>
                    <a:pt x="2533" y="1067"/>
                  </a:moveTo>
                  <a:cubicBezTo>
                    <a:pt x="2313" y="1067"/>
                    <a:pt x="2133" y="887"/>
                    <a:pt x="2133" y="667"/>
                  </a:cubicBezTo>
                  <a:cubicBezTo>
                    <a:pt x="2133" y="446"/>
                    <a:pt x="2313" y="267"/>
                    <a:pt x="2533" y="267"/>
                  </a:cubicBezTo>
                  <a:cubicBezTo>
                    <a:pt x="2754" y="267"/>
                    <a:pt x="2933" y="446"/>
                    <a:pt x="2933" y="667"/>
                  </a:cubicBezTo>
                  <a:cubicBezTo>
                    <a:pt x="2933" y="887"/>
                    <a:pt x="2754" y="1067"/>
                    <a:pt x="2533" y="1067"/>
                  </a:cubicBezTo>
                  <a:close/>
                  <a:moveTo>
                    <a:pt x="4400" y="2667"/>
                  </a:moveTo>
                  <a:lnTo>
                    <a:pt x="3867" y="2667"/>
                  </a:lnTo>
                  <a:cubicBezTo>
                    <a:pt x="3693" y="2667"/>
                    <a:pt x="3545" y="2555"/>
                    <a:pt x="3489" y="2400"/>
                  </a:cubicBezTo>
                  <a:lnTo>
                    <a:pt x="4777" y="2400"/>
                  </a:lnTo>
                  <a:cubicBezTo>
                    <a:pt x="4722" y="2555"/>
                    <a:pt x="4574" y="2667"/>
                    <a:pt x="4400" y="2667"/>
                  </a:cubicBezTo>
                  <a:close/>
                  <a:moveTo>
                    <a:pt x="4487" y="2133"/>
                  </a:moveTo>
                  <a:lnTo>
                    <a:pt x="3779" y="2133"/>
                  </a:lnTo>
                  <a:lnTo>
                    <a:pt x="4099" y="1067"/>
                  </a:lnTo>
                  <a:lnTo>
                    <a:pt x="4167" y="1067"/>
                  </a:lnTo>
                  <a:lnTo>
                    <a:pt x="4487" y="2133"/>
                  </a:lnTo>
                  <a:close/>
                  <a:moveTo>
                    <a:pt x="4800" y="800"/>
                  </a:moveTo>
                  <a:lnTo>
                    <a:pt x="3187" y="800"/>
                  </a:lnTo>
                  <a:cubicBezTo>
                    <a:pt x="3195" y="757"/>
                    <a:pt x="3200" y="712"/>
                    <a:pt x="3200" y="667"/>
                  </a:cubicBezTo>
                  <a:cubicBezTo>
                    <a:pt x="3200" y="621"/>
                    <a:pt x="3195" y="576"/>
                    <a:pt x="3187" y="533"/>
                  </a:cubicBezTo>
                  <a:lnTo>
                    <a:pt x="4800" y="533"/>
                  </a:lnTo>
                  <a:lnTo>
                    <a:pt x="4800" y="800"/>
                  </a:lnTo>
                  <a:close/>
                  <a:moveTo>
                    <a:pt x="4800" y="80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" name="Group 208">
            <a:extLst>
              <a:ext uri="{FF2B5EF4-FFF2-40B4-BE49-F238E27FC236}">
                <a16:creationId xmlns:a16="http://schemas.microsoft.com/office/drawing/2014/main" id="{9BE3E2AB-1C19-49FC-98B8-CC033C53153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66300" y="1333366"/>
            <a:ext cx="671283" cy="743941"/>
            <a:chOff x="2225" y="2955"/>
            <a:chExt cx="619" cy="686"/>
          </a:xfrm>
          <a:solidFill>
            <a:srgbClr val="B1C7F7">
              <a:alpha val="50000"/>
            </a:srgbClr>
          </a:solidFill>
        </p:grpSpPr>
        <p:sp>
          <p:nvSpPr>
            <p:cNvPr id="42" name="Freeform 209">
              <a:extLst>
                <a:ext uri="{FF2B5EF4-FFF2-40B4-BE49-F238E27FC236}">
                  <a16:creationId xmlns:a16="http://schemas.microsoft.com/office/drawing/2014/main" id="{5FAE89BC-083B-4D4F-A80D-6DF8D3E905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5" y="3502"/>
              <a:ext cx="184" cy="139"/>
            </a:xfrm>
            <a:custGeom>
              <a:avLst/>
              <a:gdLst>
                <a:gd name="T0" fmla="*/ 1077 w 1716"/>
                <a:gd name="T1" fmla="*/ 0 h 1303"/>
                <a:gd name="T2" fmla="*/ 923 w 1716"/>
                <a:gd name="T3" fmla="*/ 0 h 1303"/>
                <a:gd name="T4" fmla="*/ 793 w 1716"/>
                <a:gd name="T5" fmla="*/ 0 h 1303"/>
                <a:gd name="T6" fmla="*/ 639 w 1716"/>
                <a:gd name="T7" fmla="*/ 0 h 1303"/>
                <a:gd name="T8" fmla="*/ 0 w 1716"/>
                <a:gd name="T9" fmla="*/ 639 h 1303"/>
                <a:gd name="T10" fmla="*/ 0 w 1716"/>
                <a:gd name="T11" fmla="*/ 1209 h 1303"/>
                <a:gd name="T12" fmla="*/ 93 w 1716"/>
                <a:gd name="T13" fmla="*/ 1303 h 1303"/>
                <a:gd name="T14" fmla="*/ 187 w 1716"/>
                <a:gd name="T15" fmla="*/ 1209 h 1303"/>
                <a:gd name="T16" fmla="*/ 187 w 1716"/>
                <a:gd name="T17" fmla="*/ 639 h 1303"/>
                <a:gd name="T18" fmla="*/ 639 w 1716"/>
                <a:gd name="T19" fmla="*/ 188 h 1303"/>
                <a:gd name="T20" fmla="*/ 668 w 1716"/>
                <a:gd name="T21" fmla="*/ 188 h 1303"/>
                <a:gd name="T22" fmla="*/ 523 w 1716"/>
                <a:gd name="T23" fmla="*/ 679 h 1303"/>
                <a:gd name="T24" fmla="*/ 546 w 1716"/>
                <a:gd name="T25" fmla="*/ 771 h 1303"/>
                <a:gd name="T26" fmla="*/ 791 w 1716"/>
                <a:gd name="T27" fmla="*/ 1022 h 1303"/>
                <a:gd name="T28" fmla="*/ 858 w 1716"/>
                <a:gd name="T29" fmla="*/ 1051 h 1303"/>
                <a:gd name="T30" fmla="*/ 925 w 1716"/>
                <a:gd name="T31" fmla="*/ 1022 h 1303"/>
                <a:gd name="T32" fmla="*/ 1170 w 1716"/>
                <a:gd name="T33" fmla="*/ 771 h 1303"/>
                <a:gd name="T34" fmla="*/ 1193 w 1716"/>
                <a:gd name="T35" fmla="*/ 679 h 1303"/>
                <a:gd name="T36" fmla="*/ 1048 w 1716"/>
                <a:gd name="T37" fmla="*/ 188 h 1303"/>
                <a:gd name="T38" fmla="*/ 1077 w 1716"/>
                <a:gd name="T39" fmla="*/ 188 h 1303"/>
                <a:gd name="T40" fmla="*/ 1529 w 1716"/>
                <a:gd name="T41" fmla="*/ 639 h 1303"/>
                <a:gd name="T42" fmla="*/ 1529 w 1716"/>
                <a:gd name="T43" fmla="*/ 1209 h 1303"/>
                <a:gd name="T44" fmla="*/ 1623 w 1716"/>
                <a:gd name="T45" fmla="*/ 1303 h 1303"/>
                <a:gd name="T46" fmla="*/ 1716 w 1716"/>
                <a:gd name="T47" fmla="*/ 1209 h 1303"/>
                <a:gd name="T48" fmla="*/ 1716 w 1716"/>
                <a:gd name="T49" fmla="*/ 639 h 1303"/>
                <a:gd name="T50" fmla="*/ 1077 w 1716"/>
                <a:gd name="T51" fmla="*/ 0 h 1303"/>
                <a:gd name="T52" fmla="*/ 858 w 1716"/>
                <a:gd name="T53" fmla="*/ 823 h 1303"/>
                <a:gd name="T54" fmla="*/ 718 w 1716"/>
                <a:gd name="T55" fmla="*/ 680 h 1303"/>
                <a:gd name="T56" fmla="*/ 858 w 1716"/>
                <a:gd name="T57" fmla="*/ 205 h 1303"/>
                <a:gd name="T58" fmla="*/ 998 w 1716"/>
                <a:gd name="T59" fmla="*/ 680 h 1303"/>
                <a:gd name="T60" fmla="*/ 858 w 1716"/>
                <a:gd name="T61" fmla="*/ 823 h 1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16" h="1303">
                  <a:moveTo>
                    <a:pt x="1077" y="0"/>
                  </a:moveTo>
                  <a:lnTo>
                    <a:pt x="923" y="0"/>
                  </a:lnTo>
                  <a:lnTo>
                    <a:pt x="793" y="0"/>
                  </a:lnTo>
                  <a:lnTo>
                    <a:pt x="639" y="0"/>
                  </a:lnTo>
                  <a:cubicBezTo>
                    <a:pt x="286" y="0"/>
                    <a:pt x="0" y="287"/>
                    <a:pt x="0" y="639"/>
                  </a:cubicBezTo>
                  <a:lnTo>
                    <a:pt x="0" y="1209"/>
                  </a:lnTo>
                  <a:cubicBezTo>
                    <a:pt x="0" y="1261"/>
                    <a:pt x="42" y="1303"/>
                    <a:pt x="93" y="1303"/>
                  </a:cubicBezTo>
                  <a:cubicBezTo>
                    <a:pt x="145" y="1303"/>
                    <a:pt x="187" y="1261"/>
                    <a:pt x="187" y="1209"/>
                  </a:cubicBezTo>
                  <a:lnTo>
                    <a:pt x="187" y="639"/>
                  </a:lnTo>
                  <a:cubicBezTo>
                    <a:pt x="187" y="390"/>
                    <a:pt x="390" y="188"/>
                    <a:pt x="639" y="188"/>
                  </a:cubicBezTo>
                  <a:lnTo>
                    <a:pt x="668" y="188"/>
                  </a:lnTo>
                  <a:lnTo>
                    <a:pt x="523" y="679"/>
                  </a:lnTo>
                  <a:cubicBezTo>
                    <a:pt x="513" y="712"/>
                    <a:pt x="522" y="747"/>
                    <a:pt x="546" y="771"/>
                  </a:cubicBezTo>
                  <a:lnTo>
                    <a:pt x="791" y="1022"/>
                  </a:lnTo>
                  <a:cubicBezTo>
                    <a:pt x="809" y="1041"/>
                    <a:pt x="833" y="1051"/>
                    <a:pt x="858" y="1051"/>
                  </a:cubicBezTo>
                  <a:cubicBezTo>
                    <a:pt x="883" y="1051"/>
                    <a:pt x="907" y="1041"/>
                    <a:pt x="925" y="1022"/>
                  </a:cubicBezTo>
                  <a:lnTo>
                    <a:pt x="1170" y="771"/>
                  </a:lnTo>
                  <a:cubicBezTo>
                    <a:pt x="1194" y="747"/>
                    <a:pt x="1203" y="712"/>
                    <a:pt x="1193" y="679"/>
                  </a:cubicBezTo>
                  <a:lnTo>
                    <a:pt x="1048" y="188"/>
                  </a:lnTo>
                  <a:lnTo>
                    <a:pt x="1077" y="188"/>
                  </a:lnTo>
                  <a:cubicBezTo>
                    <a:pt x="1326" y="188"/>
                    <a:pt x="1529" y="390"/>
                    <a:pt x="1529" y="639"/>
                  </a:cubicBezTo>
                  <a:lnTo>
                    <a:pt x="1529" y="1209"/>
                  </a:lnTo>
                  <a:cubicBezTo>
                    <a:pt x="1529" y="1261"/>
                    <a:pt x="1571" y="1303"/>
                    <a:pt x="1623" y="1303"/>
                  </a:cubicBezTo>
                  <a:cubicBezTo>
                    <a:pt x="1674" y="1303"/>
                    <a:pt x="1716" y="1261"/>
                    <a:pt x="1716" y="1209"/>
                  </a:cubicBezTo>
                  <a:lnTo>
                    <a:pt x="1716" y="639"/>
                  </a:lnTo>
                  <a:cubicBezTo>
                    <a:pt x="1716" y="287"/>
                    <a:pt x="1430" y="0"/>
                    <a:pt x="1077" y="0"/>
                  </a:cubicBezTo>
                  <a:close/>
                  <a:moveTo>
                    <a:pt x="858" y="823"/>
                  </a:moveTo>
                  <a:lnTo>
                    <a:pt x="718" y="680"/>
                  </a:lnTo>
                  <a:lnTo>
                    <a:pt x="858" y="205"/>
                  </a:lnTo>
                  <a:lnTo>
                    <a:pt x="998" y="680"/>
                  </a:lnTo>
                  <a:lnTo>
                    <a:pt x="858" y="82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10">
              <a:extLst>
                <a:ext uri="{FF2B5EF4-FFF2-40B4-BE49-F238E27FC236}">
                  <a16:creationId xmlns:a16="http://schemas.microsoft.com/office/drawing/2014/main" id="{48C3EE11-645F-4D00-8C23-4E69EA889A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0" y="3311"/>
              <a:ext cx="154" cy="185"/>
            </a:xfrm>
            <a:custGeom>
              <a:avLst/>
              <a:gdLst>
                <a:gd name="T0" fmla="*/ 1432 w 1432"/>
                <a:gd name="T1" fmla="*/ 834 h 1733"/>
                <a:gd name="T2" fmla="*/ 1431 w 1432"/>
                <a:gd name="T3" fmla="*/ 670 h 1733"/>
                <a:gd name="T4" fmla="*/ 1423 w 1432"/>
                <a:gd name="T5" fmla="*/ 603 h 1733"/>
                <a:gd name="T6" fmla="*/ 1414 w 1432"/>
                <a:gd name="T7" fmla="*/ 557 h 1733"/>
                <a:gd name="T8" fmla="*/ 1397 w 1432"/>
                <a:gd name="T9" fmla="*/ 495 h 1733"/>
                <a:gd name="T10" fmla="*/ 1380 w 1432"/>
                <a:gd name="T11" fmla="*/ 448 h 1733"/>
                <a:gd name="T12" fmla="*/ 1356 w 1432"/>
                <a:gd name="T13" fmla="*/ 395 h 1733"/>
                <a:gd name="T14" fmla="*/ 1330 w 1432"/>
                <a:gd name="T15" fmla="*/ 347 h 1733"/>
                <a:gd name="T16" fmla="*/ 1245 w 1432"/>
                <a:gd name="T17" fmla="*/ 235 h 1733"/>
                <a:gd name="T18" fmla="*/ 1203 w 1432"/>
                <a:gd name="T19" fmla="*/ 192 h 1733"/>
                <a:gd name="T20" fmla="*/ 1182 w 1432"/>
                <a:gd name="T21" fmla="*/ 173 h 1733"/>
                <a:gd name="T22" fmla="*/ 1147 w 1432"/>
                <a:gd name="T23" fmla="*/ 145 h 1733"/>
                <a:gd name="T24" fmla="*/ 1113 w 1432"/>
                <a:gd name="T25" fmla="*/ 120 h 1733"/>
                <a:gd name="T26" fmla="*/ 1068 w 1432"/>
                <a:gd name="T27" fmla="*/ 93 h 1733"/>
                <a:gd name="T28" fmla="*/ 905 w 1432"/>
                <a:gd name="T29" fmla="*/ 26 h 1733"/>
                <a:gd name="T30" fmla="*/ 871 w 1432"/>
                <a:gd name="T31" fmla="*/ 17 h 1733"/>
                <a:gd name="T32" fmla="*/ 816 w 1432"/>
                <a:gd name="T33" fmla="*/ 7 h 1733"/>
                <a:gd name="T34" fmla="*/ 765 w 1432"/>
                <a:gd name="T35" fmla="*/ 2 h 1733"/>
                <a:gd name="T36" fmla="*/ 388 w 1432"/>
                <a:gd name="T37" fmla="*/ 80 h 1733"/>
                <a:gd name="T38" fmla="*/ 716 w 1432"/>
                <a:gd name="T39" fmla="*/ 188 h 1733"/>
                <a:gd name="T40" fmla="*/ 766 w 1432"/>
                <a:gd name="T41" fmla="*/ 190 h 1733"/>
                <a:gd name="T42" fmla="*/ 805 w 1432"/>
                <a:gd name="T43" fmla="*/ 196 h 1733"/>
                <a:gd name="T44" fmla="*/ 833 w 1432"/>
                <a:gd name="T45" fmla="*/ 201 h 1733"/>
                <a:gd name="T46" fmla="*/ 977 w 1432"/>
                <a:gd name="T47" fmla="*/ 257 h 1733"/>
                <a:gd name="T48" fmla="*/ 1006 w 1432"/>
                <a:gd name="T49" fmla="*/ 275 h 1733"/>
                <a:gd name="T50" fmla="*/ 1035 w 1432"/>
                <a:gd name="T51" fmla="*/ 295 h 1733"/>
                <a:gd name="T52" fmla="*/ 1065 w 1432"/>
                <a:gd name="T53" fmla="*/ 320 h 1733"/>
                <a:gd name="T54" fmla="*/ 1096 w 1432"/>
                <a:gd name="T55" fmla="*/ 349 h 1733"/>
                <a:gd name="T56" fmla="*/ 1123 w 1432"/>
                <a:gd name="T57" fmla="*/ 379 h 1733"/>
                <a:gd name="T58" fmla="*/ 1154 w 1432"/>
                <a:gd name="T59" fmla="*/ 420 h 1733"/>
                <a:gd name="T60" fmla="*/ 1174 w 1432"/>
                <a:gd name="T61" fmla="*/ 453 h 1733"/>
                <a:gd name="T62" fmla="*/ 1195 w 1432"/>
                <a:gd name="T63" fmla="*/ 493 h 1733"/>
                <a:gd name="T64" fmla="*/ 1209 w 1432"/>
                <a:gd name="T65" fmla="*/ 526 h 1733"/>
                <a:gd name="T66" fmla="*/ 1224 w 1432"/>
                <a:gd name="T67" fmla="*/ 571 h 1733"/>
                <a:gd name="T68" fmla="*/ 1233 w 1432"/>
                <a:gd name="T69" fmla="*/ 605 h 1733"/>
                <a:gd name="T70" fmla="*/ 1241 w 1432"/>
                <a:gd name="T71" fmla="*/ 654 h 1733"/>
                <a:gd name="T72" fmla="*/ 1244 w 1432"/>
                <a:gd name="T73" fmla="*/ 688 h 1733"/>
                <a:gd name="T74" fmla="*/ 1023 w 1432"/>
                <a:gd name="T75" fmla="*/ 541 h 1733"/>
                <a:gd name="T76" fmla="*/ 393 w 1432"/>
                <a:gd name="T77" fmla="*/ 743 h 1733"/>
                <a:gd name="T78" fmla="*/ 189 w 1432"/>
                <a:gd name="T79" fmla="*/ 680 h 1733"/>
                <a:gd name="T80" fmla="*/ 192 w 1432"/>
                <a:gd name="T81" fmla="*/ 646 h 1733"/>
                <a:gd name="T82" fmla="*/ 83 w 1432"/>
                <a:gd name="T83" fmla="*/ 380 h 1733"/>
                <a:gd name="T84" fmla="*/ 5 w 1432"/>
                <a:gd name="T85" fmla="*/ 629 h 1733"/>
                <a:gd name="T86" fmla="*/ 1 w 1432"/>
                <a:gd name="T87" fmla="*/ 677 h 1733"/>
                <a:gd name="T88" fmla="*/ 0 w 1432"/>
                <a:gd name="T89" fmla="*/ 1017 h 1733"/>
                <a:gd name="T90" fmla="*/ 393 w 1432"/>
                <a:gd name="T91" fmla="*/ 931 h 1733"/>
                <a:gd name="T92" fmla="*/ 1245 w 1432"/>
                <a:gd name="T93" fmla="*/ 1017 h 1733"/>
                <a:gd name="T94" fmla="*/ 187 w 1432"/>
                <a:gd name="T95" fmla="*/ 905 h 1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32" h="1733">
                  <a:moveTo>
                    <a:pt x="716" y="1733"/>
                  </a:moveTo>
                  <a:cubicBezTo>
                    <a:pt x="1111" y="1733"/>
                    <a:pt x="1432" y="1412"/>
                    <a:pt x="1432" y="1017"/>
                  </a:cubicBezTo>
                  <a:lnTo>
                    <a:pt x="1432" y="834"/>
                  </a:lnTo>
                  <a:lnTo>
                    <a:pt x="1432" y="717"/>
                  </a:lnTo>
                  <a:cubicBezTo>
                    <a:pt x="1432" y="704"/>
                    <a:pt x="1432" y="691"/>
                    <a:pt x="1431" y="679"/>
                  </a:cubicBezTo>
                  <a:cubicBezTo>
                    <a:pt x="1431" y="676"/>
                    <a:pt x="1431" y="673"/>
                    <a:pt x="1431" y="670"/>
                  </a:cubicBezTo>
                  <a:cubicBezTo>
                    <a:pt x="1430" y="660"/>
                    <a:pt x="1429" y="650"/>
                    <a:pt x="1428" y="641"/>
                  </a:cubicBezTo>
                  <a:cubicBezTo>
                    <a:pt x="1428" y="638"/>
                    <a:pt x="1427" y="635"/>
                    <a:pt x="1427" y="632"/>
                  </a:cubicBezTo>
                  <a:cubicBezTo>
                    <a:pt x="1426" y="622"/>
                    <a:pt x="1425" y="612"/>
                    <a:pt x="1423" y="603"/>
                  </a:cubicBezTo>
                  <a:cubicBezTo>
                    <a:pt x="1423" y="600"/>
                    <a:pt x="1422" y="597"/>
                    <a:pt x="1422" y="594"/>
                  </a:cubicBezTo>
                  <a:cubicBezTo>
                    <a:pt x="1420" y="585"/>
                    <a:pt x="1418" y="575"/>
                    <a:pt x="1416" y="566"/>
                  </a:cubicBezTo>
                  <a:cubicBezTo>
                    <a:pt x="1416" y="563"/>
                    <a:pt x="1415" y="560"/>
                    <a:pt x="1414" y="557"/>
                  </a:cubicBezTo>
                  <a:cubicBezTo>
                    <a:pt x="1412" y="548"/>
                    <a:pt x="1410" y="539"/>
                    <a:pt x="1407" y="530"/>
                  </a:cubicBezTo>
                  <a:cubicBezTo>
                    <a:pt x="1407" y="527"/>
                    <a:pt x="1406" y="523"/>
                    <a:pt x="1405" y="520"/>
                  </a:cubicBezTo>
                  <a:cubicBezTo>
                    <a:pt x="1402" y="511"/>
                    <a:pt x="1400" y="503"/>
                    <a:pt x="1397" y="495"/>
                  </a:cubicBezTo>
                  <a:cubicBezTo>
                    <a:pt x="1396" y="491"/>
                    <a:pt x="1394" y="487"/>
                    <a:pt x="1393" y="484"/>
                  </a:cubicBezTo>
                  <a:cubicBezTo>
                    <a:pt x="1390" y="476"/>
                    <a:pt x="1388" y="468"/>
                    <a:pt x="1385" y="460"/>
                  </a:cubicBezTo>
                  <a:cubicBezTo>
                    <a:pt x="1383" y="456"/>
                    <a:pt x="1381" y="452"/>
                    <a:pt x="1380" y="448"/>
                  </a:cubicBezTo>
                  <a:cubicBezTo>
                    <a:pt x="1377" y="441"/>
                    <a:pt x="1374" y="434"/>
                    <a:pt x="1371" y="427"/>
                  </a:cubicBezTo>
                  <a:cubicBezTo>
                    <a:pt x="1369" y="422"/>
                    <a:pt x="1367" y="418"/>
                    <a:pt x="1365" y="413"/>
                  </a:cubicBezTo>
                  <a:cubicBezTo>
                    <a:pt x="1362" y="407"/>
                    <a:pt x="1359" y="401"/>
                    <a:pt x="1356" y="395"/>
                  </a:cubicBezTo>
                  <a:cubicBezTo>
                    <a:pt x="1353" y="390"/>
                    <a:pt x="1351" y="385"/>
                    <a:pt x="1348" y="380"/>
                  </a:cubicBezTo>
                  <a:cubicBezTo>
                    <a:pt x="1345" y="375"/>
                    <a:pt x="1342" y="370"/>
                    <a:pt x="1340" y="365"/>
                  </a:cubicBezTo>
                  <a:cubicBezTo>
                    <a:pt x="1336" y="359"/>
                    <a:pt x="1333" y="353"/>
                    <a:pt x="1330" y="347"/>
                  </a:cubicBezTo>
                  <a:cubicBezTo>
                    <a:pt x="1327" y="344"/>
                    <a:pt x="1325" y="340"/>
                    <a:pt x="1323" y="337"/>
                  </a:cubicBezTo>
                  <a:cubicBezTo>
                    <a:pt x="1301" y="302"/>
                    <a:pt x="1277" y="270"/>
                    <a:pt x="1249" y="239"/>
                  </a:cubicBezTo>
                  <a:cubicBezTo>
                    <a:pt x="1248" y="237"/>
                    <a:pt x="1247" y="236"/>
                    <a:pt x="1245" y="235"/>
                  </a:cubicBezTo>
                  <a:cubicBezTo>
                    <a:pt x="1240" y="228"/>
                    <a:pt x="1234" y="222"/>
                    <a:pt x="1227" y="216"/>
                  </a:cubicBezTo>
                  <a:cubicBezTo>
                    <a:pt x="1225" y="213"/>
                    <a:pt x="1222" y="211"/>
                    <a:pt x="1220" y="208"/>
                  </a:cubicBezTo>
                  <a:cubicBezTo>
                    <a:pt x="1214" y="203"/>
                    <a:pt x="1209" y="197"/>
                    <a:pt x="1203" y="192"/>
                  </a:cubicBezTo>
                  <a:cubicBezTo>
                    <a:pt x="1200" y="189"/>
                    <a:pt x="1196" y="186"/>
                    <a:pt x="1193" y="183"/>
                  </a:cubicBezTo>
                  <a:cubicBezTo>
                    <a:pt x="1190" y="180"/>
                    <a:pt x="1188" y="178"/>
                    <a:pt x="1185" y="176"/>
                  </a:cubicBezTo>
                  <a:cubicBezTo>
                    <a:pt x="1184" y="175"/>
                    <a:pt x="1183" y="174"/>
                    <a:pt x="1182" y="173"/>
                  </a:cubicBezTo>
                  <a:cubicBezTo>
                    <a:pt x="1179" y="170"/>
                    <a:pt x="1176" y="168"/>
                    <a:pt x="1172" y="165"/>
                  </a:cubicBezTo>
                  <a:lnTo>
                    <a:pt x="1170" y="163"/>
                  </a:lnTo>
                  <a:cubicBezTo>
                    <a:pt x="1162" y="157"/>
                    <a:pt x="1155" y="151"/>
                    <a:pt x="1147" y="145"/>
                  </a:cubicBezTo>
                  <a:cubicBezTo>
                    <a:pt x="1145" y="143"/>
                    <a:pt x="1143" y="142"/>
                    <a:pt x="1142" y="141"/>
                  </a:cubicBezTo>
                  <a:cubicBezTo>
                    <a:pt x="1135" y="136"/>
                    <a:pt x="1128" y="131"/>
                    <a:pt x="1121" y="126"/>
                  </a:cubicBezTo>
                  <a:cubicBezTo>
                    <a:pt x="1118" y="124"/>
                    <a:pt x="1115" y="122"/>
                    <a:pt x="1113" y="120"/>
                  </a:cubicBezTo>
                  <a:cubicBezTo>
                    <a:pt x="1107" y="116"/>
                    <a:pt x="1101" y="113"/>
                    <a:pt x="1094" y="109"/>
                  </a:cubicBezTo>
                  <a:cubicBezTo>
                    <a:pt x="1091" y="106"/>
                    <a:pt x="1087" y="104"/>
                    <a:pt x="1083" y="102"/>
                  </a:cubicBezTo>
                  <a:cubicBezTo>
                    <a:pt x="1078" y="99"/>
                    <a:pt x="1073" y="96"/>
                    <a:pt x="1068" y="93"/>
                  </a:cubicBezTo>
                  <a:cubicBezTo>
                    <a:pt x="1063" y="90"/>
                    <a:pt x="1058" y="87"/>
                    <a:pt x="1053" y="85"/>
                  </a:cubicBezTo>
                  <a:cubicBezTo>
                    <a:pt x="1050" y="83"/>
                    <a:pt x="1047" y="81"/>
                    <a:pt x="1043" y="80"/>
                  </a:cubicBezTo>
                  <a:cubicBezTo>
                    <a:pt x="1000" y="57"/>
                    <a:pt x="953" y="39"/>
                    <a:pt x="905" y="26"/>
                  </a:cubicBezTo>
                  <a:cubicBezTo>
                    <a:pt x="905" y="26"/>
                    <a:pt x="904" y="26"/>
                    <a:pt x="904" y="25"/>
                  </a:cubicBezTo>
                  <a:cubicBezTo>
                    <a:pt x="895" y="23"/>
                    <a:pt x="886" y="21"/>
                    <a:pt x="877" y="19"/>
                  </a:cubicBezTo>
                  <a:cubicBezTo>
                    <a:pt x="875" y="18"/>
                    <a:pt x="873" y="18"/>
                    <a:pt x="871" y="17"/>
                  </a:cubicBezTo>
                  <a:cubicBezTo>
                    <a:pt x="863" y="16"/>
                    <a:pt x="855" y="14"/>
                    <a:pt x="847" y="13"/>
                  </a:cubicBezTo>
                  <a:cubicBezTo>
                    <a:pt x="844" y="12"/>
                    <a:pt x="841" y="11"/>
                    <a:pt x="838" y="11"/>
                  </a:cubicBezTo>
                  <a:cubicBezTo>
                    <a:pt x="830" y="10"/>
                    <a:pt x="823" y="8"/>
                    <a:pt x="816" y="7"/>
                  </a:cubicBezTo>
                  <a:cubicBezTo>
                    <a:pt x="811" y="7"/>
                    <a:pt x="807" y="6"/>
                    <a:pt x="802" y="6"/>
                  </a:cubicBezTo>
                  <a:cubicBezTo>
                    <a:pt x="796" y="5"/>
                    <a:pt x="790" y="4"/>
                    <a:pt x="783" y="4"/>
                  </a:cubicBezTo>
                  <a:cubicBezTo>
                    <a:pt x="777" y="3"/>
                    <a:pt x="771" y="3"/>
                    <a:pt x="765" y="2"/>
                  </a:cubicBezTo>
                  <a:cubicBezTo>
                    <a:pt x="760" y="2"/>
                    <a:pt x="755" y="1"/>
                    <a:pt x="750" y="1"/>
                  </a:cubicBezTo>
                  <a:cubicBezTo>
                    <a:pt x="739" y="1"/>
                    <a:pt x="727" y="0"/>
                    <a:pt x="716" y="0"/>
                  </a:cubicBezTo>
                  <a:cubicBezTo>
                    <a:pt x="602" y="0"/>
                    <a:pt x="489" y="28"/>
                    <a:pt x="388" y="80"/>
                  </a:cubicBezTo>
                  <a:cubicBezTo>
                    <a:pt x="342" y="103"/>
                    <a:pt x="324" y="160"/>
                    <a:pt x="348" y="206"/>
                  </a:cubicBezTo>
                  <a:cubicBezTo>
                    <a:pt x="372" y="252"/>
                    <a:pt x="428" y="270"/>
                    <a:pt x="474" y="246"/>
                  </a:cubicBezTo>
                  <a:cubicBezTo>
                    <a:pt x="549" y="207"/>
                    <a:pt x="631" y="188"/>
                    <a:pt x="716" y="188"/>
                  </a:cubicBezTo>
                  <a:cubicBezTo>
                    <a:pt x="724" y="188"/>
                    <a:pt x="733" y="188"/>
                    <a:pt x="741" y="188"/>
                  </a:cubicBezTo>
                  <a:cubicBezTo>
                    <a:pt x="745" y="189"/>
                    <a:pt x="748" y="189"/>
                    <a:pt x="752" y="189"/>
                  </a:cubicBezTo>
                  <a:cubicBezTo>
                    <a:pt x="756" y="189"/>
                    <a:pt x="761" y="190"/>
                    <a:pt x="766" y="190"/>
                  </a:cubicBezTo>
                  <a:cubicBezTo>
                    <a:pt x="770" y="191"/>
                    <a:pt x="775" y="191"/>
                    <a:pt x="780" y="192"/>
                  </a:cubicBezTo>
                  <a:cubicBezTo>
                    <a:pt x="783" y="192"/>
                    <a:pt x="786" y="193"/>
                    <a:pt x="789" y="193"/>
                  </a:cubicBezTo>
                  <a:cubicBezTo>
                    <a:pt x="795" y="194"/>
                    <a:pt x="800" y="195"/>
                    <a:pt x="805" y="196"/>
                  </a:cubicBezTo>
                  <a:cubicBezTo>
                    <a:pt x="808" y="196"/>
                    <a:pt x="810" y="196"/>
                    <a:pt x="812" y="197"/>
                  </a:cubicBezTo>
                  <a:cubicBezTo>
                    <a:pt x="818" y="198"/>
                    <a:pt x="824" y="199"/>
                    <a:pt x="830" y="200"/>
                  </a:cubicBezTo>
                  <a:cubicBezTo>
                    <a:pt x="831" y="201"/>
                    <a:pt x="832" y="201"/>
                    <a:pt x="833" y="201"/>
                  </a:cubicBezTo>
                  <a:cubicBezTo>
                    <a:pt x="877" y="211"/>
                    <a:pt x="919" y="226"/>
                    <a:pt x="958" y="247"/>
                  </a:cubicBezTo>
                  <a:cubicBezTo>
                    <a:pt x="960" y="247"/>
                    <a:pt x="961" y="248"/>
                    <a:pt x="962" y="249"/>
                  </a:cubicBezTo>
                  <a:cubicBezTo>
                    <a:pt x="967" y="252"/>
                    <a:pt x="972" y="254"/>
                    <a:pt x="977" y="257"/>
                  </a:cubicBezTo>
                  <a:cubicBezTo>
                    <a:pt x="979" y="258"/>
                    <a:pt x="982" y="260"/>
                    <a:pt x="985" y="261"/>
                  </a:cubicBezTo>
                  <a:cubicBezTo>
                    <a:pt x="988" y="264"/>
                    <a:pt x="992" y="266"/>
                    <a:pt x="996" y="268"/>
                  </a:cubicBezTo>
                  <a:cubicBezTo>
                    <a:pt x="1000" y="271"/>
                    <a:pt x="1003" y="273"/>
                    <a:pt x="1006" y="275"/>
                  </a:cubicBezTo>
                  <a:cubicBezTo>
                    <a:pt x="1009" y="277"/>
                    <a:pt x="1012" y="279"/>
                    <a:pt x="1016" y="281"/>
                  </a:cubicBezTo>
                  <a:cubicBezTo>
                    <a:pt x="1020" y="284"/>
                    <a:pt x="1024" y="287"/>
                    <a:pt x="1028" y="290"/>
                  </a:cubicBezTo>
                  <a:cubicBezTo>
                    <a:pt x="1030" y="292"/>
                    <a:pt x="1032" y="293"/>
                    <a:pt x="1035" y="295"/>
                  </a:cubicBezTo>
                  <a:cubicBezTo>
                    <a:pt x="1040" y="299"/>
                    <a:pt x="1045" y="303"/>
                    <a:pt x="1049" y="307"/>
                  </a:cubicBezTo>
                  <a:cubicBezTo>
                    <a:pt x="1051" y="308"/>
                    <a:pt x="1052" y="309"/>
                    <a:pt x="1053" y="310"/>
                  </a:cubicBezTo>
                  <a:cubicBezTo>
                    <a:pt x="1057" y="313"/>
                    <a:pt x="1061" y="316"/>
                    <a:pt x="1065" y="320"/>
                  </a:cubicBezTo>
                  <a:cubicBezTo>
                    <a:pt x="1069" y="323"/>
                    <a:pt x="1073" y="327"/>
                    <a:pt x="1077" y="330"/>
                  </a:cubicBezTo>
                  <a:cubicBezTo>
                    <a:pt x="1080" y="333"/>
                    <a:pt x="1083" y="336"/>
                    <a:pt x="1086" y="339"/>
                  </a:cubicBezTo>
                  <a:cubicBezTo>
                    <a:pt x="1089" y="342"/>
                    <a:pt x="1092" y="346"/>
                    <a:pt x="1096" y="349"/>
                  </a:cubicBezTo>
                  <a:cubicBezTo>
                    <a:pt x="1099" y="352"/>
                    <a:pt x="1102" y="355"/>
                    <a:pt x="1105" y="359"/>
                  </a:cubicBezTo>
                  <a:cubicBezTo>
                    <a:pt x="1108" y="362"/>
                    <a:pt x="1111" y="365"/>
                    <a:pt x="1114" y="369"/>
                  </a:cubicBezTo>
                  <a:cubicBezTo>
                    <a:pt x="1117" y="372"/>
                    <a:pt x="1120" y="376"/>
                    <a:pt x="1123" y="379"/>
                  </a:cubicBezTo>
                  <a:cubicBezTo>
                    <a:pt x="1126" y="382"/>
                    <a:pt x="1128" y="386"/>
                    <a:pt x="1131" y="389"/>
                  </a:cubicBezTo>
                  <a:cubicBezTo>
                    <a:pt x="1134" y="393"/>
                    <a:pt x="1137" y="396"/>
                    <a:pt x="1139" y="400"/>
                  </a:cubicBezTo>
                  <a:cubicBezTo>
                    <a:pt x="1144" y="407"/>
                    <a:pt x="1149" y="414"/>
                    <a:pt x="1154" y="420"/>
                  </a:cubicBezTo>
                  <a:cubicBezTo>
                    <a:pt x="1156" y="423"/>
                    <a:pt x="1158" y="427"/>
                    <a:pt x="1160" y="430"/>
                  </a:cubicBezTo>
                  <a:cubicBezTo>
                    <a:pt x="1163" y="434"/>
                    <a:pt x="1166" y="439"/>
                    <a:pt x="1169" y="444"/>
                  </a:cubicBezTo>
                  <a:cubicBezTo>
                    <a:pt x="1171" y="447"/>
                    <a:pt x="1172" y="450"/>
                    <a:pt x="1174" y="453"/>
                  </a:cubicBezTo>
                  <a:cubicBezTo>
                    <a:pt x="1177" y="458"/>
                    <a:pt x="1180" y="463"/>
                    <a:pt x="1183" y="468"/>
                  </a:cubicBezTo>
                  <a:cubicBezTo>
                    <a:pt x="1184" y="471"/>
                    <a:pt x="1185" y="474"/>
                    <a:pt x="1187" y="476"/>
                  </a:cubicBezTo>
                  <a:cubicBezTo>
                    <a:pt x="1190" y="482"/>
                    <a:pt x="1192" y="487"/>
                    <a:pt x="1195" y="493"/>
                  </a:cubicBezTo>
                  <a:cubicBezTo>
                    <a:pt x="1196" y="495"/>
                    <a:pt x="1197" y="498"/>
                    <a:pt x="1199" y="501"/>
                  </a:cubicBezTo>
                  <a:cubicBezTo>
                    <a:pt x="1201" y="507"/>
                    <a:pt x="1204" y="513"/>
                    <a:pt x="1206" y="519"/>
                  </a:cubicBezTo>
                  <a:cubicBezTo>
                    <a:pt x="1207" y="521"/>
                    <a:pt x="1208" y="523"/>
                    <a:pt x="1209" y="526"/>
                  </a:cubicBezTo>
                  <a:cubicBezTo>
                    <a:pt x="1211" y="532"/>
                    <a:pt x="1214" y="538"/>
                    <a:pt x="1216" y="545"/>
                  </a:cubicBezTo>
                  <a:cubicBezTo>
                    <a:pt x="1217" y="547"/>
                    <a:pt x="1218" y="549"/>
                    <a:pt x="1218" y="551"/>
                  </a:cubicBezTo>
                  <a:cubicBezTo>
                    <a:pt x="1220" y="558"/>
                    <a:pt x="1222" y="565"/>
                    <a:pt x="1224" y="571"/>
                  </a:cubicBezTo>
                  <a:cubicBezTo>
                    <a:pt x="1225" y="574"/>
                    <a:pt x="1226" y="576"/>
                    <a:pt x="1226" y="578"/>
                  </a:cubicBezTo>
                  <a:cubicBezTo>
                    <a:pt x="1228" y="585"/>
                    <a:pt x="1230" y="592"/>
                    <a:pt x="1231" y="599"/>
                  </a:cubicBezTo>
                  <a:cubicBezTo>
                    <a:pt x="1232" y="601"/>
                    <a:pt x="1232" y="603"/>
                    <a:pt x="1233" y="605"/>
                  </a:cubicBezTo>
                  <a:cubicBezTo>
                    <a:pt x="1234" y="612"/>
                    <a:pt x="1236" y="619"/>
                    <a:pt x="1237" y="626"/>
                  </a:cubicBezTo>
                  <a:cubicBezTo>
                    <a:pt x="1237" y="628"/>
                    <a:pt x="1238" y="630"/>
                    <a:pt x="1238" y="632"/>
                  </a:cubicBezTo>
                  <a:cubicBezTo>
                    <a:pt x="1239" y="639"/>
                    <a:pt x="1240" y="647"/>
                    <a:pt x="1241" y="654"/>
                  </a:cubicBezTo>
                  <a:cubicBezTo>
                    <a:pt x="1241" y="656"/>
                    <a:pt x="1242" y="658"/>
                    <a:pt x="1242" y="660"/>
                  </a:cubicBezTo>
                  <a:cubicBezTo>
                    <a:pt x="1243" y="667"/>
                    <a:pt x="1243" y="675"/>
                    <a:pt x="1244" y="682"/>
                  </a:cubicBezTo>
                  <a:cubicBezTo>
                    <a:pt x="1244" y="684"/>
                    <a:pt x="1244" y="686"/>
                    <a:pt x="1244" y="688"/>
                  </a:cubicBezTo>
                  <a:cubicBezTo>
                    <a:pt x="1245" y="698"/>
                    <a:pt x="1245" y="707"/>
                    <a:pt x="1245" y="717"/>
                  </a:cubicBezTo>
                  <a:lnTo>
                    <a:pt x="1245" y="717"/>
                  </a:lnTo>
                  <a:cubicBezTo>
                    <a:pt x="1155" y="685"/>
                    <a:pt x="1077" y="623"/>
                    <a:pt x="1023" y="541"/>
                  </a:cubicBezTo>
                  <a:cubicBezTo>
                    <a:pt x="1008" y="516"/>
                    <a:pt x="981" y="501"/>
                    <a:pt x="952" y="498"/>
                  </a:cubicBezTo>
                  <a:cubicBezTo>
                    <a:pt x="923" y="496"/>
                    <a:pt x="895" y="507"/>
                    <a:pt x="875" y="529"/>
                  </a:cubicBezTo>
                  <a:cubicBezTo>
                    <a:pt x="752" y="665"/>
                    <a:pt x="576" y="743"/>
                    <a:pt x="393" y="743"/>
                  </a:cubicBezTo>
                  <a:cubicBezTo>
                    <a:pt x="323" y="743"/>
                    <a:pt x="254" y="732"/>
                    <a:pt x="187" y="710"/>
                  </a:cubicBezTo>
                  <a:cubicBezTo>
                    <a:pt x="187" y="709"/>
                    <a:pt x="187" y="708"/>
                    <a:pt x="187" y="706"/>
                  </a:cubicBezTo>
                  <a:cubicBezTo>
                    <a:pt x="188" y="697"/>
                    <a:pt x="188" y="688"/>
                    <a:pt x="189" y="680"/>
                  </a:cubicBezTo>
                  <a:cubicBezTo>
                    <a:pt x="189" y="679"/>
                    <a:pt x="189" y="679"/>
                    <a:pt x="189" y="678"/>
                  </a:cubicBezTo>
                  <a:cubicBezTo>
                    <a:pt x="189" y="668"/>
                    <a:pt x="190" y="658"/>
                    <a:pt x="192" y="648"/>
                  </a:cubicBezTo>
                  <a:lnTo>
                    <a:pt x="192" y="646"/>
                  </a:lnTo>
                  <a:cubicBezTo>
                    <a:pt x="200" y="584"/>
                    <a:pt x="220" y="524"/>
                    <a:pt x="249" y="468"/>
                  </a:cubicBezTo>
                  <a:cubicBezTo>
                    <a:pt x="273" y="423"/>
                    <a:pt x="256" y="366"/>
                    <a:pt x="210" y="342"/>
                  </a:cubicBezTo>
                  <a:cubicBezTo>
                    <a:pt x="165" y="317"/>
                    <a:pt x="108" y="335"/>
                    <a:pt x="83" y="380"/>
                  </a:cubicBezTo>
                  <a:cubicBezTo>
                    <a:pt x="64" y="417"/>
                    <a:pt x="48" y="456"/>
                    <a:pt x="35" y="495"/>
                  </a:cubicBezTo>
                  <a:cubicBezTo>
                    <a:pt x="34" y="497"/>
                    <a:pt x="33" y="499"/>
                    <a:pt x="33" y="501"/>
                  </a:cubicBezTo>
                  <a:cubicBezTo>
                    <a:pt x="20" y="543"/>
                    <a:pt x="11" y="585"/>
                    <a:pt x="5" y="629"/>
                  </a:cubicBezTo>
                  <a:lnTo>
                    <a:pt x="5" y="629"/>
                  </a:lnTo>
                  <a:cubicBezTo>
                    <a:pt x="4" y="643"/>
                    <a:pt x="2" y="656"/>
                    <a:pt x="1" y="670"/>
                  </a:cubicBezTo>
                  <a:cubicBezTo>
                    <a:pt x="1" y="672"/>
                    <a:pt x="1" y="674"/>
                    <a:pt x="1" y="677"/>
                  </a:cubicBezTo>
                  <a:cubicBezTo>
                    <a:pt x="0" y="690"/>
                    <a:pt x="0" y="703"/>
                    <a:pt x="0" y="717"/>
                  </a:cubicBezTo>
                  <a:lnTo>
                    <a:pt x="0" y="774"/>
                  </a:lnTo>
                  <a:lnTo>
                    <a:pt x="0" y="1017"/>
                  </a:lnTo>
                  <a:cubicBezTo>
                    <a:pt x="0" y="1412"/>
                    <a:pt x="321" y="1733"/>
                    <a:pt x="716" y="1733"/>
                  </a:cubicBezTo>
                  <a:close/>
                  <a:moveTo>
                    <a:pt x="187" y="905"/>
                  </a:moveTo>
                  <a:cubicBezTo>
                    <a:pt x="254" y="922"/>
                    <a:pt x="323" y="931"/>
                    <a:pt x="393" y="931"/>
                  </a:cubicBezTo>
                  <a:cubicBezTo>
                    <a:pt x="592" y="931"/>
                    <a:pt x="785" y="859"/>
                    <a:pt x="935" y="731"/>
                  </a:cubicBezTo>
                  <a:cubicBezTo>
                    <a:pt x="1019" y="821"/>
                    <a:pt x="1126" y="884"/>
                    <a:pt x="1245" y="913"/>
                  </a:cubicBezTo>
                  <a:lnTo>
                    <a:pt x="1245" y="1017"/>
                  </a:lnTo>
                  <a:cubicBezTo>
                    <a:pt x="1245" y="1308"/>
                    <a:pt x="1008" y="1545"/>
                    <a:pt x="716" y="1545"/>
                  </a:cubicBezTo>
                  <a:cubicBezTo>
                    <a:pt x="424" y="1545"/>
                    <a:pt x="187" y="1308"/>
                    <a:pt x="187" y="1017"/>
                  </a:cubicBezTo>
                  <a:lnTo>
                    <a:pt x="187" y="9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11">
              <a:extLst>
                <a:ext uri="{FF2B5EF4-FFF2-40B4-BE49-F238E27FC236}">
                  <a16:creationId xmlns:a16="http://schemas.microsoft.com/office/drawing/2014/main" id="{EBA168B3-2215-4CA7-92F5-4426052BF1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" y="3146"/>
              <a:ext cx="184" cy="140"/>
            </a:xfrm>
            <a:custGeom>
              <a:avLst/>
              <a:gdLst>
                <a:gd name="T0" fmla="*/ 93 w 1716"/>
                <a:gd name="T1" fmla="*/ 1303 h 1303"/>
                <a:gd name="T2" fmla="*/ 187 w 1716"/>
                <a:gd name="T3" fmla="*/ 1209 h 1303"/>
                <a:gd name="T4" fmla="*/ 187 w 1716"/>
                <a:gd name="T5" fmla="*/ 639 h 1303"/>
                <a:gd name="T6" fmla="*/ 639 w 1716"/>
                <a:gd name="T7" fmla="*/ 188 h 1303"/>
                <a:gd name="T8" fmla="*/ 668 w 1716"/>
                <a:gd name="T9" fmla="*/ 188 h 1303"/>
                <a:gd name="T10" fmla="*/ 523 w 1716"/>
                <a:gd name="T11" fmla="*/ 679 h 1303"/>
                <a:gd name="T12" fmla="*/ 546 w 1716"/>
                <a:gd name="T13" fmla="*/ 771 h 1303"/>
                <a:gd name="T14" fmla="*/ 791 w 1716"/>
                <a:gd name="T15" fmla="*/ 1022 h 1303"/>
                <a:gd name="T16" fmla="*/ 858 w 1716"/>
                <a:gd name="T17" fmla="*/ 1050 h 1303"/>
                <a:gd name="T18" fmla="*/ 925 w 1716"/>
                <a:gd name="T19" fmla="*/ 1022 h 1303"/>
                <a:gd name="T20" fmla="*/ 1170 w 1716"/>
                <a:gd name="T21" fmla="*/ 771 h 1303"/>
                <a:gd name="T22" fmla="*/ 1193 w 1716"/>
                <a:gd name="T23" fmla="*/ 679 h 1303"/>
                <a:gd name="T24" fmla="*/ 1048 w 1716"/>
                <a:gd name="T25" fmla="*/ 188 h 1303"/>
                <a:gd name="T26" fmla="*/ 1077 w 1716"/>
                <a:gd name="T27" fmla="*/ 188 h 1303"/>
                <a:gd name="T28" fmla="*/ 1529 w 1716"/>
                <a:gd name="T29" fmla="*/ 639 h 1303"/>
                <a:gd name="T30" fmla="*/ 1529 w 1716"/>
                <a:gd name="T31" fmla="*/ 1209 h 1303"/>
                <a:gd name="T32" fmla="*/ 1623 w 1716"/>
                <a:gd name="T33" fmla="*/ 1303 h 1303"/>
                <a:gd name="T34" fmla="*/ 1716 w 1716"/>
                <a:gd name="T35" fmla="*/ 1209 h 1303"/>
                <a:gd name="T36" fmla="*/ 1716 w 1716"/>
                <a:gd name="T37" fmla="*/ 639 h 1303"/>
                <a:gd name="T38" fmla="*/ 1077 w 1716"/>
                <a:gd name="T39" fmla="*/ 0 h 1303"/>
                <a:gd name="T40" fmla="*/ 923 w 1716"/>
                <a:gd name="T41" fmla="*/ 0 h 1303"/>
                <a:gd name="T42" fmla="*/ 793 w 1716"/>
                <a:gd name="T43" fmla="*/ 0 h 1303"/>
                <a:gd name="T44" fmla="*/ 639 w 1716"/>
                <a:gd name="T45" fmla="*/ 0 h 1303"/>
                <a:gd name="T46" fmla="*/ 0 w 1716"/>
                <a:gd name="T47" fmla="*/ 639 h 1303"/>
                <a:gd name="T48" fmla="*/ 0 w 1716"/>
                <a:gd name="T49" fmla="*/ 1209 h 1303"/>
                <a:gd name="T50" fmla="*/ 93 w 1716"/>
                <a:gd name="T51" fmla="*/ 1303 h 1303"/>
                <a:gd name="T52" fmla="*/ 858 w 1716"/>
                <a:gd name="T53" fmla="*/ 822 h 1303"/>
                <a:gd name="T54" fmla="*/ 718 w 1716"/>
                <a:gd name="T55" fmla="*/ 679 h 1303"/>
                <a:gd name="T56" fmla="*/ 858 w 1716"/>
                <a:gd name="T57" fmla="*/ 205 h 1303"/>
                <a:gd name="T58" fmla="*/ 998 w 1716"/>
                <a:gd name="T59" fmla="*/ 679 h 1303"/>
                <a:gd name="T60" fmla="*/ 858 w 1716"/>
                <a:gd name="T61" fmla="*/ 822 h 1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16" h="1303">
                  <a:moveTo>
                    <a:pt x="93" y="1303"/>
                  </a:moveTo>
                  <a:cubicBezTo>
                    <a:pt x="145" y="1303"/>
                    <a:pt x="187" y="1261"/>
                    <a:pt x="187" y="1209"/>
                  </a:cubicBezTo>
                  <a:lnTo>
                    <a:pt x="187" y="639"/>
                  </a:lnTo>
                  <a:cubicBezTo>
                    <a:pt x="187" y="390"/>
                    <a:pt x="390" y="188"/>
                    <a:pt x="639" y="188"/>
                  </a:cubicBezTo>
                  <a:lnTo>
                    <a:pt x="668" y="188"/>
                  </a:lnTo>
                  <a:lnTo>
                    <a:pt x="523" y="679"/>
                  </a:lnTo>
                  <a:cubicBezTo>
                    <a:pt x="513" y="712"/>
                    <a:pt x="522" y="747"/>
                    <a:pt x="546" y="771"/>
                  </a:cubicBezTo>
                  <a:lnTo>
                    <a:pt x="791" y="1022"/>
                  </a:lnTo>
                  <a:cubicBezTo>
                    <a:pt x="809" y="1040"/>
                    <a:pt x="833" y="1050"/>
                    <a:pt x="858" y="1050"/>
                  </a:cubicBezTo>
                  <a:cubicBezTo>
                    <a:pt x="883" y="1050"/>
                    <a:pt x="907" y="1040"/>
                    <a:pt x="925" y="1022"/>
                  </a:cubicBezTo>
                  <a:lnTo>
                    <a:pt x="1170" y="771"/>
                  </a:lnTo>
                  <a:cubicBezTo>
                    <a:pt x="1194" y="747"/>
                    <a:pt x="1203" y="712"/>
                    <a:pt x="1193" y="679"/>
                  </a:cubicBezTo>
                  <a:lnTo>
                    <a:pt x="1048" y="188"/>
                  </a:lnTo>
                  <a:lnTo>
                    <a:pt x="1077" y="188"/>
                  </a:lnTo>
                  <a:cubicBezTo>
                    <a:pt x="1326" y="188"/>
                    <a:pt x="1529" y="390"/>
                    <a:pt x="1529" y="639"/>
                  </a:cubicBezTo>
                  <a:lnTo>
                    <a:pt x="1529" y="1209"/>
                  </a:lnTo>
                  <a:cubicBezTo>
                    <a:pt x="1529" y="1261"/>
                    <a:pt x="1571" y="1303"/>
                    <a:pt x="1623" y="1303"/>
                  </a:cubicBezTo>
                  <a:cubicBezTo>
                    <a:pt x="1674" y="1303"/>
                    <a:pt x="1716" y="1261"/>
                    <a:pt x="1716" y="1209"/>
                  </a:cubicBezTo>
                  <a:lnTo>
                    <a:pt x="1716" y="639"/>
                  </a:lnTo>
                  <a:cubicBezTo>
                    <a:pt x="1716" y="287"/>
                    <a:pt x="1430" y="0"/>
                    <a:pt x="1077" y="0"/>
                  </a:cubicBezTo>
                  <a:lnTo>
                    <a:pt x="923" y="0"/>
                  </a:lnTo>
                  <a:lnTo>
                    <a:pt x="793" y="0"/>
                  </a:lnTo>
                  <a:lnTo>
                    <a:pt x="639" y="0"/>
                  </a:lnTo>
                  <a:cubicBezTo>
                    <a:pt x="286" y="0"/>
                    <a:pt x="0" y="287"/>
                    <a:pt x="0" y="639"/>
                  </a:cubicBezTo>
                  <a:lnTo>
                    <a:pt x="0" y="1209"/>
                  </a:lnTo>
                  <a:cubicBezTo>
                    <a:pt x="0" y="1261"/>
                    <a:pt x="42" y="1303"/>
                    <a:pt x="93" y="1303"/>
                  </a:cubicBezTo>
                  <a:close/>
                  <a:moveTo>
                    <a:pt x="858" y="822"/>
                  </a:moveTo>
                  <a:lnTo>
                    <a:pt x="718" y="679"/>
                  </a:lnTo>
                  <a:lnTo>
                    <a:pt x="858" y="205"/>
                  </a:lnTo>
                  <a:lnTo>
                    <a:pt x="998" y="679"/>
                  </a:lnTo>
                  <a:lnTo>
                    <a:pt x="858" y="8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2">
              <a:extLst>
                <a:ext uri="{FF2B5EF4-FFF2-40B4-BE49-F238E27FC236}">
                  <a16:creationId xmlns:a16="http://schemas.microsoft.com/office/drawing/2014/main" id="{F6350D57-8A75-4259-BEBE-CA02B68AF3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8" y="2955"/>
              <a:ext cx="154" cy="186"/>
            </a:xfrm>
            <a:custGeom>
              <a:avLst/>
              <a:gdLst>
                <a:gd name="T0" fmla="*/ 1432 w 1432"/>
                <a:gd name="T1" fmla="*/ 834 h 1733"/>
                <a:gd name="T2" fmla="*/ 1431 w 1432"/>
                <a:gd name="T3" fmla="*/ 670 h 1733"/>
                <a:gd name="T4" fmla="*/ 1423 w 1432"/>
                <a:gd name="T5" fmla="*/ 603 h 1733"/>
                <a:gd name="T6" fmla="*/ 1414 w 1432"/>
                <a:gd name="T7" fmla="*/ 557 h 1733"/>
                <a:gd name="T8" fmla="*/ 1397 w 1432"/>
                <a:gd name="T9" fmla="*/ 494 h 1733"/>
                <a:gd name="T10" fmla="*/ 1380 w 1432"/>
                <a:gd name="T11" fmla="*/ 448 h 1733"/>
                <a:gd name="T12" fmla="*/ 1356 w 1432"/>
                <a:gd name="T13" fmla="*/ 395 h 1733"/>
                <a:gd name="T14" fmla="*/ 1330 w 1432"/>
                <a:gd name="T15" fmla="*/ 347 h 1733"/>
                <a:gd name="T16" fmla="*/ 1245 w 1432"/>
                <a:gd name="T17" fmla="*/ 234 h 1733"/>
                <a:gd name="T18" fmla="*/ 1203 w 1432"/>
                <a:gd name="T19" fmla="*/ 191 h 1733"/>
                <a:gd name="T20" fmla="*/ 1182 w 1432"/>
                <a:gd name="T21" fmla="*/ 173 h 1733"/>
                <a:gd name="T22" fmla="*/ 1147 w 1432"/>
                <a:gd name="T23" fmla="*/ 144 h 1733"/>
                <a:gd name="T24" fmla="*/ 1113 w 1432"/>
                <a:gd name="T25" fmla="*/ 120 h 1733"/>
                <a:gd name="T26" fmla="*/ 1068 w 1432"/>
                <a:gd name="T27" fmla="*/ 93 h 1733"/>
                <a:gd name="T28" fmla="*/ 905 w 1432"/>
                <a:gd name="T29" fmla="*/ 26 h 1733"/>
                <a:gd name="T30" fmla="*/ 871 w 1432"/>
                <a:gd name="T31" fmla="*/ 17 h 1733"/>
                <a:gd name="T32" fmla="*/ 816 w 1432"/>
                <a:gd name="T33" fmla="*/ 7 h 1733"/>
                <a:gd name="T34" fmla="*/ 765 w 1432"/>
                <a:gd name="T35" fmla="*/ 2 h 1733"/>
                <a:gd name="T36" fmla="*/ 388 w 1432"/>
                <a:gd name="T37" fmla="*/ 79 h 1733"/>
                <a:gd name="T38" fmla="*/ 716 w 1432"/>
                <a:gd name="T39" fmla="*/ 188 h 1733"/>
                <a:gd name="T40" fmla="*/ 766 w 1432"/>
                <a:gd name="T41" fmla="*/ 190 h 1733"/>
                <a:gd name="T42" fmla="*/ 805 w 1432"/>
                <a:gd name="T43" fmla="*/ 195 h 1733"/>
                <a:gd name="T44" fmla="*/ 833 w 1432"/>
                <a:gd name="T45" fmla="*/ 201 h 1733"/>
                <a:gd name="T46" fmla="*/ 977 w 1432"/>
                <a:gd name="T47" fmla="*/ 256 h 1733"/>
                <a:gd name="T48" fmla="*/ 1006 w 1432"/>
                <a:gd name="T49" fmla="*/ 275 h 1733"/>
                <a:gd name="T50" fmla="*/ 1034 w 1432"/>
                <a:gd name="T51" fmla="*/ 294 h 1733"/>
                <a:gd name="T52" fmla="*/ 1065 w 1432"/>
                <a:gd name="T53" fmla="*/ 320 h 1733"/>
                <a:gd name="T54" fmla="*/ 1095 w 1432"/>
                <a:gd name="T55" fmla="*/ 348 h 1733"/>
                <a:gd name="T56" fmla="*/ 1123 w 1432"/>
                <a:gd name="T57" fmla="*/ 379 h 1733"/>
                <a:gd name="T58" fmla="*/ 1151 w 1432"/>
                <a:gd name="T59" fmla="*/ 417 h 1733"/>
                <a:gd name="T60" fmla="*/ 1174 w 1432"/>
                <a:gd name="T61" fmla="*/ 453 h 1733"/>
                <a:gd name="T62" fmla="*/ 1195 w 1432"/>
                <a:gd name="T63" fmla="*/ 493 h 1733"/>
                <a:gd name="T64" fmla="*/ 1209 w 1432"/>
                <a:gd name="T65" fmla="*/ 525 h 1733"/>
                <a:gd name="T66" fmla="*/ 1224 w 1432"/>
                <a:gd name="T67" fmla="*/ 571 h 1733"/>
                <a:gd name="T68" fmla="*/ 1233 w 1432"/>
                <a:gd name="T69" fmla="*/ 604 h 1733"/>
                <a:gd name="T70" fmla="*/ 1241 w 1432"/>
                <a:gd name="T71" fmla="*/ 653 h 1733"/>
                <a:gd name="T72" fmla="*/ 1244 w 1432"/>
                <a:gd name="T73" fmla="*/ 688 h 1733"/>
                <a:gd name="T74" fmla="*/ 1023 w 1432"/>
                <a:gd name="T75" fmla="*/ 540 h 1733"/>
                <a:gd name="T76" fmla="*/ 393 w 1432"/>
                <a:gd name="T77" fmla="*/ 743 h 1733"/>
                <a:gd name="T78" fmla="*/ 189 w 1432"/>
                <a:gd name="T79" fmla="*/ 679 h 1733"/>
                <a:gd name="T80" fmla="*/ 192 w 1432"/>
                <a:gd name="T81" fmla="*/ 646 h 1733"/>
                <a:gd name="T82" fmla="*/ 83 w 1432"/>
                <a:gd name="T83" fmla="*/ 380 h 1733"/>
                <a:gd name="T84" fmla="*/ 5 w 1432"/>
                <a:gd name="T85" fmla="*/ 628 h 1733"/>
                <a:gd name="T86" fmla="*/ 1 w 1432"/>
                <a:gd name="T87" fmla="*/ 676 h 1733"/>
                <a:gd name="T88" fmla="*/ 0 w 1432"/>
                <a:gd name="T89" fmla="*/ 1016 h 1733"/>
                <a:gd name="T90" fmla="*/ 393 w 1432"/>
                <a:gd name="T91" fmla="*/ 931 h 1733"/>
                <a:gd name="T92" fmla="*/ 1245 w 1432"/>
                <a:gd name="T93" fmla="*/ 1016 h 1733"/>
                <a:gd name="T94" fmla="*/ 187 w 1432"/>
                <a:gd name="T95" fmla="*/ 905 h 1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32" h="1733">
                  <a:moveTo>
                    <a:pt x="716" y="1733"/>
                  </a:moveTo>
                  <a:cubicBezTo>
                    <a:pt x="1111" y="1733"/>
                    <a:pt x="1432" y="1411"/>
                    <a:pt x="1432" y="1016"/>
                  </a:cubicBezTo>
                  <a:lnTo>
                    <a:pt x="1432" y="834"/>
                  </a:lnTo>
                  <a:lnTo>
                    <a:pt x="1432" y="716"/>
                  </a:lnTo>
                  <a:cubicBezTo>
                    <a:pt x="1432" y="704"/>
                    <a:pt x="1432" y="691"/>
                    <a:pt x="1431" y="678"/>
                  </a:cubicBezTo>
                  <a:cubicBezTo>
                    <a:pt x="1431" y="675"/>
                    <a:pt x="1431" y="673"/>
                    <a:pt x="1431" y="670"/>
                  </a:cubicBezTo>
                  <a:cubicBezTo>
                    <a:pt x="1430" y="660"/>
                    <a:pt x="1429" y="650"/>
                    <a:pt x="1428" y="640"/>
                  </a:cubicBezTo>
                  <a:cubicBezTo>
                    <a:pt x="1428" y="637"/>
                    <a:pt x="1427" y="634"/>
                    <a:pt x="1427" y="631"/>
                  </a:cubicBezTo>
                  <a:cubicBezTo>
                    <a:pt x="1426" y="622"/>
                    <a:pt x="1425" y="612"/>
                    <a:pt x="1423" y="603"/>
                  </a:cubicBezTo>
                  <a:cubicBezTo>
                    <a:pt x="1423" y="600"/>
                    <a:pt x="1422" y="597"/>
                    <a:pt x="1422" y="594"/>
                  </a:cubicBezTo>
                  <a:cubicBezTo>
                    <a:pt x="1420" y="584"/>
                    <a:pt x="1418" y="575"/>
                    <a:pt x="1416" y="566"/>
                  </a:cubicBezTo>
                  <a:cubicBezTo>
                    <a:pt x="1416" y="563"/>
                    <a:pt x="1415" y="560"/>
                    <a:pt x="1414" y="557"/>
                  </a:cubicBezTo>
                  <a:cubicBezTo>
                    <a:pt x="1412" y="548"/>
                    <a:pt x="1410" y="538"/>
                    <a:pt x="1407" y="530"/>
                  </a:cubicBezTo>
                  <a:cubicBezTo>
                    <a:pt x="1407" y="526"/>
                    <a:pt x="1406" y="523"/>
                    <a:pt x="1405" y="520"/>
                  </a:cubicBezTo>
                  <a:cubicBezTo>
                    <a:pt x="1402" y="511"/>
                    <a:pt x="1400" y="503"/>
                    <a:pt x="1397" y="494"/>
                  </a:cubicBezTo>
                  <a:cubicBezTo>
                    <a:pt x="1396" y="491"/>
                    <a:pt x="1394" y="487"/>
                    <a:pt x="1393" y="483"/>
                  </a:cubicBezTo>
                  <a:cubicBezTo>
                    <a:pt x="1390" y="475"/>
                    <a:pt x="1388" y="468"/>
                    <a:pt x="1385" y="460"/>
                  </a:cubicBezTo>
                  <a:cubicBezTo>
                    <a:pt x="1383" y="456"/>
                    <a:pt x="1381" y="452"/>
                    <a:pt x="1380" y="448"/>
                  </a:cubicBezTo>
                  <a:cubicBezTo>
                    <a:pt x="1377" y="441"/>
                    <a:pt x="1374" y="434"/>
                    <a:pt x="1371" y="427"/>
                  </a:cubicBezTo>
                  <a:cubicBezTo>
                    <a:pt x="1369" y="422"/>
                    <a:pt x="1367" y="418"/>
                    <a:pt x="1365" y="413"/>
                  </a:cubicBezTo>
                  <a:cubicBezTo>
                    <a:pt x="1362" y="407"/>
                    <a:pt x="1359" y="401"/>
                    <a:pt x="1356" y="395"/>
                  </a:cubicBezTo>
                  <a:cubicBezTo>
                    <a:pt x="1353" y="390"/>
                    <a:pt x="1351" y="385"/>
                    <a:pt x="1348" y="379"/>
                  </a:cubicBezTo>
                  <a:cubicBezTo>
                    <a:pt x="1345" y="374"/>
                    <a:pt x="1342" y="369"/>
                    <a:pt x="1340" y="365"/>
                  </a:cubicBezTo>
                  <a:cubicBezTo>
                    <a:pt x="1336" y="359"/>
                    <a:pt x="1333" y="353"/>
                    <a:pt x="1330" y="347"/>
                  </a:cubicBezTo>
                  <a:cubicBezTo>
                    <a:pt x="1327" y="344"/>
                    <a:pt x="1325" y="340"/>
                    <a:pt x="1323" y="337"/>
                  </a:cubicBezTo>
                  <a:cubicBezTo>
                    <a:pt x="1301" y="302"/>
                    <a:pt x="1276" y="269"/>
                    <a:pt x="1249" y="238"/>
                  </a:cubicBezTo>
                  <a:cubicBezTo>
                    <a:pt x="1248" y="237"/>
                    <a:pt x="1247" y="236"/>
                    <a:pt x="1245" y="234"/>
                  </a:cubicBezTo>
                  <a:cubicBezTo>
                    <a:pt x="1239" y="228"/>
                    <a:pt x="1233" y="221"/>
                    <a:pt x="1227" y="215"/>
                  </a:cubicBezTo>
                  <a:cubicBezTo>
                    <a:pt x="1225" y="213"/>
                    <a:pt x="1222" y="210"/>
                    <a:pt x="1220" y="208"/>
                  </a:cubicBezTo>
                  <a:cubicBezTo>
                    <a:pt x="1214" y="202"/>
                    <a:pt x="1209" y="197"/>
                    <a:pt x="1203" y="191"/>
                  </a:cubicBezTo>
                  <a:cubicBezTo>
                    <a:pt x="1200" y="188"/>
                    <a:pt x="1196" y="186"/>
                    <a:pt x="1193" y="183"/>
                  </a:cubicBezTo>
                  <a:cubicBezTo>
                    <a:pt x="1190" y="180"/>
                    <a:pt x="1188" y="178"/>
                    <a:pt x="1185" y="175"/>
                  </a:cubicBezTo>
                  <a:cubicBezTo>
                    <a:pt x="1184" y="174"/>
                    <a:pt x="1183" y="173"/>
                    <a:pt x="1182" y="173"/>
                  </a:cubicBezTo>
                  <a:cubicBezTo>
                    <a:pt x="1179" y="170"/>
                    <a:pt x="1175" y="167"/>
                    <a:pt x="1172" y="164"/>
                  </a:cubicBezTo>
                  <a:cubicBezTo>
                    <a:pt x="1172" y="164"/>
                    <a:pt x="1171" y="163"/>
                    <a:pt x="1170" y="163"/>
                  </a:cubicBezTo>
                  <a:cubicBezTo>
                    <a:pt x="1162" y="156"/>
                    <a:pt x="1155" y="150"/>
                    <a:pt x="1147" y="144"/>
                  </a:cubicBezTo>
                  <a:cubicBezTo>
                    <a:pt x="1145" y="143"/>
                    <a:pt x="1143" y="142"/>
                    <a:pt x="1142" y="141"/>
                  </a:cubicBezTo>
                  <a:cubicBezTo>
                    <a:pt x="1135" y="135"/>
                    <a:pt x="1128" y="130"/>
                    <a:pt x="1121" y="126"/>
                  </a:cubicBezTo>
                  <a:cubicBezTo>
                    <a:pt x="1118" y="124"/>
                    <a:pt x="1115" y="122"/>
                    <a:pt x="1113" y="120"/>
                  </a:cubicBezTo>
                  <a:cubicBezTo>
                    <a:pt x="1107" y="116"/>
                    <a:pt x="1100" y="112"/>
                    <a:pt x="1094" y="108"/>
                  </a:cubicBezTo>
                  <a:cubicBezTo>
                    <a:pt x="1090" y="106"/>
                    <a:pt x="1087" y="104"/>
                    <a:pt x="1083" y="101"/>
                  </a:cubicBezTo>
                  <a:cubicBezTo>
                    <a:pt x="1078" y="98"/>
                    <a:pt x="1073" y="96"/>
                    <a:pt x="1068" y="93"/>
                  </a:cubicBezTo>
                  <a:cubicBezTo>
                    <a:pt x="1063" y="90"/>
                    <a:pt x="1058" y="87"/>
                    <a:pt x="1053" y="84"/>
                  </a:cubicBezTo>
                  <a:cubicBezTo>
                    <a:pt x="1050" y="83"/>
                    <a:pt x="1046" y="81"/>
                    <a:pt x="1043" y="79"/>
                  </a:cubicBezTo>
                  <a:cubicBezTo>
                    <a:pt x="1000" y="57"/>
                    <a:pt x="953" y="39"/>
                    <a:pt x="905" y="26"/>
                  </a:cubicBezTo>
                  <a:cubicBezTo>
                    <a:pt x="905" y="25"/>
                    <a:pt x="904" y="25"/>
                    <a:pt x="904" y="25"/>
                  </a:cubicBezTo>
                  <a:cubicBezTo>
                    <a:pt x="895" y="23"/>
                    <a:pt x="886" y="21"/>
                    <a:pt x="877" y="18"/>
                  </a:cubicBezTo>
                  <a:cubicBezTo>
                    <a:pt x="875" y="18"/>
                    <a:pt x="873" y="18"/>
                    <a:pt x="871" y="17"/>
                  </a:cubicBezTo>
                  <a:cubicBezTo>
                    <a:pt x="863" y="15"/>
                    <a:pt x="855" y="14"/>
                    <a:pt x="847" y="12"/>
                  </a:cubicBezTo>
                  <a:cubicBezTo>
                    <a:pt x="844" y="12"/>
                    <a:pt x="841" y="11"/>
                    <a:pt x="838" y="11"/>
                  </a:cubicBezTo>
                  <a:cubicBezTo>
                    <a:pt x="830" y="9"/>
                    <a:pt x="823" y="8"/>
                    <a:pt x="816" y="7"/>
                  </a:cubicBezTo>
                  <a:cubicBezTo>
                    <a:pt x="811" y="6"/>
                    <a:pt x="807" y="6"/>
                    <a:pt x="802" y="5"/>
                  </a:cubicBezTo>
                  <a:cubicBezTo>
                    <a:pt x="796" y="5"/>
                    <a:pt x="790" y="4"/>
                    <a:pt x="783" y="3"/>
                  </a:cubicBezTo>
                  <a:cubicBezTo>
                    <a:pt x="777" y="3"/>
                    <a:pt x="771" y="2"/>
                    <a:pt x="765" y="2"/>
                  </a:cubicBezTo>
                  <a:cubicBezTo>
                    <a:pt x="760" y="2"/>
                    <a:pt x="755" y="1"/>
                    <a:pt x="750" y="1"/>
                  </a:cubicBezTo>
                  <a:cubicBezTo>
                    <a:pt x="739" y="0"/>
                    <a:pt x="727" y="0"/>
                    <a:pt x="716" y="0"/>
                  </a:cubicBezTo>
                  <a:cubicBezTo>
                    <a:pt x="602" y="0"/>
                    <a:pt x="489" y="27"/>
                    <a:pt x="388" y="79"/>
                  </a:cubicBezTo>
                  <a:cubicBezTo>
                    <a:pt x="342" y="103"/>
                    <a:pt x="324" y="159"/>
                    <a:pt x="348" y="205"/>
                  </a:cubicBezTo>
                  <a:cubicBezTo>
                    <a:pt x="372" y="252"/>
                    <a:pt x="428" y="270"/>
                    <a:pt x="474" y="246"/>
                  </a:cubicBezTo>
                  <a:cubicBezTo>
                    <a:pt x="549" y="207"/>
                    <a:pt x="631" y="188"/>
                    <a:pt x="716" y="188"/>
                  </a:cubicBezTo>
                  <a:cubicBezTo>
                    <a:pt x="724" y="188"/>
                    <a:pt x="733" y="188"/>
                    <a:pt x="741" y="188"/>
                  </a:cubicBezTo>
                  <a:cubicBezTo>
                    <a:pt x="745" y="188"/>
                    <a:pt x="748" y="189"/>
                    <a:pt x="752" y="189"/>
                  </a:cubicBezTo>
                  <a:cubicBezTo>
                    <a:pt x="756" y="189"/>
                    <a:pt x="761" y="189"/>
                    <a:pt x="766" y="190"/>
                  </a:cubicBezTo>
                  <a:cubicBezTo>
                    <a:pt x="770" y="190"/>
                    <a:pt x="775" y="191"/>
                    <a:pt x="780" y="191"/>
                  </a:cubicBezTo>
                  <a:cubicBezTo>
                    <a:pt x="783" y="192"/>
                    <a:pt x="786" y="192"/>
                    <a:pt x="789" y="193"/>
                  </a:cubicBezTo>
                  <a:cubicBezTo>
                    <a:pt x="795" y="193"/>
                    <a:pt x="800" y="194"/>
                    <a:pt x="805" y="195"/>
                  </a:cubicBezTo>
                  <a:cubicBezTo>
                    <a:pt x="808" y="196"/>
                    <a:pt x="810" y="196"/>
                    <a:pt x="812" y="196"/>
                  </a:cubicBezTo>
                  <a:cubicBezTo>
                    <a:pt x="818" y="198"/>
                    <a:pt x="824" y="199"/>
                    <a:pt x="830" y="200"/>
                  </a:cubicBezTo>
                  <a:cubicBezTo>
                    <a:pt x="831" y="200"/>
                    <a:pt x="832" y="201"/>
                    <a:pt x="833" y="201"/>
                  </a:cubicBezTo>
                  <a:cubicBezTo>
                    <a:pt x="876" y="211"/>
                    <a:pt x="918" y="226"/>
                    <a:pt x="958" y="246"/>
                  </a:cubicBezTo>
                  <a:cubicBezTo>
                    <a:pt x="959" y="247"/>
                    <a:pt x="961" y="248"/>
                    <a:pt x="962" y="249"/>
                  </a:cubicBezTo>
                  <a:cubicBezTo>
                    <a:pt x="967" y="251"/>
                    <a:pt x="972" y="254"/>
                    <a:pt x="977" y="256"/>
                  </a:cubicBezTo>
                  <a:cubicBezTo>
                    <a:pt x="979" y="258"/>
                    <a:pt x="982" y="259"/>
                    <a:pt x="985" y="261"/>
                  </a:cubicBezTo>
                  <a:cubicBezTo>
                    <a:pt x="988" y="263"/>
                    <a:pt x="992" y="266"/>
                    <a:pt x="996" y="268"/>
                  </a:cubicBezTo>
                  <a:cubicBezTo>
                    <a:pt x="1000" y="270"/>
                    <a:pt x="1003" y="272"/>
                    <a:pt x="1006" y="275"/>
                  </a:cubicBezTo>
                  <a:cubicBezTo>
                    <a:pt x="1009" y="277"/>
                    <a:pt x="1012" y="279"/>
                    <a:pt x="1015" y="281"/>
                  </a:cubicBezTo>
                  <a:cubicBezTo>
                    <a:pt x="1020" y="284"/>
                    <a:pt x="1024" y="287"/>
                    <a:pt x="1028" y="290"/>
                  </a:cubicBezTo>
                  <a:cubicBezTo>
                    <a:pt x="1030" y="291"/>
                    <a:pt x="1032" y="293"/>
                    <a:pt x="1034" y="294"/>
                  </a:cubicBezTo>
                  <a:cubicBezTo>
                    <a:pt x="1040" y="298"/>
                    <a:pt x="1045" y="302"/>
                    <a:pt x="1050" y="307"/>
                  </a:cubicBezTo>
                  <a:cubicBezTo>
                    <a:pt x="1051" y="307"/>
                    <a:pt x="1052" y="308"/>
                    <a:pt x="1053" y="309"/>
                  </a:cubicBezTo>
                  <a:cubicBezTo>
                    <a:pt x="1057" y="313"/>
                    <a:pt x="1061" y="316"/>
                    <a:pt x="1065" y="320"/>
                  </a:cubicBezTo>
                  <a:cubicBezTo>
                    <a:pt x="1069" y="323"/>
                    <a:pt x="1073" y="326"/>
                    <a:pt x="1076" y="330"/>
                  </a:cubicBezTo>
                  <a:cubicBezTo>
                    <a:pt x="1079" y="333"/>
                    <a:pt x="1083" y="336"/>
                    <a:pt x="1086" y="339"/>
                  </a:cubicBezTo>
                  <a:cubicBezTo>
                    <a:pt x="1089" y="342"/>
                    <a:pt x="1092" y="345"/>
                    <a:pt x="1095" y="348"/>
                  </a:cubicBezTo>
                  <a:cubicBezTo>
                    <a:pt x="1099" y="352"/>
                    <a:pt x="1102" y="355"/>
                    <a:pt x="1105" y="358"/>
                  </a:cubicBezTo>
                  <a:cubicBezTo>
                    <a:pt x="1108" y="362"/>
                    <a:pt x="1110" y="365"/>
                    <a:pt x="1113" y="368"/>
                  </a:cubicBezTo>
                  <a:cubicBezTo>
                    <a:pt x="1116" y="372"/>
                    <a:pt x="1120" y="375"/>
                    <a:pt x="1123" y="379"/>
                  </a:cubicBezTo>
                  <a:cubicBezTo>
                    <a:pt x="1125" y="382"/>
                    <a:pt x="1128" y="385"/>
                    <a:pt x="1130" y="388"/>
                  </a:cubicBezTo>
                  <a:cubicBezTo>
                    <a:pt x="1133" y="392"/>
                    <a:pt x="1136" y="396"/>
                    <a:pt x="1139" y="400"/>
                  </a:cubicBezTo>
                  <a:cubicBezTo>
                    <a:pt x="1144" y="405"/>
                    <a:pt x="1148" y="411"/>
                    <a:pt x="1151" y="417"/>
                  </a:cubicBezTo>
                  <a:cubicBezTo>
                    <a:pt x="1154" y="421"/>
                    <a:pt x="1157" y="425"/>
                    <a:pt x="1160" y="430"/>
                  </a:cubicBezTo>
                  <a:cubicBezTo>
                    <a:pt x="1163" y="434"/>
                    <a:pt x="1166" y="439"/>
                    <a:pt x="1169" y="444"/>
                  </a:cubicBezTo>
                  <a:cubicBezTo>
                    <a:pt x="1171" y="447"/>
                    <a:pt x="1172" y="450"/>
                    <a:pt x="1174" y="453"/>
                  </a:cubicBezTo>
                  <a:cubicBezTo>
                    <a:pt x="1177" y="458"/>
                    <a:pt x="1180" y="463"/>
                    <a:pt x="1183" y="468"/>
                  </a:cubicBezTo>
                  <a:cubicBezTo>
                    <a:pt x="1184" y="471"/>
                    <a:pt x="1185" y="473"/>
                    <a:pt x="1187" y="476"/>
                  </a:cubicBezTo>
                  <a:cubicBezTo>
                    <a:pt x="1190" y="482"/>
                    <a:pt x="1192" y="487"/>
                    <a:pt x="1195" y="493"/>
                  </a:cubicBezTo>
                  <a:cubicBezTo>
                    <a:pt x="1196" y="495"/>
                    <a:pt x="1197" y="498"/>
                    <a:pt x="1198" y="500"/>
                  </a:cubicBezTo>
                  <a:cubicBezTo>
                    <a:pt x="1201" y="506"/>
                    <a:pt x="1204" y="512"/>
                    <a:pt x="1206" y="518"/>
                  </a:cubicBezTo>
                  <a:cubicBezTo>
                    <a:pt x="1207" y="521"/>
                    <a:pt x="1208" y="523"/>
                    <a:pt x="1209" y="525"/>
                  </a:cubicBezTo>
                  <a:cubicBezTo>
                    <a:pt x="1211" y="532"/>
                    <a:pt x="1214" y="538"/>
                    <a:pt x="1216" y="544"/>
                  </a:cubicBezTo>
                  <a:cubicBezTo>
                    <a:pt x="1217" y="547"/>
                    <a:pt x="1217" y="549"/>
                    <a:pt x="1218" y="551"/>
                  </a:cubicBezTo>
                  <a:cubicBezTo>
                    <a:pt x="1220" y="558"/>
                    <a:pt x="1222" y="564"/>
                    <a:pt x="1224" y="571"/>
                  </a:cubicBezTo>
                  <a:cubicBezTo>
                    <a:pt x="1225" y="573"/>
                    <a:pt x="1226" y="575"/>
                    <a:pt x="1226" y="577"/>
                  </a:cubicBezTo>
                  <a:cubicBezTo>
                    <a:pt x="1228" y="584"/>
                    <a:pt x="1230" y="591"/>
                    <a:pt x="1231" y="598"/>
                  </a:cubicBezTo>
                  <a:cubicBezTo>
                    <a:pt x="1232" y="600"/>
                    <a:pt x="1232" y="602"/>
                    <a:pt x="1233" y="604"/>
                  </a:cubicBezTo>
                  <a:cubicBezTo>
                    <a:pt x="1234" y="612"/>
                    <a:pt x="1236" y="619"/>
                    <a:pt x="1237" y="626"/>
                  </a:cubicBezTo>
                  <a:cubicBezTo>
                    <a:pt x="1237" y="628"/>
                    <a:pt x="1238" y="630"/>
                    <a:pt x="1238" y="632"/>
                  </a:cubicBezTo>
                  <a:cubicBezTo>
                    <a:pt x="1239" y="639"/>
                    <a:pt x="1240" y="646"/>
                    <a:pt x="1241" y="653"/>
                  </a:cubicBezTo>
                  <a:cubicBezTo>
                    <a:pt x="1241" y="656"/>
                    <a:pt x="1241" y="658"/>
                    <a:pt x="1242" y="660"/>
                  </a:cubicBezTo>
                  <a:cubicBezTo>
                    <a:pt x="1242" y="667"/>
                    <a:pt x="1243" y="674"/>
                    <a:pt x="1244" y="682"/>
                  </a:cubicBezTo>
                  <a:cubicBezTo>
                    <a:pt x="1244" y="684"/>
                    <a:pt x="1244" y="686"/>
                    <a:pt x="1244" y="688"/>
                  </a:cubicBezTo>
                  <a:cubicBezTo>
                    <a:pt x="1244" y="697"/>
                    <a:pt x="1245" y="707"/>
                    <a:pt x="1245" y="716"/>
                  </a:cubicBezTo>
                  <a:lnTo>
                    <a:pt x="1245" y="717"/>
                  </a:lnTo>
                  <a:cubicBezTo>
                    <a:pt x="1155" y="684"/>
                    <a:pt x="1077" y="623"/>
                    <a:pt x="1023" y="540"/>
                  </a:cubicBezTo>
                  <a:cubicBezTo>
                    <a:pt x="1008" y="516"/>
                    <a:pt x="981" y="500"/>
                    <a:pt x="952" y="498"/>
                  </a:cubicBezTo>
                  <a:cubicBezTo>
                    <a:pt x="923" y="496"/>
                    <a:pt x="895" y="507"/>
                    <a:pt x="875" y="529"/>
                  </a:cubicBezTo>
                  <a:cubicBezTo>
                    <a:pt x="752" y="665"/>
                    <a:pt x="576" y="743"/>
                    <a:pt x="393" y="743"/>
                  </a:cubicBezTo>
                  <a:cubicBezTo>
                    <a:pt x="322" y="743"/>
                    <a:pt x="253" y="732"/>
                    <a:pt x="187" y="710"/>
                  </a:cubicBezTo>
                  <a:cubicBezTo>
                    <a:pt x="187" y="708"/>
                    <a:pt x="187" y="707"/>
                    <a:pt x="187" y="706"/>
                  </a:cubicBezTo>
                  <a:cubicBezTo>
                    <a:pt x="188" y="697"/>
                    <a:pt x="188" y="688"/>
                    <a:pt x="189" y="679"/>
                  </a:cubicBezTo>
                  <a:cubicBezTo>
                    <a:pt x="189" y="679"/>
                    <a:pt x="189" y="678"/>
                    <a:pt x="189" y="678"/>
                  </a:cubicBezTo>
                  <a:cubicBezTo>
                    <a:pt x="189" y="668"/>
                    <a:pt x="190" y="658"/>
                    <a:pt x="192" y="648"/>
                  </a:cubicBezTo>
                  <a:cubicBezTo>
                    <a:pt x="192" y="647"/>
                    <a:pt x="192" y="646"/>
                    <a:pt x="192" y="646"/>
                  </a:cubicBezTo>
                  <a:cubicBezTo>
                    <a:pt x="200" y="584"/>
                    <a:pt x="220" y="523"/>
                    <a:pt x="249" y="468"/>
                  </a:cubicBezTo>
                  <a:cubicBezTo>
                    <a:pt x="273" y="422"/>
                    <a:pt x="256" y="366"/>
                    <a:pt x="210" y="341"/>
                  </a:cubicBezTo>
                  <a:cubicBezTo>
                    <a:pt x="165" y="317"/>
                    <a:pt x="108" y="334"/>
                    <a:pt x="83" y="380"/>
                  </a:cubicBezTo>
                  <a:cubicBezTo>
                    <a:pt x="64" y="417"/>
                    <a:pt x="48" y="456"/>
                    <a:pt x="35" y="495"/>
                  </a:cubicBezTo>
                  <a:cubicBezTo>
                    <a:pt x="34" y="497"/>
                    <a:pt x="33" y="499"/>
                    <a:pt x="33" y="500"/>
                  </a:cubicBezTo>
                  <a:cubicBezTo>
                    <a:pt x="20" y="542"/>
                    <a:pt x="10" y="585"/>
                    <a:pt x="5" y="628"/>
                  </a:cubicBezTo>
                  <a:cubicBezTo>
                    <a:pt x="5" y="628"/>
                    <a:pt x="5" y="629"/>
                    <a:pt x="5" y="629"/>
                  </a:cubicBezTo>
                  <a:cubicBezTo>
                    <a:pt x="3" y="642"/>
                    <a:pt x="2" y="656"/>
                    <a:pt x="1" y="669"/>
                  </a:cubicBezTo>
                  <a:cubicBezTo>
                    <a:pt x="1" y="672"/>
                    <a:pt x="1" y="674"/>
                    <a:pt x="1" y="676"/>
                  </a:cubicBezTo>
                  <a:cubicBezTo>
                    <a:pt x="0" y="690"/>
                    <a:pt x="0" y="703"/>
                    <a:pt x="0" y="716"/>
                  </a:cubicBezTo>
                  <a:lnTo>
                    <a:pt x="0" y="774"/>
                  </a:lnTo>
                  <a:lnTo>
                    <a:pt x="0" y="1016"/>
                  </a:lnTo>
                  <a:cubicBezTo>
                    <a:pt x="0" y="1411"/>
                    <a:pt x="321" y="1733"/>
                    <a:pt x="716" y="1733"/>
                  </a:cubicBezTo>
                  <a:close/>
                  <a:moveTo>
                    <a:pt x="187" y="905"/>
                  </a:moveTo>
                  <a:cubicBezTo>
                    <a:pt x="254" y="922"/>
                    <a:pt x="323" y="931"/>
                    <a:pt x="393" y="931"/>
                  </a:cubicBezTo>
                  <a:cubicBezTo>
                    <a:pt x="592" y="931"/>
                    <a:pt x="785" y="859"/>
                    <a:pt x="935" y="731"/>
                  </a:cubicBezTo>
                  <a:cubicBezTo>
                    <a:pt x="1019" y="820"/>
                    <a:pt x="1126" y="883"/>
                    <a:pt x="1245" y="912"/>
                  </a:cubicBezTo>
                  <a:lnTo>
                    <a:pt x="1245" y="1016"/>
                  </a:lnTo>
                  <a:cubicBezTo>
                    <a:pt x="1245" y="1308"/>
                    <a:pt x="1008" y="1545"/>
                    <a:pt x="716" y="1545"/>
                  </a:cubicBezTo>
                  <a:cubicBezTo>
                    <a:pt x="424" y="1545"/>
                    <a:pt x="187" y="1308"/>
                    <a:pt x="187" y="1016"/>
                  </a:cubicBezTo>
                  <a:lnTo>
                    <a:pt x="187" y="9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3">
              <a:extLst>
                <a:ext uri="{FF2B5EF4-FFF2-40B4-BE49-F238E27FC236}">
                  <a16:creationId xmlns:a16="http://schemas.microsoft.com/office/drawing/2014/main" id="{3F09C969-4387-46F5-9372-A0C707929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2" y="3246"/>
              <a:ext cx="64" cy="62"/>
            </a:xfrm>
            <a:custGeom>
              <a:avLst/>
              <a:gdLst>
                <a:gd name="T0" fmla="*/ 415 w 596"/>
                <a:gd name="T1" fmla="*/ 541 h 578"/>
                <a:gd name="T2" fmla="*/ 490 w 596"/>
                <a:gd name="T3" fmla="*/ 578 h 578"/>
                <a:gd name="T4" fmla="*/ 546 w 596"/>
                <a:gd name="T5" fmla="*/ 559 h 578"/>
                <a:gd name="T6" fmla="*/ 564 w 596"/>
                <a:gd name="T7" fmla="*/ 428 h 578"/>
                <a:gd name="T8" fmla="*/ 162 w 596"/>
                <a:gd name="T9" fmla="*/ 31 h 578"/>
                <a:gd name="T10" fmla="*/ 30 w 596"/>
                <a:gd name="T11" fmla="*/ 51 h 578"/>
                <a:gd name="T12" fmla="*/ 51 w 596"/>
                <a:gd name="T13" fmla="*/ 182 h 578"/>
                <a:gd name="T14" fmla="*/ 415 w 596"/>
                <a:gd name="T15" fmla="*/ 541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6" h="578">
                  <a:moveTo>
                    <a:pt x="415" y="541"/>
                  </a:moveTo>
                  <a:cubicBezTo>
                    <a:pt x="433" y="565"/>
                    <a:pt x="461" y="578"/>
                    <a:pt x="490" y="578"/>
                  </a:cubicBezTo>
                  <a:cubicBezTo>
                    <a:pt x="509" y="578"/>
                    <a:pt x="529" y="572"/>
                    <a:pt x="546" y="559"/>
                  </a:cubicBezTo>
                  <a:cubicBezTo>
                    <a:pt x="587" y="528"/>
                    <a:pt x="596" y="469"/>
                    <a:pt x="564" y="428"/>
                  </a:cubicBezTo>
                  <a:cubicBezTo>
                    <a:pt x="450" y="277"/>
                    <a:pt x="314" y="143"/>
                    <a:pt x="162" y="31"/>
                  </a:cubicBezTo>
                  <a:cubicBezTo>
                    <a:pt x="120" y="0"/>
                    <a:pt x="61" y="9"/>
                    <a:pt x="30" y="51"/>
                  </a:cubicBezTo>
                  <a:cubicBezTo>
                    <a:pt x="0" y="93"/>
                    <a:pt x="9" y="151"/>
                    <a:pt x="51" y="182"/>
                  </a:cubicBezTo>
                  <a:cubicBezTo>
                    <a:pt x="189" y="284"/>
                    <a:pt x="311" y="404"/>
                    <a:pt x="415" y="5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14">
              <a:extLst>
                <a:ext uri="{FF2B5EF4-FFF2-40B4-BE49-F238E27FC236}">
                  <a16:creationId xmlns:a16="http://schemas.microsoft.com/office/drawing/2014/main" id="{F9A9512B-10D6-4F60-8F6F-78AA90C0C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7" y="3582"/>
              <a:ext cx="214" cy="46"/>
            </a:xfrm>
            <a:custGeom>
              <a:avLst/>
              <a:gdLst>
                <a:gd name="T0" fmla="*/ 1843 w 1994"/>
                <a:gd name="T1" fmla="*/ 28 h 428"/>
                <a:gd name="T2" fmla="*/ 1000 w 1994"/>
                <a:gd name="T3" fmla="*/ 241 h 428"/>
                <a:gd name="T4" fmla="*/ 152 w 1994"/>
                <a:gd name="T5" fmla="*/ 25 h 428"/>
                <a:gd name="T6" fmla="*/ 25 w 1994"/>
                <a:gd name="T7" fmla="*/ 62 h 428"/>
                <a:gd name="T8" fmla="*/ 62 w 1994"/>
                <a:gd name="T9" fmla="*/ 189 h 428"/>
                <a:gd name="T10" fmla="*/ 1000 w 1994"/>
                <a:gd name="T11" fmla="*/ 428 h 428"/>
                <a:gd name="T12" fmla="*/ 1932 w 1994"/>
                <a:gd name="T13" fmla="*/ 192 h 428"/>
                <a:gd name="T14" fmla="*/ 1970 w 1994"/>
                <a:gd name="T15" fmla="*/ 65 h 428"/>
                <a:gd name="T16" fmla="*/ 1843 w 1994"/>
                <a:gd name="T17" fmla="*/ 2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4" h="428">
                  <a:moveTo>
                    <a:pt x="1843" y="28"/>
                  </a:moveTo>
                  <a:cubicBezTo>
                    <a:pt x="1586" y="167"/>
                    <a:pt x="1294" y="241"/>
                    <a:pt x="1000" y="241"/>
                  </a:cubicBezTo>
                  <a:cubicBezTo>
                    <a:pt x="704" y="241"/>
                    <a:pt x="410" y="166"/>
                    <a:pt x="152" y="25"/>
                  </a:cubicBezTo>
                  <a:cubicBezTo>
                    <a:pt x="107" y="0"/>
                    <a:pt x="50" y="16"/>
                    <a:pt x="25" y="62"/>
                  </a:cubicBezTo>
                  <a:cubicBezTo>
                    <a:pt x="0" y="107"/>
                    <a:pt x="17" y="164"/>
                    <a:pt x="62" y="189"/>
                  </a:cubicBezTo>
                  <a:cubicBezTo>
                    <a:pt x="348" y="346"/>
                    <a:pt x="672" y="428"/>
                    <a:pt x="1000" y="428"/>
                  </a:cubicBezTo>
                  <a:cubicBezTo>
                    <a:pt x="1326" y="428"/>
                    <a:pt x="1648" y="347"/>
                    <a:pt x="1932" y="192"/>
                  </a:cubicBezTo>
                  <a:cubicBezTo>
                    <a:pt x="1978" y="168"/>
                    <a:pt x="1994" y="111"/>
                    <a:pt x="1970" y="65"/>
                  </a:cubicBezTo>
                  <a:cubicBezTo>
                    <a:pt x="1945" y="20"/>
                    <a:pt x="1888" y="3"/>
                    <a:pt x="1843" y="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15">
              <a:extLst>
                <a:ext uri="{FF2B5EF4-FFF2-40B4-BE49-F238E27FC236}">
                  <a16:creationId xmlns:a16="http://schemas.microsoft.com/office/drawing/2014/main" id="{DD63F724-74D1-401B-8186-4C42CCD79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4" y="3246"/>
              <a:ext cx="64" cy="62"/>
            </a:xfrm>
            <a:custGeom>
              <a:avLst/>
              <a:gdLst>
                <a:gd name="T0" fmla="*/ 431 w 593"/>
                <a:gd name="T1" fmla="*/ 31 h 574"/>
                <a:gd name="T2" fmla="*/ 32 w 593"/>
                <a:gd name="T3" fmla="*/ 424 h 574"/>
                <a:gd name="T4" fmla="*/ 49 w 593"/>
                <a:gd name="T5" fmla="*/ 555 h 574"/>
                <a:gd name="T6" fmla="*/ 106 w 593"/>
                <a:gd name="T7" fmla="*/ 574 h 574"/>
                <a:gd name="T8" fmla="*/ 181 w 593"/>
                <a:gd name="T9" fmla="*/ 538 h 574"/>
                <a:gd name="T10" fmla="*/ 542 w 593"/>
                <a:gd name="T11" fmla="*/ 182 h 574"/>
                <a:gd name="T12" fmla="*/ 563 w 593"/>
                <a:gd name="T13" fmla="*/ 51 h 574"/>
                <a:gd name="T14" fmla="*/ 431 w 593"/>
                <a:gd name="T15" fmla="*/ 3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3" h="574">
                  <a:moveTo>
                    <a:pt x="431" y="31"/>
                  </a:moveTo>
                  <a:cubicBezTo>
                    <a:pt x="280" y="142"/>
                    <a:pt x="145" y="274"/>
                    <a:pt x="32" y="424"/>
                  </a:cubicBezTo>
                  <a:cubicBezTo>
                    <a:pt x="0" y="465"/>
                    <a:pt x="8" y="524"/>
                    <a:pt x="49" y="555"/>
                  </a:cubicBezTo>
                  <a:cubicBezTo>
                    <a:pt x="66" y="568"/>
                    <a:pt x="86" y="574"/>
                    <a:pt x="106" y="574"/>
                  </a:cubicBezTo>
                  <a:cubicBezTo>
                    <a:pt x="134" y="574"/>
                    <a:pt x="162" y="562"/>
                    <a:pt x="181" y="538"/>
                  </a:cubicBezTo>
                  <a:cubicBezTo>
                    <a:pt x="284" y="402"/>
                    <a:pt x="405" y="283"/>
                    <a:pt x="542" y="182"/>
                  </a:cubicBezTo>
                  <a:cubicBezTo>
                    <a:pt x="584" y="151"/>
                    <a:pt x="593" y="93"/>
                    <a:pt x="563" y="51"/>
                  </a:cubicBezTo>
                  <a:cubicBezTo>
                    <a:pt x="532" y="9"/>
                    <a:pt x="473" y="0"/>
                    <a:pt x="431" y="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16">
              <a:extLst>
                <a:ext uri="{FF2B5EF4-FFF2-40B4-BE49-F238E27FC236}">
                  <a16:creationId xmlns:a16="http://schemas.microsoft.com/office/drawing/2014/main" id="{FF71AC39-682F-4B1E-907E-D8D19DD464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0" y="3502"/>
              <a:ext cx="184" cy="139"/>
            </a:xfrm>
            <a:custGeom>
              <a:avLst/>
              <a:gdLst>
                <a:gd name="T0" fmla="*/ 1077 w 1716"/>
                <a:gd name="T1" fmla="*/ 0 h 1303"/>
                <a:gd name="T2" fmla="*/ 923 w 1716"/>
                <a:gd name="T3" fmla="*/ 0 h 1303"/>
                <a:gd name="T4" fmla="*/ 793 w 1716"/>
                <a:gd name="T5" fmla="*/ 0 h 1303"/>
                <a:gd name="T6" fmla="*/ 639 w 1716"/>
                <a:gd name="T7" fmla="*/ 0 h 1303"/>
                <a:gd name="T8" fmla="*/ 0 w 1716"/>
                <a:gd name="T9" fmla="*/ 639 h 1303"/>
                <a:gd name="T10" fmla="*/ 0 w 1716"/>
                <a:gd name="T11" fmla="*/ 1209 h 1303"/>
                <a:gd name="T12" fmla="*/ 93 w 1716"/>
                <a:gd name="T13" fmla="*/ 1303 h 1303"/>
                <a:gd name="T14" fmla="*/ 187 w 1716"/>
                <a:gd name="T15" fmla="*/ 1209 h 1303"/>
                <a:gd name="T16" fmla="*/ 187 w 1716"/>
                <a:gd name="T17" fmla="*/ 639 h 1303"/>
                <a:gd name="T18" fmla="*/ 639 w 1716"/>
                <a:gd name="T19" fmla="*/ 188 h 1303"/>
                <a:gd name="T20" fmla="*/ 668 w 1716"/>
                <a:gd name="T21" fmla="*/ 188 h 1303"/>
                <a:gd name="T22" fmla="*/ 523 w 1716"/>
                <a:gd name="T23" fmla="*/ 679 h 1303"/>
                <a:gd name="T24" fmla="*/ 546 w 1716"/>
                <a:gd name="T25" fmla="*/ 771 h 1303"/>
                <a:gd name="T26" fmla="*/ 791 w 1716"/>
                <a:gd name="T27" fmla="*/ 1022 h 1303"/>
                <a:gd name="T28" fmla="*/ 858 w 1716"/>
                <a:gd name="T29" fmla="*/ 1051 h 1303"/>
                <a:gd name="T30" fmla="*/ 925 w 1716"/>
                <a:gd name="T31" fmla="*/ 1022 h 1303"/>
                <a:gd name="T32" fmla="*/ 1170 w 1716"/>
                <a:gd name="T33" fmla="*/ 771 h 1303"/>
                <a:gd name="T34" fmla="*/ 1193 w 1716"/>
                <a:gd name="T35" fmla="*/ 679 h 1303"/>
                <a:gd name="T36" fmla="*/ 1048 w 1716"/>
                <a:gd name="T37" fmla="*/ 188 h 1303"/>
                <a:gd name="T38" fmla="*/ 1077 w 1716"/>
                <a:gd name="T39" fmla="*/ 188 h 1303"/>
                <a:gd name="T40" fmla="*/ 1529 w 1716"/>
                <a:gd name="T41" fmla="*/ 639 h 1303"/>
                <a:gd name="T42" fmla="*/ 1529 w 1716"/>
                <a:gd name="T43" fmla="*/ 1209 h 1303"/>
                <a:gd name="T44" fmla="*/ 1623 w 1716"/>
                <a:gd name="T45" fmla="*/ 1303 h 1303"/>
                <a:gd name="T46" fmla="*/ 1716 w 1716"/>
                <a:gd name="T47" fmla="*/ 1209 h 1303"/>
                <a:gd name="T48" fmla="*/ 1716 w 1716"/>
                <a:gd name="T49" fmla="*/ 639 h 1303"/>
                <a:gd name="T50" fmla="*/ 1077 w 1716"/>
                <a:gd name="T51" fmla="*/ 0 h 1303"/>
                <a:gd name="T52" fmla="*/ 858 w 1716"/>
                <a:gd name="T53" fmla="*/ 823 h 1303"/>
                <a:gd name="T54" fmla="*/ 718 w 1716"/>
                <a:gd name="T55" fmla="*/ 680 h 1303"/>
                <a:gd name="T56" fmla="*/ 858 w 1716"/>
                <a:gd name="T57" fmla="*/ 205 h 1303"/>
                <a:gd name="T58" fmla="*/ 998 w 1716"/>
                <a:gd name="T59" fmla="*/ 680 h 1303"/>
                <a:gd name="T60" fmla="*/ 858 w 1716"/>
                <a:gd name="T61" fmla="*/ 823 h 1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16" h="1303">
                  <a:moveTo>
                    <a:pt x="1077" y="0"/>
                  </a:moveTo>
                  <a:lnTo>
                    <a:pt x="923" y="0"/>
                  </a:lnTo>
                  <a:lnTo>
                    <a:pt x="793" y="0"/>
                  </a:lnTo>
                  <a:lnTo>
                    <a:pt x="639" y="0"/>
                  </a:lnTo>
                  <a:cubicBezTo>
                    <a:pt x="286" y="0"/>
                    <a:pt x="0" y="287"/>
                    <a:pt x="0" y="639"/>
                  </a:cubicBezTo>
                  <a:lnTo>
                    <a:pt x="0" y="1209"/>
                  </a:lnTo>
                  <a:cubicBezTo>
                    <a:pt x="0" y="1261"/>
                    <a:pt x="42" y="1303"/>
                    <a:pt x="93" y="1303"/>
                  </a:cubicBezTo>
                  <a:cubicBezTo>
                    <a:pt x="145" y="1303"/>
                    <a:pt x="187" y="1261"/>
                    <a:pt x="187" y="1209"/>
                  </a:cubicBezTo>
                  <a:lnTo>
                    <a:pt x="187" y="639"/>
                  </a:lnTo>
                  <a:cubicBezTo>
                    <a:pt x="187" y="390"/>
                    <a:pt x="390" y="188"/>
                    <a:pt x="639" y="188"/>
                  </a:cubicBezTo>
                  <a:lnTo>
                    <a:pt x="668" y="188"/>
                  </a:lnTo>
                  <a:lnTo>
                    <a:pt x="523" y="679"/>
                  </a:lnTo>
                  <a:cubicBezTo>
                    <a:pt x="513" y="712"/>
                    <a:pt x="522" y="747"/>
                    <a:pt x="546" y="771"/>
                  </a:cubicBezTo>
                  <a:lnTo>
                    <a:pt x="791" y="1022"/>
                  </a:lnTo>
                  <a:cubicBezTo>
                    <a:pt x="809" y="1041"/>
                    <a:pt x="833" y="1051"/>
                    <a:pt x="858" y="1051"/>
                  </a:cubicBezTo>
                  <a:cubicBezTo>
                    <a:pt x="883" y="1051"/>
                    <a:pt x="907" y="1041"/>
                    <a:pt x="925" y="1022"/>
                  </a:cubicBezTo>
                  <a:lnTo>
                    <a:pt x="1170" y="771"/>
                  </a:lnTo>
                  <a:cubicBezTo>
                    <a:pt x="1194" y="747"/>
                    <a:pt x="1203" y="712"/>
                    <a:pt x="1193" y="679"/>
                  </a:cubicBezTo>
                  <a:lnTo>
                    <a:pt x="1048" y="188"/>
                  </a:lnTo>
                  <a:lnTo>
                    <a:pt x="1077" y="188"/>
                  </a:lnTo>
                  <a:cubicBezTo>
                    <a:pt x="1326" y="188"/>
                    <a:pt x="1529" y="390"/>
                    <a:pt x="1529" y="639"/>
                  </a:cubicBezTo>
                  <a:lnTo>
                    <a:pt x="1529" y="1209"/>
                  </a:lnTo>
                  <a:cubicBezTo>
                    <a:pt x="1529" y="1261"/>
                    <a:pt x="1571" y="1303"/>
                    <a:pt x="1623" y="1303"/>
                  </a:cubicBezTo>
                  <a:cubicBezTo>
                    <a:pt x="1674" y="1303"/>
                    <a:pt x="1716" y="1261"/>
                    <a:pt x="1716" y="1209"/>
                  </a:cubicBezTo>
                  <a:lnTo>
                    <a:pt x="1716" y="639"/>
                  </a:lnTo>
                  <a:cubicBezTo>
                    <a:pt x="1716" y="287"/>
                    <a:pt x="1430" y="0"/>
                    <a:pt x="1077" y="0"/>
                  </a:cubicBezTo>
                  <a:close/>
                  <a:moveTo>
                    <a:pt x="858" y="823"/>
                  </a:moveTo>
                  <a:lnTo>
                    <a:pt x="718" y="680"/>
                  </a:lnTo>
                  <a:lnTo>
                    <a:pt x="858" y="205"/>
                  </a:lnTo>
                  <a:lnTo>
                    <a:pt x="998" y="680"/>
                  </a:lnTo>
                  <a:lnTo>
                    <a:pt x="858" y="82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17">
              <a:extLst>
                <a:ext uri="{FF2B5EF4-FFF2-40B4-BE49-F238E27FC236}">
                  <a16:creationId xmlns:a16="http://schemas.microsoft.com/office/drawing/2014/main" id="{B10B48C2-2D42-4BCA-A933-3F5BA312B1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5" y="3311"/>
              <a:ext cx="154" cy="185"/>
            </a:xfrm>
            <a:custGeom>
              <a:avLst/>
              <a:gdLst>
                <a:gd name="T0" fmla="*/ 741 w 1432"/>
                <a:gd name="T1" fmla="*/ 188 h 1733"/>
                <a:gd name="T2" fmla="*/ 780 w 1432"/>
                <a:gd name="T3" fmla="*/ 192 h 1733"/>
                <a:gd name="T4" fmla="*/ 812 w 1432"/>
                <a:gd name="T5" fmla="*/ 197 h 1733"/>
                <a:gd name="T6" fmla="*/ 958 w 1432"/>
                <a:gd name="T7" fmla="*/ 247 h 1733"/>
                <a:gd name="T8" fmla="*/ 985 w 1432"/>
                <a:gd name="T9" fmla="*/ 261 h 1733"/>
                <a:gd name="T10" fmla="*/ 1015 w 1432"/>
                <a:gd name="T11" fmla="*/ 281 h 1733"/>
                <a:gd name="T12" fmla="*/ 1049 w 1432"/>
                <a:gd name="T13" fmla="*/ 307 h 1733"/>
                <a:gd name="T14" fmla="*/ 1076 w 1432"/>
                <a:gd name="T15" fmla="*/ 330 h 1733"/>
                <a:gd name="T16" fmla="*/ 1105 w 1432"/>
                <a:gd name="T17" fmla="*/ 359 h 1733"/>
                <a:gd name="T18" fmla="*/ 1130 w 1432"/>
                <a:gd name="T19" fmla="*/ 388 h 1733"/>
                <a:gd name="T20" fmla="*/ 1160 w 1432"/>
                <a:gd name="T21" fmla="*/ 430 h 1733"/>
                <a:gd name="T22" fmla="*/ 1183 w 1432"/>
                <a:gd name="T23" fmla="*/ 468 h 1733"/>
                <a:gd name="T24" fmla="*/ 1199 w 1432"/>
                <a:gd name="T25" fmla="*/ 501 h 1733"/>
                <a:gd name="T26" fmla="*/ 1216 w 1432"/>
                <a:gd name="T27" fmla="*/ 545 h 1733"/>
                <a:gd name="T28" fmla="*/ 1226 w 1432"/>
                <a:gd name="T29" fmla="*/ 578 h 1733"/>
                <a:gd name="T30" fmla="*/ 1237 w 1432"/>
                <a:gd name="T31" fmla="*/ 626 h 1733"/>
                <a:gd name="T32" fmla="*/ 1242 w 1432"/>
                <a:gd name="T33" fmla="*/ 660 h 1733"/>
                <a:gd name="T34" fmla="*/ 1245 w 1432"/>
                <a:gd name="T35" fmla="*/ 717 h 1733"/>
                <a:gd name="T36" fmla="*/ 952 w 1432"/>
                <a:gd name="T37" fmla="*/ 498 h 1733"/>
                <a:gd name="T38" fmla="*/ 187 w 1432"/>
                <a:gd name="T39" fmla="*/ 710 h 1733"/>
                <a:gd name="T40" fmla="*/ 189 w 1432"/>
                <a:gd name="T41" fmla="*/ 678 h 1733"/>
                <a:gd name="T42" fmla="*/ 249 w 1432"/>
                <a:gd name="T43" fmla="*/ 468 h 1733"/>
                <a:gd name="T44" fmla="*/ 35 w 1432"/>
                <a:gd name="T45" fmla="*/ 496 h 1733"/>
                <a:gd name="T46" fmla="*/ 5 w 1432"/>
                <a:gd name="T47" fmla="*/ 629 h 1733"/>
                <a:gd name="T48" fmla="*/ 0 w 1432"/>
                <a:gd name="T49" fmla="*/ 717 h 1733"/>
                <a:gd name="T50" fmla="*/ 716 w 1432"/>
                <a:gd name="T51" fmla="*/ 1733 h 1733"/>
                <a:gd name="T52" fmla="*/ 1432 w 1432"/>
                <a:gd name="T53" fmla="*/ 717 h 1733"/>
                <a:gd name="T54" fmla="*/ 1428 w 1432"/>
                <a:gd name="T55" fmla="*/ 641 h 1733"/>
                <a:gd name="T56" fmla="*/ 1422 w 1432"/>
                <a:gd name="T57" fmla="*/ 594 h 1733"/>
                <a:gd name="T58" fmla="*/ 1407 w 1432"/>
                <a:gd name="T59" fmla="*/ 530 h 1733"/>
                <a:gd name="T60" fmla="*/ 1393 w 1432"/>
                <a:gd name="T61" fmla="*/ 483 h 1733"/>
                <a:gd name="T62" fmla="*/ 1371 w 1432"/>
                <a:gd name="T63" fmla="*/ 427 h 1733"/>
                <a:gd name="T64" fmla="*/ 1348 w 1432"/>
                <a:gd name="T65" fmla="*/ 380 h 1733"/>
                <a:gd name="T66" fmla="*/ 1323 w 1432"/>
                <a:gd name="T67" fmla="*/ 338 h 1733"/>
                <a:gd name="T68" fmla="*/ 1227 w 1432"/>
                <a:gd name="T69" fmla="*/ 216 h 1733"/>
                <a:gd name="T70" fmla="*/ 1193 w 1432"/>
                <a:gd name="T71" fmla="*/ 183 h 1733"/>
                <a:gd name="T72" fmla="*/ 1172 w 1432"/>
                <a:gd name="T73" fmla="*/ 165 h 1733"/>
                <a:gd name="T74" fmla="*/ 1142 w 1432"/>
                <a:gd name="T75" fmla="*/ 141 h 1733"/>
                <a:gd name="T76" fmla="*/ 1094 w 1432"/>
                <a:gd name="T77" fmla="*/ 109 h 1733"/>
                <a:gd name="T78" fmla="*/ 1053 w 1432"/>
                <a:gd name="T79" fmla="*/ 85 h 1733"/>
                <a:gd name="T80" fmla="*/ 904 w 1432"/>
                <a:gd name="T81" fmla="*/ 26 h 1733"/>
                <a:gd name="T82" fmla="*/ 847 w 1432"/>
                <a:gd name="T83" fmla="*/ 13 h 1733"/>
                <a:gd name="T84" fmla="*/ 802 w 1432"/>
                <a:gd name="T85" fmla="*/ 6 h 1733"/>
                <a:gd name="T86" fmla="*/ 750 w 1432"/>
                <a:gd name="T87" fmla="*/ 1 h 1733"/>
                <a:gd name="T88" fmla="*/ 348 w 1432"/>
                <a:gd name="T89" fmla="*/ 206 h 1733"/>
                <a:gd name="T90" fmla="*/ 187 w 1432"/>
                <a:gd name="T91" fmla="*/ 1017 h 1733"/>
                <a:gd name="T92" fmla="*/ 935 w 1432"/>
                <a:gd name="T93" fmla="*/ 731 h 1733"/>
                <a:gd name="T94" fmla="*/ 716 w 1432"/>
                <a:gd name="T95" fmla="*/ 1545 h 1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32" h="1733">
                  <a:moveTo>
                    <a:pt x="474" y="246"/>
                  </a:moveTo>
                  <a:cubicBezTo>
                    <a:pt x="549" y="207"/>
                    <a:pt x="631" y="188"/>
                    <a:pt x="716" y="188"/>
                  </a:cubicBezTo>
                  <a:cubicBezTo>
                    <a:pt x="724" y="188"/>
                    <a:pt x="733" y="188"/>
                    <a:pt x="741" y="188"/>
                  </a:cubicBezTo>
                  <a:cubicBezTo>
                    <a:pt x="745" y="189"/>
                    <a:pt x="748" y="189"/>
                    <a:pt x="752" y="189"/>
                  </a:cubicBezTo>
                  <a:cubicBezTo>
                    <a:pt x="756" y="189"/>
                    <a:pt x="761" y="190"/>
                    <a:pt x="766" y="190"/>
                  </a:cubicBezTo>
                  <a:cubicBezTo>
                    <a:pt x="770" y="191"/>
                    <a:pt x="775" y="191"/>
                    <a:pt x="780" y="192"/>
                  </a:cubicBezTo>
                  <a:cubicBezTo>
                    <a:pt x="783" y="192"/>
                    <a:pt x="786" y="193"/>
                    <a:pt x="789" y="193"/>
                  </a:cubicBezTo>
                  <a:cubicBezTo>
                    <a:pt x="795" y="194"/>
                    <a:pt x="800" y="195"/>
                    <a:pt x="805" y="196"/>
                  </a:cubicBezTo>
                  <a:cubicBezTo>
                    <a:pt x="808" y="196"/>
                    <a:pt x="810" y="196"/>
                    <a:pt x="812" y="197"/>
                  </a:cubicBezTo>
                  <a:cubicBezTo>
                    <a:pt x="818" y="198"/>
                    <a:pt x="824" y="199"/>
                    <a:pt x="830" y="200"/>
                  </a:cubicBezTo>
                  <a:cubicBezTo>
                    <a:pt x="831" y="201"/>
                    <a:pt x="832" y="201"/>
                    <a:pt x="833" y="201"/>
                  </a:cubicBezTo>
                  <a:cubicBezTo>
                    <a:pt x="877" y="211"/>
                    <a:pt x="919" y="226"/>
                    <a:pt x="958" y="247"/>
                  </a:cubicBezTo>
                  <a:cubicBezTo>
                    <a:pt x="960" y="248"/>
                    <a:pt x="961" y="248"/>
                    <a:pt x="962" y="249"/>
                  </a:cubicBezTo>
                  <a:cubicBezTo>
                    <a:pt x="967" y="252"/>
                    <a:pt x="972" y="254"/>
                    <a:pt x="977" y="257"/>
                  </a:cubicBezTo>
                  <a:cubicBezTo>
                    <a:pt x="979" y="258"/>
                    <a:pt x="982" y="260"/>
                    <a:pt x="985" y="261"/>
                  </a:cubicBezTo>
                  <a:cubicBezTo>
                    <a:pt x="988" y="264"/>
                    <a:pt x="992" y="266"/>
                    <a:pt x="996" y="268"/>
                  </a:cubicBezTo>
                  <a:cubicBezTo>
                    <a:pt x="1000" y="271"/>
                    <a:pt x="1003" y="273"/>
                    <a:pt x="1006" y="275"/>
                  </a:cubicBezTo>
                  <a:cubicBezTo>
                    <a:pt x="1009" y="277"/>
                    <a:pt x="1012" y="279"/>
                    <a:pt x="1015" y="281"/>
                  </a:cubicBezTo>
                  <a:cubicBezTo>
                    <a:pt x="1020" y="284"/>
                    <a:pt x="1024" y="287"/>
                    <a:pt x="1028" y="290"/>
                  </a:cubicBezTo>
                  <a:cubicBezTo>
                    <a:pt x="1030" y="292"/>
                    <a:pt x="1032" y="293"/>
                    <a:pt x="1035" y="295"/>
                  </a:cubicBezTo>
                  <a:cubicBezTo>
                    <a:pt x="1040" y="299"/>
                    <a:pt x="1045" y="303"/>
                    <a:pt x="1049" y="307"/>
                  </a:cubicBezTo>
                  <a:cubicBezTo>
                    <a:pt x="1051" y="308"/>
                    <a:pt x="1052" y="309"/>
                    <a:pt x="1053" y="310"/>
                  </a:cubicBezTo>
                  <a:cubicBezTo>
                    <a:pt x="1057" y="313"/>
                    <a:pt x="1061" y="317"/>
                    <a:pt x="1065" y="320"/>
                  </a:cubicBezTo>
                  <a:cubicBezTo>
                    <a:pt x="1069" y="323"/>
                    <a:pt x="1073" y="327"/>
                    <a:pt x="1076" y="330"/>
                  </a:cubicBezTo>
                  <a:cubicBezTo>
                    <a:pt x="1079" y="333"/>
                    <a:pt x="1083" y="336"/>
                    <a:pt x="1086" y="339"/>
                  </a:cubicBezTo>
                  <a:cubicBezTo>
                    <a:pt x="1089" y="342"/>
                    <a:pt x="1092" y="345"/>
                    <a:pt x="1095" y="349"/>
                  </a:cubicBezTo>
                  <a:cubicBezTo>
                    <a:pt x="1098" y="352"/>
                    <a:pt x="1102" y="355"/>
                    <a:pt x="1105" y="359"/>
                  </a:cubicBezTo>
                  <a:cubicBezTo>
                    <a:pt x="1108" y="362"/>
                    <a:pt x="1110" y="365"/>
                    <a:pt x="1113" y="368"/>
                  </a:cubicBezTo>
                  <a:cubicBezTo>
                    <a:pt x="1116" y="372"/>
                    <a:pt x="1120" y="375"/>
                    <a:pt x="1123" y="379"/>
                  </a:cubicBezTo>
                  <a:cubicBezTo>
                    <a:pt x="1125" y="382"/>
                    <a:pt x="1128" y="385"/>
                    <a:pt x="1130" y="388"/>
                  </a:cubicBezTo>
                  <a:cubicBezTo>
                    <a:pt x="1133" y="392"/>
                    <a:pt x="1136" y="396"/>
                    <a:pt x="1139" y="400"/>
                  </a:cubicBezTo>
                  <a:cubicBezTo>
                    <a:pt x="1143" y="405"/>
                    <a:pt x="1146" y="409"/>
                    <a:pt x="1149" y="414"/>
                  </a:cubicBezTo>
                  <a:cubicBezTo>
                    <a:pt x="1153" y="419"/>
                    <a:pt x="1157" y="425"/>
                    <a:pt x="1160" y="430"/>
                  </a:cubicBezTo>
                  <a:cubicBezTo>
                    <a:pt x="1163" y="435"/>
                    <a:pt x="1166" y="439"/>
                    <a:pt x="1169" y="444"/>
                  </a:cubicBezTo>
                  <a:cubicBezTo>
                    <a:pt x="1171" y="447"/>
                    <a:pt x="1172" y="450"/>
                    <a:pt x="1174" y="453"/>
                  </a:cubicBezTo>
                  <a:cubicBezTo>
                    <a:pt x="1177" y="458"/>
                    <a:pt x="1180" y="463"/>
                    <a:pt x="1183" y="468"/>
                  </a:cubicBezTo>
                  <a:cubicBezTo>
                    <a:pt x="1184" y="471"/>
                    <a:pt x="1185" y="474"/>
                    <a:pt x="1187" y="477"/>
                  </a:cubicBezTo>
                  <a:cubicBezTo>
                    <a:pt x="1190" y="482"/>
                    <a:pt x="1192" y="487"/>
                    <a:pt x="1195" y="493"/>
                  </a:cubicBezTo>
                  <a:cubicBezTo>
                    <a:pt x="1196" y="495"/>
                    <a:pt x="1197" y="498"/>
                    <a:pt x="1199" y="501"/>
                  </a:cubicBezTo>
                  <a:cubicBezTo>
                    <a:pt x="1201" y="507"/>
                    <a:pt x="1204" y="513"/>
                    <a:pt x="1206" y="518"/>
                  </a:cubicBezTo>
                  <a:cubicBezTo>
                    <a:pt x="1207" y="521"/>
                    <a:pt x="1208" y="523"/>
                    <a:pt x="1209" y="526"/>
                  </a:cubicBezTo>
                  <a:cubicBezTo>
                    <a:pt x="1211" y="532"/>
                    <a:pt x="1214" y="538"/>
                    <a:pt x="1216" y="545"/>
                  </a:cubicBezTo>
                  <a:cubicBezTo>
                    <a:pt x="1217" y="547"/>
                    <a:pt x="1217" y="549"/>
                    <a:pt x="1218" y="551"/>
                  </a:cubicBezTo>
                  <a:cubicBezTo>
                    <a:pt x="1220" y="558"/>
                    <a:pt x="1222" y="565"/>
                    <a:pt x="1224" y="572"/>
                  </a:cubicBezTo>
                  <a:cubicBezTo>
                    <a:pt x="1225" y="574"/>
                    <a:pt x="1226" y="576"/>
                    <a:pt x="1226" y="578"/>
                  </a:cubicBezTo>
                  <a:cubicBezTo>
                    <a:pt x="1228" y="585"/>
                    <a:pt x="1230" y="592"/>
                    <a:pt x="1231" y="599"/>
                  </a:cubicBezTo>
                  <a:cubicBezTo>
                    <a:pt x="1232" y="601"/>
                    <a:pt x="1232" y="603"/>
                    <a:pt x="1233" y="605"/>
                  </a:cubicBezTo>
                  <a:cubicBezTo>
                    <a:pt x="1234" y="612"/>
                    <a:pt x="1236" y="619"/>
                    <a:pt x="1237" y="626"/>
                  </a:cubicBezTo>
                  <a:cubicBezTo>
                    <a:pt x="1237" y="628"/>
                    <a:pt x="1238" y="630"/>
                    <a:pt x="1238" y="632"/>
                  </a:cubicBezTo>
                  <a:cubicBezTo>
                    <a:pt x="1239" y="639"/>
                    <a:pt x="1240" y="647"/>
                    <a:pt x="1241" y="654"/>
                  </a:cubicBezTo>
                  <a:cubicBezTo>
                    <a:pt x="1241" y="656"/>
                    <a:pt x="1241" y="658"/>
                    <a:pt x="1242" y="660"/>
                  </a:cubicBezTo>
                  <a:cubicBezTo>
                    <a:pt x="1242" y="668"/>
                    <a:pt x="1243" y="675"/>
                    <a:pt x="1243" y="682"/>
                  </a:cubicBezTo>
                  <a:cubicBezTo>
                    <a:pt x="1244" y="684"/>
                    <a:pt x="1244" y="686"/>
                    <a:pt x="1244" y="688"/>
                  </a:cubicBezTo>
                  <a:cubicBezTo>
                    <a:pt x="1244" y="698"/>
                    <a:pt x="1245" y="707"/>
                    <a:pt x="1245" y="717"/>
                  </a:cubicBezTo>
                  <a:lnTo>
                    <a:pt x="1245" y="717"/>
                  </a:lnTo>
                  <a:cubicBezTo>
                    <a:pt x="1155" y="685"/>
                    <a:pt x="1077" y="623"/>
                    <a:pt x="1023" y="541"/>
                  </a:cubicBezTo>
                  <a:cubicBezTo>
                    <a:pt x="1008" y="516"/>
                    <a:pt x="981" y="501"/>
                    <a:pt x="952" y="498"/>
                  </a:cubicBezTo>
                  <a:cubicBezTo>
                    <a:pt x="923" y="496"/>
                    <a:pt x="895" y="507"/>
                    <a:pt x="875" y="529"/>
                  </a:cubicBezTo>
                  <a:cubicBezTo>
                    <a:pt x="752" y="665"/>
                    <a:pt x="576" y="743"/>
                    <a:pt x="393" y="743"/>
                  </a:cubicBezTo>
                  <a:cubicBezTo>
                    <a:pt x="322" y="743"/>
                    <a:pt x="253" y="732"/>
                    <a:pt x="187" y="710"/>
                  </a:cubicBezTo>
                  <a:cubicBezTo>
                    <a:pt x="187" y="709"/>
                    <a:pt x="187" y="708"/>
                    <a:pt x="187" y="706"/>
                  </a:cubicBezTo>
                  <a:cubicBezTo>
                    <a:pt x="188" y="697"/>
                    <a:pt x="188" y="689"/>
                    <a:pt x="189" y="680"/>
                  </a:cubicBezTo>
                  <a:cubicBezTo>
                    <a:pt x="189" y="679"/>
                    <a:pt x="189" y="679"/>
                    <a:pt x="189" y="678"/>
                  </a:cubicBezTo>
                  <a:cubicBezTo>
                    <a:pt x="189" y="668"/>
                    <a:pt x="190" y="658"/>
                    <a:pt x="192" y="648"/>
                  </a:cubicBezTo>
                  <a:cubicBezTo>
                    <a:pt x="192" y="647"/>
                    <a:pt x="192" y="647"/>
                    <a:pt x="192" y="646"/>
                  </a:cubicBezTo>
                  <a:cubicBezTo>
                    <a:pt x="200" y="584"/>
                    <a:pt x="220" y="524"/>
                    <a:pt x="249" y="468"/>
                  </a:cubicBezTo>
                  <a:cubicBezTo>
                    <a:pt x="273" y="423"/>
                    <a:pt x="256" y="366"/>
                    <a:pt x="210" y="342"/>
                  </a:cubicBezTo>
                  <a:cubicBezTo>
                    <a:pt x="165" y="317"/>
                    <a:pt x="108" y="335"/>
                    <a:pt x="83" y="380"/>
                  </a:cubicBezTo>
                  <a:cubicBezTo>
                    <a:pt x="64" y="417"/>
                    <a:pt x="48" y="456"/>
                    <a:pt x="35" y="496"/>
                  </a:cubicBezTo>
                  <a:cubicBezTo>
                    <a:pt x="34" y="497"/>
                    <a:pt x="33" y="499"/>
                    <a:pt x="33" y="501"/>
                  </a:cubicBezTo>
                  <a:cubicBezTo>
                    <a:pt x="20" y="543"/>
                    <a:pt x="10" y="585"/>
                    <a:pt x="5" y="629"/>
                  </a:cubicBezTo>
                  <a:cubicBezTo>
                    <a:pt x="5" y="629"/>
                    <a:pt x="5" y="629"/>
                    <a:pt x="5" y="629"/>
                  </a:cubicBezTo>
                  <a:cubicBezTo>
                    <a:pt x="3" y="643"/>
                    <a:pt x="2" y="656"/>
                    <a:pt x="1" y="670"/>
                  </a:cubicBezTo>
                  <a:cubicBezTo>
                    <a:pt x="1" y="672"/>
                    <a:pt x="1" y="674"/>
                    <a:pt x="1" y="677"/>
                  </a:cubicBezTo>
                  <a:cubicBezTo>
                    <a:pt x="0" y="690"/>
                    <a:pt x="0" y="703"/>
                    <a:pt x="0" y="717"/>
                  </a:cubicBezTo>
                  <a:lnTo>
                    <a:pt x="0" y="774"/>
                  </a:lnTo>
                  <a:lnTo>
                    <a:pt x="0" y="1017"/>
                  </a:lnTo>
                  <a:cubicBezTo>
                    <a:pt x="0" y="1412"/>
                    <a:pt x="321" y="1733"/>
                    <a:pt x="716" y="1733"/>
                  </a:cubicBezTo>
                  <a:cubicBezTo>
                    <a:pt x="1111" y="1733"/>
                    <a:pt x="1432" y="1412"/>
                    <a:pt x="1432" y="1017"/>
                  </a:cubicBezTo>
                  <a:lnTo>
                    <a:pt x="1432" y="834"/>
                  </a:lnTo>
                  <a:lnTo>
                    <a:pt x="1432" y="717"/>
                  </a:lnTo>
                  <a:cubicBezTo>
                    <a:pt x="1432" y="704"/>
                    <a:pt x="1432" y="691"/>
                    <a:pt x="1431" y="679"/>
                  </a:cubicBezTo>
                  <a:cubicBezTo>
                    <a:pt x="1431" y="676"/>
                    <a:pt x="1431" y="673"/>
                    <a:pt x="1431" y="670"/>
                  </a:cubicBezTo>
                  <a:cubicBezTo>
                    <a:pt x="1430" y="660"/>
                    <a:pt x="1429" y="650"/>
                    <a:pt x="1428" y="641"/>
                  </a:cubicBezTo>
                  <a:cubicBezTo>
                    <a:pt x="1428" y="638"/>
                    <a:pt x="1427" y="635"/>
                    <a:pt x="1427" y="632"/>
                  </a:cubicBezTo>
                  <a:cubicBezTo>
                    <a:pt x="1426" y="622"/>
                    <a:pt x="1425" y="613"/>
                    <a:pt x="1423" y="603"/>
                  </a:cubicBezTo>
                  <a:cubicBezTo>
                    <a:pt x="1423" y="600"/>
                    <a:pt x="1422" y="597"/>
                    <a:pt x="1422" y="594"/>
                  </a:cubicBezTo>
                  <a:cubicBezTo>
                    <a:pt x="1420" y="585"/>
                    <a:pt x="1418" y="575"/>
                    <a:pt x="1416" y="566"/>
                  </a:cubicBezTo>
                  <a:cubicBezTo>
                    <a:pt x="1416" y="563"/>
                    <a:pt x="1415" y="560"/>
                    <a:pt x="1414" y="557"/>
                  </a:cubicBezTo>
                  <a:cubicBezTo>
                    <a:pt x="1412" y="548"/>
                    <a:pt x="1410" y="539"/>
                    <a:pt x="1407" y="530"/>
                  </a:cubicBezTo>
                  <a:cubicBezTo>
                    <a:pt x="1407" y="527"/>
                    <a:pt x="1405" y="523"/>
                    <a:pt x="1405" y="520"/>
                  </a:cubicBezTo>
                  <a:cubicBezTo>
                    <a:pt x="1402" y="511"/>
                    <a:pt x="1400" y="503"/>
                    <a:pt x="1397" y="495"/>
                  </a:cubicBezTo>
                  <a:cubicBezTo>
                    <a:pt x="1396" y="491"/>
                    <a:pt x="1394" y="487"/>
                    <a:pt x="1393" y="483"/>
                  </a:cubicBezTo>
                  <a:cubicBezTo>
                    <a:pt x="1390" y="476"/>
                    <a:pt x="1388" y="468"/>
                    <a:pt x="1385" y="460"/>
                  </a:cubicBezTo>
                  <a:cubicBezTo>
                    <a:pt x="1383" y="456"/>
                    <a:pt x="1381" y="452"/>
                    <a:pt x="1380" y="448"/>
                  </a:cubicBezTo>
                  <a:cubicBezTo>
                    <a:pt x="1377" y="441"/>
                    <a:pt x="1374" y="434"/>
                    <a:pt x="1371" y="427"/>
                  </a:cubicBezTo>
                  <a:cubicBezTo>
                    <a:pt x="1369" y="423"/>
                    <a:pt x="1367" y="418"/>
                    <a:pt x="1365" y="413"/>
                  </a:cubicBezTo>
                  <a:cubicBezTo>
                    <a:pt x="1362" y="407"/>
                    <a:pt x="1359" y="401"/>
                    <a:pt x="1356" y="395"/>
                  </a:cubicBezTo>
                  <a:cubicBezTo>
                    <a:pt x="1353" y="390"/>
                    <a:pt x="1351" y="385"/>
                    <a:pt x="1348" y="380"/>
                  </a:cubicBezTo>
                  <a:cubicBezTo>
                    <a:pt x="1345" y="375"/>
                    <a:pt x="1342" y="370"/>
                    <a:pt x="1340" y="365"/>
                  </a:cubicBezTo>
                  <a:cubicBezTo>
                    <a:pt x="1336" y="359"/>
                    <a:pt x="1333" y="353"/>
                    <a:pt x="1329" y="347"/>
                  </a:cubicBezTo>
                  <a:cubicBezTo>
                    <a:pt x="1327" y="344"/>
                    <a:pt x="1325" y="341"/>
                    <a:pt x="1323" y="338"/>
                  </a:cubicBezTo>
                  <a:cubicBezTo>
                    <a:pt x="1302" y="303"/>
                    <a:pt x="1277" y="270"/>
                    <a:pt x="1249" y="239"/>
                  </a:cubicBezTo>
                  <a:cubicBezTo>
                    <a:pt x="1248" y="237"/>
                    <a:pt x="1246" y="236"/>
                    <a:pt x="1245" y="235"/>
                  </a:cubicBezTo>
                  <a:cubicBezTo>
                    <a:pt x="1239" y="228"/>
                    <a:pt x="1233" y="222"/>
                    <a:pt x="1227" y="216"/>
                  </a:cubicBezTo>
                  <a:cubicBezTo>
                    <a:pt x="1225" y="213"/>
                    <a:pt x="1222" y="211"/>
                    <a:pt x="1220" y="208"/>
                  </a:cubicBezTo>
                  <a:cubicBezTo>
                    <a:pt x="1214" y="203"/>
                    <a:pt x="1209" y="197"/>
                    <a:pt x="1203" y="192"/>
                  </a:cubicBezTo>
                  <a:cubicBezTo>
                    <a:pt x="1199" y="189"/>
                    <a:pt x="1196" y="186"/>
                    <a:pt x="1193" y="183"/>
                  </a:cubicBezTo>
                  <a:cubicBezTo>
                    <a:pt x="1190" y="180"/>
                    <a:pt x="1188" y="178"/>
                    <a:pt x="1185" y="175"/>
                  </a:cubicBezTo>
                  <a:cubicBezTo>
                    <a:pt x="1184" y="175"/>
                    <a:pt x="1183" y="174"/>
                    <a:pt x="1182" y="173"/>
                  </a:cubicBezTo>
                  <a:cubicBezTo>
                    <a:pt x="1179" y="170"/>
                    <a:pt x="1175" y="168"/>
                    <a:pt x="1172" y="165"/>
                  </a:cubicBezTo>
                  <a:lnTo>
                    <a:pt x="1170" y="163"/>
                  </a:lnTo>
                  <a:cubicBezTo>
                    <a:pt x="1162" y="157"/>
                    <a:pt x="1155" y="151"/>
                    <a:pt x="1147" y="145"/>
                  </a:cubicBezTo>
                  <a:cubicBezTo>
                    <a:pt x="1145" y="143"/>
                    <a:pt x="1143" y="142"/>
                    <a:pt x="1142" y="141"/>
                  </a:cubicBezTo>
                  <a:cubicBezTo>
                    <a:pt x="1135" y="136"/>
                    <a:pt x="1128" y="131"/>
                    <a:pt x="1121" y="126"/>
                  </a:cubicBezTo>
                  <a:cubicBezTo>
                    <a:pt x="1118" y="124"/>
                    <a:pt x="1115" y="122"/>
                    <a:pt x="1112" y="120"/>
                  </a:cubicBezTo>
                  <a:cubicBezTo>
                    <a:pt x="1106" y="116"/>
                    <a:pt x="1100" y="113"/>
                    <a:pt x="1094" y="109"/>
                  </a:cubicBezTo>
                  <a:cubicBezTo>
                    <a:pt x="1090" y="106"/>
                    <a:pt x="1087" y="104"/>
                    <a:pt x="1083" y="102"/>
                  </a:cubicBezTo>
                  <a:cubicBezTo>
                    <a:pt x="1078" y="99"/>
                    <a:pt x="1073" y="96"/>
                    <a:pt x="1068" y="93"/>
                  </a:cubicBezTo>
                  <a:cubicBezTo>
                    <a:pt x="1063" y="90"/>
                    <a:pt x="1058" y="87"/>
                    <a:pt x="1053" y="85"/>
                  </a:cubicBezTo>
                  <a:cubicBezTo>
                    <a:pt x="1050" y="83"/>
                    <a:pt x="1046" y="81"/>
                    <a:pt x="1043" y="80"/>
                  </a:cubicBezTo>
                  <a:cubicBezTo>
                    <a:pt x="1000" y="57"/>
                    <a:pt x="953" y="39"/>
                    <a:pt x="905" y="26"/>
                  </a:cubicBezTo>
                  <a:cubicBezTo>
                    <a:pt x="905" y="26"/>
                    <a:pt x="904" y="26"/>
                    <a:pt x="904" y="26"/>
                  </a:cubicBezTo>
                  <a:cubicBezTo>
                    <a:pt x="895" y="23"/>
                    <a:pt x="886" y="21"/>
                    <a:pt x="877" y="19"/>
                  </a:cubicBezTo>
                  <a:cubicBezTo>
                    <a:pt x="875" y="18"/>
                    <a:pt x="873" y="18"/>
                    <a:pt x="871" y="17"/>
                  </a:cubicBezTo>
                  <a:cubicBezTo>
                    <a:pt x="863" y="16"/>
                    <a:pt x="855" y="14"/>
                    <a:pt x="847" y="13"/>
                  </a:cubicBezTo>
                  <a:cubicBezTo>
                    <a:pt x="844" y="12"/>
                    <a:pt x="841" y="11"/>
                    <a:pt x="837" y="11"/>
                  </a:cubicBezTo>
                  <a:cubicBezTo>
                    <a:pt x="830" y="10"/>
                    <a:pt x="823" y="8"/>
                    <a:pt x="816" y="7"/>
                  </a:cubicBezTo>
                  <a:cubicBezTo>
                    <a:pt x="811" y="7"/>
                    <a:pt x="807" y="6"/>
                    <a:pt x="802" y="6"/>
                  </a:cubicBezTo>
                  <a:cubicBezTo>
                    <a:pt x="796" y="5"/>
                    <a:pt x="790" y="4"/>
                    <a:pt x="783" y="4"/>
                  </a:cubicBezTo>
                  <a:cubicBezTo>
                    <a:pt x="777" y="3"/>
                    <a:pt x="771" y="3"/>
                    <a:pt x="765" y="2"/>
                  </a:cubicBezTo>
                  <a:cubicBezTo>
                    <a:pt x="760" y="2"/>
                    <a:pt x="755" y="1"/>
                    <a:pt x="750" y="1"/>
                  </a:cubicBezTo>
                  <a:cubicBezTo>
                    <a:pt x="739" y="1"/>
                    <a:pt x="727" y="0"/>
                    <a:pt x="716" y="0"/>
                  </a:cubicBezTo>
                  <a:cubicBezTo>
                    <a:pt x="602" y="0"/>
                    <a:pt x="489" y="28"/>
                    <a:pt x="388" y="80"/>
                  </a:cubicBezTo>
                  <a:cubicBezTo>
                    <a:pt x="342" y="103"/>
                    <a:pt x="324" y="160"/>
                    <a:pt x="348" y="206"/>
                  </a:cubicBezTo>
                  <a:cubicBezTo>
                    <a:pt x="372" y="252"/>
                    <a:pt x="428" y="270"/>
                    <a:pt x="474" y="246"/>
                  </a:cubicBezTo>
                  <a:close/>
                  <a:moveTo>
                    <a:pt x="716" y="1545"/>
                  </a:moveTo>
                  <a:cubicBezTo>
                    <a:pt x="424" y="1545"/>
                    <a:pt x="187" y="1308"/>
                    <a:pt x="187" y="1017"/>
                  </a:cubicBezTo>
                  <a:lnTo>
                    <a:pt x="187" y="905"/>
                  </a:lnTo>
                  <a:cubicBezTo>
                    <a:pt x="254" y="922"/>
                    <a:pt x="323" y="931"/>
                    <a:pt x="393" y="931"/>
                  </a:cubicBezTo>
                  <a:cubicBezTo>
                    <a:pt x="592" y="931"/>
                    <a:pt x="785" y="859"/>
                    <a:pt x="935" y="731"/>
                  </a:cubicBezTo>
                  <a:cubicBezTo>
                    <a:pt x="1019" y="821"/>
                    <a:pt x="1126" y="884"/>
                    <a:pt x="1245" y="913"/>
                  </a:cubicBezTo>
                  <a:lnTo>
                    <a:pt x="1245" y="1017"/>
                  </a:lnTo>
                  <a:cubicBezTo>
                    <a:pt x="1245" y="1308"/>
                    <a:pt x="1008" y="1545"/>
                    <a:pt x="716" y="15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18">
              <a:extLst>
                <a:ext uri="{FF2B5EF4-FFF2-40B4-BE49-F238E27FC236}">
                  <a16:creationId xmlns:a16="http://schemas.microsoft.com/office/drawing/2014/main" id="{776C826B-848D-42E5-8E3C-80B6219849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6" y="3316"/>
              <a:ext cx="197" cy="205"/>
            </a:xfrm>
            <a:custGeom>
              <a:avLst/>
              <a:gdLst>
                <a:gd name="T0" fmla="*/ 164 w 1840"/>
                <a:gd name="T1" fmla="*/ 1556 h 1910"/>
                <a:gd name="T2" fmla="*/ 499 w 1840"/>
                <a:gd name="T3" fmla="*/ 1537 h 1910"/>
                <a:gd name="T4" fmla="*/ 686 w 1840"/>
                <a:gd name="T5" fmla="*/ 1840 h 1910"/>
                <a:gd name="T6" fmla="*/ 1063 w 1840"/>
                <a:gd name="T7" fmla="*/ 1910 h 1910"/>
                <a:gd name="T8" fmla="*/ 1213 w 1840"/>
                <a:gd name="T9" fmla="*/ 1611 h 1910"/>
                <a:gd name="T10" fmla="*/ 1569 w 1840"/>
                <a:gd name="T11" fmla="*/ 1600 h 1910"/>
                <a:gd name="T12" fmla="*/ 1819 w 1840"/>
                <a:gd name="T13" fmla="*/ 1308 h 1910"/>
                <a:gd name="T14" fmla="*/ 1635 w 1840"/>
                <a:gd name="T15" fmla="*/ 1029 h 1910"/>
                <a:gd name="T16" fmla="*/ 1635 w 1840"/>
                <a:gd name="T17" fmla="*/ 881 h 1910"/>
                <a:gd name="T18" fmla="*/ 1819 w 1840"/>
                <a:gd name="T19" fmla="*/ 601 h 1910"/>
                <a:gd name="T20" fmla="*/ 1569 w 1840"/>
                <a:gd name="T21" fmla="*/ 310 h 1910"/>
                <a:gd name="T22" fmla="*/ 1213 w 1840"/>
                <a:gd name="T23" fmla="*/ 299 h 1910"/>
                <a:gd name="T24" fmla="*/ 1063 w 1840"/>
                <a:gd name="T25" fmla="*/ 0 h 1910"/>
                <a:gd name="T26" fmla="*/ 686 w 1840"/>
                <a:gd name="T27" fmla="*/ 70 h 1910"/>
                <a:gd name="T28" fmla="*/ 499 w 1840"/>
                <a:gd name="T29" fmla="*/ 373 h 1910"/>
                <a:gd name="T30" fmla="*/ 164 w 1840"/>
                <a:gd name="T31" fmla="*/ 353 h 1910"/>
                <a:gd name="T32" fmla="*/ 37 w 1840"/>
                <a:gd name="T33" fmla="*/ 715 h 1910"/>
                <a:gd name="T34" fmla="*/ 202 w 1840"/>
                <a:gd name="T35" fmla="*/ 955 h 1910"/>
                <a:gd name="T36" fmla="*/ 37 w 1840"/>
                <a:gd name="T37" fmla="*/ 1195 h 1910"/>
                <a:gd name="T38" fmla="*/ 397 w 1840"/>
                <a:gd name="T39" fmla="*/ 1046 h 1910"/>
                <a:gd name="T40" fmla="*/ 397 w 1840"/>
                <a:gd name="T41" fmla="*/ 863 h 1910"/>
                <a:gd name="T42" fmla="*/ 220 w 1840"/>
                <a:gd name="T43" fmla="*/ 632 h 1910"/>
                <a:gd name="T44" fmla="*/ 494 w 1840"/>
                <a:gd name="T45" fmla="*/ 566 h 1910"/>
                <a:gd name="T46" fmla="*/ 738 w 1840"/>
                <a:gd name="T47" fmla="*/ 456 h 1910"/>
                <a:gd name="T48" fmla="*/ 849 w 1840"/>
                <a:gd name="T49" fmla="*/ 187 h 1910"/>
                <a:gd name="T50" fmla="*/ 1044 w 1840"/>
                <a:gd name="T51" fmla="*/ 391 h 1910"/>
                <a:gd name="T52" fmla="*/ 1261 w 1840"/>
                <a:gd name="T53" fmla="*/ 548 h 1910"/>
                <a:gd name="T54" fmla="*/ 1549 w 1840"/>
                <a:gd name="T55" fmla="*/ 510 h 1910"/>
                <a:gd name="T56" fmla="*/ 1470 w 1840"/>
                <a:gd name="T57" fmla="*/ 780 h 1910"/>
                <a:gd name="T58" fmla="*/ 1451 w 1840"/>
                <a:gd name="T59" fmla="*/ 955 h 1910"/>
                <a:gd name="T60" fmla="*/ 1470 w 1840"/>
                <a:gd name="T61" fmla="*/ 1129 h 1910"/>
                <a:gd name="T62" fmla="*/ 1549 w 1840"/>
                <a:gd name="T63" fmla="*/ 1400 h 1910"/>
                <a:gd name="T64" fmla="*/ 1261 w 1840"/>
                <a:gd name="T65" fmla="*/ 1362 h 1910"/>
                <a:gd name="T66" fmla="*/ 1044 w 1840"/>
                <a:gd name="T67" fmla="*/ 1518 h 1910"/>
                <a:gd name="T68" fmla="*/ 849 w 1840"/>
                <a:gd name="T69" fmla="*/ 1722 h 1910"/>
                <a:gd name="T70" fmla="*/ 738 w 1840"/>
                <a:gd name="T71" fmla="*/ 1454 h 1910"/>
                <a:gd name="T72" fmla="*/ 494 w 1840"/>
                <a:gd name="T73" fmla="*/ 1344 h 1910"/>
                <a:gd name="T74" fmla="*/ 220 w 1840"/>
                <a:gd name="T75" fmla="*/ 1278 h 1910"/>
                <a:gd name="T76" fmla="*/ 397 w 1840"/>
                <a:gd name="T77" fmla="*/ 1046 h 1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40" h="1910">
                  <a:moveTo>
                    <a:pt x="21" y="1308"/>
                  </a:moveTo>
                  <a:lnTo>
                    <a:pt x="164" y="1556"/>
                  </a:lnTo>
                  <a:cubicBezTo>
                    <a:pt x="186" y="1593"/>
                    <a:pt x="229" y="1611"/>
                    <a:pt x="271" y="1600"/>
                  </a:cubicBezTo>
                  <a:lnTo>
                    <a:pt x="499" y="1537"/>
                  </a:lnTo>
                  <a:cubicBezTo>
                    <a:pt x="539" y="1566"/>
                    <a:pt x="582" y="1591"/>
                    <a:pt x="627" y="1611"/>
                  </a:cubicBezTo>
                  <a:lnTo>
                    <a:pt x="686" y="1840"/>
                  </a:lnTo>
                  <a:cubicBezTo>
                    <a:pt x="697" y="1881"/>
                    <a:pt x="734" y="1910"/>
                    <a:pt x="777" y="1910"/>
                  </a:cubicBezTo>
                  <a:lnTo>
                    <a:pt x="1063" y="1910"/>
                  </a:lnTo>
                  <a:cubicBezTo>
                    <a:pt x="1106" y="1910"/>
                    <a:pt x="1143" y="1881"/>
                    <a:pt x="1154" y="1840"/>
                  </a:cubicBezTo>
                  <a:lnTo>
                    <a:pt x="1213" y="1611"/>
                  </a:lnTo>
                  <a:cubicBezTo>
                    <a:pt x="1258" y="1591"/>
                    <a:pt x="1301" y="1566"/>
                    <a:pt x="1341" y="1537"/>
                  </a:cubicBezTo>
                  <a:lnTo>
                    <a:pt x="1569" y="1600"/>
                  </a:lnTo>
                  <a:cubicBezTo>
                    <a:pt x="1611" y="1611"/>
                    <a:pt x="1654" y="1593"/>
                    <a:pt x="1676" y="1556"/>
                  </a:cubicBezTo>
                  <a:lnTo>
                    <a:pt x="1819" y="1308"/>
                  </a:lnTo>
                  <a:cubicBezTo>
                    <a:pt x="1840" y="1271"/>
                    <a:pt x="1834" y="1225"/>
                    <a:pt x="1803" y="1195"/>
                  </a:cubicBezTo>
                  <a:lnTo>
                    <a:pt x="1635" y="1029"/>
                  </a:lnTo>
                  <a:cubicBezTo>
                    <a:pt x="1637" y="1004"/>
                    <a:pt x="1638" y="979"/>
                    <a:pt x="1638" y="955"/>
                  </a:cubicBezTo>
                  <a:cubicBezTo>
                    <a:pt x="1638" y="930"/>
                    <a:pt x="1637" y="906"/>
                    <a:pt x="1635" y="881"/>
                  </a:cubicBezTo>
                  <a:lnTo>
                    <a:pt x="1803" y="715"/>
                  </a:lnTo>
                  <a:cubicBezTo>
                    <a:pt x="1834" y="685"/>
                    <a:pt x="1840" y="638"/>
                    <a:pt x="1819" y="601"/>
                  </a:cubicBezTo>
                  <a:lnTo>
                    <a:pt x="1676" y="353"/>
                  </a:lnTo>
                  <a:cubicBezTo>
                    <a:pt x="1654" y="316"/>
                    <a:pt x="1611" y="298"/>
                    <a:pt x="1569" y="310"/>
                  </a:cubicBezTo>
                  <a:lnTo>
                    <a:pt x="1341" y="373"/>
                  </a:lnTo>
                  <a:cubicBezTo>
                    <a:pt x="1301" y="344"/>
                    <a:pt x="1258" y="319"/>
                    <a:pt x="1213" y="299"/>
                  </a:cubicBezTo>
                  <a:lnTo>
                    <a:pt x="1154" y="70"/>
                  </a:lnTo>
                  <a:cubicBezTo>
                    <a:pt x="1143" y="29"/>
                    <a:pt x="1106" y="0"/>
                    <a:pt x="1063" y="0"/>
                  </a:cubicBezTo>
                  <a:lnTo>
                    <a:pt x="777" y="0"/>
                  </a:lnTo>
                  <a:cubicBezTo>
                    <a:pt x="734" y="0"/>
                    <a:pt x="697" y="29"/>
                    <a:pt x="686" y="70"/>
                  </a:cubicBezTo>
                  <a:lnTo>
                    <a:pt x="627" y="299"/>
                  </a:lnTo>
                  <a:cubicBezTo>
                    <a:pt x="582" y="319"/>
                    <a:pt x="539" y="344"/>
                    <a:pt x="499" y="373"/>
                  </a:cubicBezTo>
                  <a:lnTo>
                    <a:pt x="271" y="310"/>
                  </a:lnTo>
                  <a:cubicBezTo>
                    <a:pt x="229" y="298"/>
                    <a:pt x="186" y="316"/>
                    <a:pt x="164" y="353"/>
                  </a:cubicBezTo>
                  <a:lnTo>
                    <a:pt x="21" y="601"/>
                  </a:lnTo>
                  <a:cubicBezTo>
                    <a:pt x="0" y="638"/>
                    <a:pt x="6" y="685"/>
                    <a:pt x="37" y="715"/>
                  </a:cubicBezTo>
                  <a:lnTo>
                    <a:pt x="205" y="881"/>
                  </a:lnTo>
                  <a:cubicBezTo>
                    <a:pt x="203" y="906"/>
                    <a:pt x="202" y="930"/>
                    <a:pt x="202" y="955"/>
                  </a:cubicBezTo>
                  <a:cubicBezTo>
                    <a:pt x="202" y="979"/>
                    <a:pt x="203" y="1004"/>
                    <a:pt x="205" y="1029"/>
                  </a:cubicBezTo>
                  <a:lnTo>
                    <a:pt x="37" y="1195"/>
                  </a:lnTo>
                  <a:cubicBezTo>
                    <a:pt x="6" y="1225"/>
                    <a:pt x="0" y="1271"/>
                    <a:pt x="21" y="1308"/>
                  </a:cubicBezTo>
                  <a:close/>
                  <a:moveTo>
                    <a:pt x="397" y="1046"/>
                  </a:moveTo>
                  <a:cubicBezTo>
                    <a:pt x="392" y="1016"/>
                    <a:pt x="389" y="985"/>
                    <a:pt x="389" y="955"/>
                  </a:cubicBezTo>
                  <a:cubicBezTo>
                    <a:pt x="389" y="925"/>
                    <a:pt x="392" y="894"/>
                    <a:pt x="397" y="863"/>
                  </a:cubicBezTo>
                  <a:cubicBezTo>
                    <a:pt x="402" y="833"/>
                    <a:pt x="392" y="802"/>
                    <a:pt x="370" y="780"/>
                  </a:cubicBezTo>
                  <a:lnTo>
                    <a:pt x="220" y="632"/>
                  </a:lnTo>
                  <a:lnTo>
                    <a:pt x="291" y="510"/>
                  </a:lnTo>
                  <a:lnTo>
                    <a:pt x="494" y="566"/>
                  </a:lnTo>
                  <a:cubicBezTo>
                    <a:pt x="524" y="574"/>
                    <a:pt x="556" y="567"/>
                    <a:pt x="579" y="548"/>
                  </a:cubicBezTo>
                  <a:cubicBezTo>
                    <a:pt x="627" y="508"/>
                    <a:pt x="680" y="477"/>
                    <a:pt x="738" y="456"/>
                  </a:cubicBezTo>
                  <a:cubicBezTo>
                    <a:pt x="767" y="445"/>
                    <a:pt x="789" y="421"/>
                    <a:pt x="796" y="391"/>
                  </a:cubicBezTo>
                  <a:lnTo>
                    <a:pt x="849" y="187"/>
                  </a:lnTo>
                  <a:lnTo>
                    <a:pt x="991" y="187"/>
                  </a:lnTo>
                  <a:lnTo>
                    <a:pt x="1044" y="391"/>
                  </a:lnTo>
                  <a:cubicBezTo>
                    <a:pt x="1051" y="421"/>
                    <a:pt x="1073" y="445"/>
                    <a:pt x="1102" y="456"/>
                  </a:cubicBezTo>
                  <a:cubicBezTo>
                    <a:pt x="1160" y="477"/>
                    <a:pt x="1213" y="508"/>
                    <a:pt x="1261" y="548"/>
                  </a:cubicBezTo>
                  <a:cubicBezTo>
                    <a:pt x="1284" y="567"/>
                    <a:pt x="1316" y="574"/>
                    <a:pt x="1346" y="566"/>
                  </a:cubicBezTo>
                  <a:lnTo>
                    <a:pt x="1549" y="510"/>
                  </a:lnTo>
                  <a:lnTo>
                    <a:pt x="1620" y="632"/>
                  </a:lnTo>
                  <a:lnTo>
                    <a:pt x="1470" y="780"/>
                  </a:lnTo>
                  <a:cubicBezTo>
                    <a:pt x="1448" y="802"/>
                    <a:pt x="1438" y="833"/>
                    <a:pt x="1443" y="863"/>
                  </a:cubicBezTo>
                  <a:cubicBezTo>
                    <a:pt x="1448" y="894"/>
                    <a:pt x="1451" y="925"/>
                    <a:pt x="1451" y="955"/>
                  </a:cubicBezTo>
                  <a:cubicBezTo>
                    <a:pt x="1451" y="985"/>
                    <a:pt x="1448" y="1016"/>
                    <a:pt x="1443" y="1046"/>
                  </a:cubicBezTo>
                  <a:cubicBezTo>
                    <a:pt x="1438" y="1077"/>
                    <a:pt x="1448" y="1108"/>
                    <a:pt x="1470" y="1129"/>
                  </a:cubicBezTo>
                  <a:lnTo>
                    <a:pt x="1620" y="1278"/>
                  </a:lnTo>
                  <a:lnTo>
                    <a:pt x="1549" y="1400"/>
                  </a:lnTo>
                  <a:lnTo>
                    <a:pt x="1346" y="1344"/>
                  </a:lnTo>
                  <a:cubicBezTo>
                    <a:pt x="1316" y="1335"/>
                    <a:pt x="1284" y="1342"/>
                    <a:pt x="1261" y="1362"/>
                  </a:cubicBezTo>
                  <a:cubicBezTo>
                    <a:pt x="1213" y="1402"/>
                    <a:pt x="1160" y="1433"/>
                    <a:pt x="1102" y="1454"/>
                  </a:cubicBezTo>
                  <a:cubicBezTo>
                    <a:pt x="1073" y="1464"/>
                    <a:pt x="1051" y="1488"/>
                    <a:pt x="1044" y="1518"/>
                  </a:cubicBezTo>
                  <a:lnTo>
                    <a:pt x="991" y="1722"/>
                  </a:lnTo>
                  <a:lnTo>
                    <a:pt x="849" y="1722"/>
                  </a:lnTo>
                  <a:lnTo>
                    <a:pt x="796" y="1518"/>
                  </a:lnTo>
                  <a:cubicBezTo>
                    <a:pt x="789" y="1488"/>
                    <a:pt x="767" y="1464"/>
                    <a:pt x="738" y="1454"/>
                  </a:cubicBezTo>
                  <a:cubicBezTo>
                    <a:pt x="680" y="1433"/>
                    <a:pt x="627" y="1402"/>
                    <a:pt x="579" y="1362"/>
                  </a:cubicBezTo>
                  <a:cubicBezTo>
                    <a:pt x="556" y="1342"/>
                    <a:pt x="524" y="1335"/>
                    <a:pt x="494" y="1344"/>
                  </a:cubicBezTo>
                  <a:lnTo>
                    <a:pt x="291" y="1400"/>
                  </a:lnTo>
                  <a:lnTo>
                    <a:pt x="220" y="1278"/>
                  </a:lnTo>
                  <a:lnTo>
                    <a:pt x="370" y="1129"/>
                  </a:lnTo>
                  <a:cubicBezTo>
                    <a:pt x="392" y="1108"/>
                    <a:pt x="402" y="1077"/>
                    <a:pt x="397" y="10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19">
              <a:extLst>
                <a:ext uri="{FF2B5EF4-FFF2-40B4-BE49-F238E27FC236}">
                  <a16:creationId xmlns:a16="http://schemas.microsoft.com/office/drawing/2014/main" id="{CFDBB56B-0E0B-41E9-B3A8-3A6F7C67C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3383"/>
              <a:ext cx="71" cy="71"/>
            </a:xfrm>
            <a:custGeom>
              <a:avLst/>
              <a:gdLst>
                <a:gd name="T0" fmla="*/ 330 w 660"/>
                <a:gd name="T1" fmla="*/ 661 h 661"/>
                <a:gd name="T2" fmla="*/ 660 w 660"/>
                <a:gd name="T3" fmla="*/ 331 h 661"/>
                <a:gd name="T4" fmla="*/ 567 w 660"/>
                <a:gd name="T5" fmla="*/ 237 h 661"/>
                <a:gd name="T6" fmla="*/ 473 w 660"/>
                <a:gd name="T7" fmla="*/ 331 h 661"/>
                <a:gd name="T8" fmla="*/ 330 w 660"/>
                <a:gd name="T9" fmla="*/ 474 h 661"/>
                <a:gd name="T10" fmla="*/ 187 w 660"/>
                <a:gd name="T11" fmla="*/ 331 h 661"/>
                <a:gd name="T12" fmla="*/ 330 w 660"/>
                <a:gd name="T13" fmla="*/ 188 h 661"/>
                <a:gd name="T14" fmla="*/ 424 w 660"/>
                <a:gd name="T15" fmla="*/ 94 h 661"/>
                <a:gd name="T16" fmla="*/ 330 w 660"/>
                <a:gd name="T17" fmla="*/ 0 h 661"/>
                <a:gd name="T18" fmla="*/ 0 w 660"/>
                <a:gd name="T19" fmla="*/ 331 h 661"/>
                <a:gd name="T20" fmla="*/ 330 w 660"/>
                <a:gd name="T21" fmla="*/ 661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0" h="661">
                  <a:moveTo>
                    <a:pt x="330" y="661"/>
                  </a:moveTo>
                  <a:cubicBezTo>
                    <a:pt x="512" y="661"/>
                    <a:pt x="660" y="513"/>
                    <a:pt x="660" y="331"/>
                  </a:cubicBezTo>
                  <a:cubicBezTo>
                    <a:pt x="660" y="279"/>
                    <a:pt x="618" y="237"/>
                    <a:pt x="567" y="237"/>
                  </a:cubicBezTo>
                  <a:cubicBezTo>
                    <a:pt x="515" y="237"/>
                    <a:pt x="473" y="279"/>
                    <a:pt x="473" y="331"/>
                  </a:cubicBezTo>
                  <a:cubicBezTo>
                    <a:pt x="473" y="410"/>
                    <a:pt x="409" y="474"/>
                    <a:pt x="330" y="474"/>
                  </a:cubicBezTo>
                  <a:cubicBezTo>
                    <a:pt x="251" y="474"/>
                    <a:pt x="187" y="410"/>
                    <a:pt x="187" y="331"/>
                  </a:cubicBezTo>
                  <a:cubicBezTo>
                    <a:pt x="187" y="252"/>
                    <a:pt x="251" y="188"/>
                    <a:pt x="330" y="188"/>
                  </a:cubicBezTo>
                  <a:cubicBezTo>
                    <a:pt x="382" y="188"/>
                    <a:pt x="424" y="146"/>
                    <a:pt x="424" y="94"/>
                  </a:cubicBezTo>
                  <a:cubicBezTo>
                    <a:pt x="424" y="42"/>
                    <a:pt x="382" y="0"/>
                    <a:pt x="330" y="0"/>
                  </a:cubicBezTo>
                  <a:cubicBezTo>
                    <a:pt x="148" y="0"/>
                    <a:pt x="0" y="149"/>
                    <a:pt x="0" y="331"/>
                  </a:cubicBezTo>
                  <a:cubicBezTo>
                    <a:pt x="0" y="513"/>
                    <a:pt x="148" y="661"/>
                    <a:pt x="330" y="6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302593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F7ED6565-8BD8-461B-A205-5D8DB000C3A5}"/>
              </a:ext>
            </a:extLst>
          </p:cNvPr>
          <p:cNvGrpSpPr/>
          <p:nvPr/>
        </p:nvGrpSpPr>
        <p:grpSpPr>
          <a:xfrm>
            <a:off x="431998" y="1038941"/>
            <a:ext cx="6330309" cy="1300414"/>
            <a:chOff x="431998" y="765544"/>
            <a:chExt cx="6330309" cy="130041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EAAC4305-F16E-4650-AA86-724458CF9E0E}"/>
                </a:ext>
              </a:extLst>
            </p:cNvPr>
            <p:cNvSpPr/>
            <p:nvPr/>
          </p:nvSpPr>
          <p:spPr>
            <a:xfrm>
              <a:off x="540410" y="853653"/>
              <a:ext cx="6221897" cy="121230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36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36914B79-3108-4508-83A0-3443AE0B542F}"/>
                </a:ext>
              </a:extLst>
            </p:cNvPr>
            <p:cNvSpPr/>
            <p:nvPr/>
          </p:nvSpPr>
          <p:spPr>
            <a:xfrm>
              <a:off x="431998" y="765544"/>
              <a:ext cx="6276100" cy="121230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36000" tIns="44371" rIns="91440" bIns="44371" rtlCol="0" anchor="ctr">
              <a:noAutofit/>
            </a:bodyPr>
            <a:lstStyle/>
            <a:p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мплаенс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йич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съул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йинлаш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(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ахс,бўлим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)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2789DF4-C3A7-4334-AFF6-3A87DC2E7C24}"/>
              </a:ext>
            </a:extLst>
          </p:cNvPr>
          <p:cNvGrpSpPr/>
          <p:nvPr/>
        </p:nvGrpSpPr>
        <p:grpSpPr>
          <a:xfrm>
            <a:off x="431998" y="2413200"/>
            <a:ext cx="6330309" cy="1300414"/>
            <a:chOff x="431998" y="2139803"/>
            <a:chExt cx="6330309" cy="1300414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D6A29F07-40FA-4360-AE05-FFE4F1A47CDE}"/>
                </a:ext>
              </a:extLst>
            </p:cNvPr>
            <p:cNvSpPr/>
            <p:nvPr/>
          </p:nvSpPr>
          <p:spPr>
            <a:xfrm>
              <a:off x="540410" y="2227912"/>
              <a:ext cx="6221897" cy="121230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36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8E4CFBFA-5FBC-4737-BEBF-10C6AC528404}"/>
                </a:ext>
              </a:extLst>
            </p:cNvPr>
            <p:cNvSpPr/>
            <p:nvPr/>
          </p:nvSpPr>
          <p:spPr>
            <a:xfrm>
              <a:off x="431998" y="2139803"/>
              <a:ext cx="6276100" cy="121230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36000" tIns="44371" rIns="91440" bIns="44371" rtlCol="0" anchor="ctr">
              <a:noAutofit/>
            </a:bodyPr>
            <a:lstStyle/>
            <a:p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ррупцияга қарши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урашишг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съул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линм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ўғрисидаг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низомд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комплаенс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съулнинг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колатлари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унингдек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лавозим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всифлари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аниқ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елгилаш</a:t>
              </a:r>
              <a:endParaRPr lang="ru-RU" sz="16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EA845CE-7FD0-4738-95F2-33EA82794213}"/>
              </a:ext>
            </a:extLst>
          </p:cNvPr>
          <p:cNvGrpSpPr/>
          <p:nvPr/>
        </p:nvGrpSpPr>
        <p:grpSpPr>
          <a:xfrm>
            <a:off x="431998" y="3787459"/>
            <a:ext cx="6330309" cy="1300414"/>
            <a:chOff x="431998" y="3514062"/>
            <a:chExt cx="6330309" cy="1300414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4F0C336-586B-4D47-822D-2B9F8C0B9D67}"/>
                </a:ext>
              </a:extLst>
            </p:cNvPr>
            <p:cNvSpPr/>
            <p:nvPr/>
          </p:nvSpPr>
          <p:spPr>
            <a:xfrm>
              <a:off x="540410" y="3602171"/>
              <a:ext cx="6221897" cy="121230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36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EE3AD5D-1CC2-49DA-B1A6-9D5E55C72F41}"/>
                </a:ext>
              </a:extLst>
            </p:cNvPr>
            <p:cNvSpPr/>
            <p:nvPr/>
          </p:nvSpPr>
          <p:spPr>
            <a:xfrm>
              <a:off x="431998" y="3514062"/>
              <a:ext cx="6276100" cy="121230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36000" tIns="44371" rIns="91440" bIns="44371" rtlCol="0" anchor="ctr">
              <a:noAutofit/>
            </a:bodyPr>
            <a:lstStyle/>
            <a:p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Давлат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от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линмалар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ўртасид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коррупцияга қарши курашиш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жавобгарлик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қсимлаш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трицаси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узиш</a:t>
              </a:r>
              <a:endParaRPr lang="ru-RU" sz="16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F83D1D4-C9AC-4CD0-8207-00708865ADCC}"/>
              </a:ext>
            </a:extLst>
          </p:cNvPr>
          <p:cNvGrpSpPr/>
          <p:nvPr/>
        </p:nvGrpSpPr>
        <p:grpSpPr>
          <a:xfrm>
            <a:off x="431998" y="5161719"/>
            <a:ext cx="6330309" cy="1300414"/>
            <a:chOff x="431998" y="4888322"/>
            <a:chExt cx="6330309" cy="1300414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8413DC2B-33A3-4A22-A312-94BC97C88ED2}"/>
                </a:ext>
              </a:extLst>
            </p:cNvPr>
            <p:cNvSpPr/>
            <p:nvPr/>
          </p:nvSpPr>
          <p:spPr>
            <a:xfrm>
              <a:off x="540410" y="4976431"/>
              <a:ext cx="6221897" cy="121230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36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A41F1E84-9542-4EB4-A4A6-B26BC09F0160}"/>
                </a:ext>
              </a:extLst>
            </p:cNvPr>
            <p:cNvSpPr/>
            <p:nvPr/>
          </p:nvSpPr>
          <p:spPr>
            <a:xfrm>
              <a:off x="431998" y="4888322"/>
              <a:ext cx="6276100" cy="1212305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36000" tIns="44371" rIns="91440" bIns="44371" rtlCol="0" anchor="ctr">
              <a:noAutofit/>
            </a:bodyPr>
            <a:lstStyle/>
            <a:p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мплаенс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йич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съулнинг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иш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режаси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узиш</a:t>
              </a:r>
              <a:endParaRPr lang="ru-RU" sz="16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15" name="Group 1589">
            <a:extLst>
              <a:ext uri="{FF2B5EF4-FFF2-40B4-BE49-F238E27FC236}">
                <a16:creationId xmlns:a16="http://schemas.microsoft.com/office/drawing/2014/main" id="{338B6016-89A2-45D5-9989-CF51E06D2F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4050" y="1316188"/>
            <a:ext cx="654050" cy="657809"/>
            <a:chOff x="2384" y="844"/>
            <a:chExt cx="174" cy="175"/>
          </a:xfrm>
          <a:solidFill>
            <a:srgbClr val="130A65"/>
          </a:solidFill>
        </p:grpSpPr>
        <p:sp>
          <p:nvSpPr>
            <p:cNvPr id="18" name="Freeform 1590">
              <a:extLst>
                <a:ext uri="{FF2B5EF4-FFF2-40B4-BE49-F238E27FC236}">
                  <a16:creationId xmlns:a16="http://schemas.microsoft.com/office/drawing/2014/main" id="{4DEBF646-47DB-4185-A64A-60D74565C8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591">
              <a:extLst>
                <a:ext uri="{FF2B5EF4-FFF2-40B4-BE49-F238E27FC236}">
                  <a16:creationId xmlns:a16="http://schemas.microsoft.com/office/drawing/2014/main" id="{79CFB969-79FA-42CA-A5C8-2A4E7CEC6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592">
              <a:extLst>
                <a:ext uri="{FF2B5EF4-FFF2-40B4-BE49-F238E27FC236}">
                  <a16:creationId xmlns:a16="http://schemas.microsoft.com/office/drawing/2014/main" id="{25C042FC-ED3D-4B46-B3C1-1B6B404AB9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Group 1589">
            <a:extLst>
              <a:ext uri="{FF2B5EF4-FFF2-40B4-BE49-F238E27FC236}">
                <a16:creationId xmlns:a16="http://schemas.microsoft.com/office/drawing/2014/main" id="{700497CB-E88A-43A4-84C5-A3FC6AF8AE8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4050" y="2719768"/>
            <a:ext cx="654050" cy="657809"/>
            <a:chOff x="2384" y="844"/>
            <a:chExt cx="174" cy="175"/>
          </a:xfrm>
          <a:solidFill>
            <a:srgbClr val="130A65"/>
          </a:solidFill>
        </p:grpSpPr>
        <p:sp>
          <p:nvSpPr>
            <p:cNvPr id="29" name="Freeform 1590">
              <a:extLst>
                <a:ext uri="{FF2B5EF4-FFF2-40B4-BE49-F238E27FC236}">
                  <a16:creationId xmlns:a16="http://schemas.microsoft.com/office/drawing/2014/main" id="{2147E641-FA26-4289-9393-DDFEE2DBEE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591">
              <a:extLst>
                <a:ext uri="{FF2B5EF4-FFF2-40B4-BE49-F238E27FC236}">
                  <a16:creationId xmlns:a16="http://schemas.microsoft.com/office/drawing/2014/main" id="{71610BA2-01CC-4046-B126-354FB5F27E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592">
              <a:extLst>
                <a:ext uri="{FF2B5EF4-FFF2-40B4-BE49-F238E27FC236}">
                  <a16:creationId xmlns:a16="http://schemas.microsoft.com/office/drawing/2014/main" id="{3080294D-99E2-401F-BEE9-EA853F4929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2" name="Group 1589">
            <a:extLst>
              <a:ext uri="{FF2B5EF4-FFF2-40B4-BE49-F238E27FC236}">
                <a16:creationId xmlns:a16="http://schemas.microsoft.com/office/drawing/2014/main" id="{97CD4AE3-387D-4D0D-8EF6-F076F6D3E5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4050" y="4088056"/>
            <a:ext cx="654050" cy="657809"/>
            <a:chOff x="2384" y="844"/>
            <a:chExt cx="174" cy="175"/>
          </a:xfrm>
          <a:solidFill>
            <a:srgbClr val="130A65"/>
          </a:solidFill>
        </p:grpSpPr>
        <p:sp>
          <p:nvSpPr>
            <p:cNvPr id="33" name="Freeform 1590">
              <a:extLst>
                <a:ext uri="{FF2B5EF4-FFF2-40B4-BE49-F238E27FC236}">
                  <a16:creationId xmlns:a16="http://schemas.microsoft.com/office/drawing/2014/main" id="{84D37F58-17E3-4498-85A9-FBAEA8A7F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591">
              <a:extLst>
                <a:ext uri="{FF2B5EF4-FFF2-40B4-BE49-F238E27FC236}">
                  <a16:creationId xmlns:a16="http://schemas.microsoft.com/office/drawing/2014/main" id="{3943AE82-8710-4EF2-88A3-E5708D216F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592">
              <a:extLst>
                <a:ext uri="{FF2B5EF4-FFF2-40B4-BE49-F238E27FC236}">
                  <a16:creationId xmlns:a16="http://schemas.microsoft.com/office/drawing/2014/main" id="{83E7A1E2-AD57-4EC2-B670-7E0E7B6AD0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Group 1589">
            <a:extLst>
              <a:ext uri="{FF2B5EF4-FFF2-40B4-BE49-F238E27FC236}">
                <a16:creationId xmlns:a16="http://schemas.microsoft.com/office/drawing/2014/main" id="{DBAC7EA3-630C-47C5-B4BE-4E43F986C63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4050" y="5438966"/>
            <a:ext cx="654050" cy="657809"/>
            <a:chOff x="2384" y="844"/>
            <a:chExt cx="174" cy="175"/>
          </a:xfrm>
          <a:solidFill>
            <a:srgbClr val="130A65"/>
          </a:solidFill>
        </p:grpSpPr>
        <p:sp>
          <p:nvSpPr>
            <p:cNvPr id="37" name="Freeform 1590">
              <a:extLst>
                <a:ext uri="{FF2B5EF4-FFF2-40B4-BE49-F238E27FC236}">
                  <a16:creationId xmlns:a16="http://schemas.microsoft.com/office/drawing/2014/main" id="{28BED678-C26F-4C7C-819C-7F5077072A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91">
              <a:extLst>
                <a:ext uri="{FF2B5EF4-FFF2-40B4-BE49-F238E27FC236}">
                  <a16:creationId xmlns:a16="http://schemas.microsoft.com/office/drawing/2014/main" id="{624DEBEC-E68C-4B9D-AA74-1AD4ED5210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592">
              <a:extLst>
                <a:ext uri="{FF2B5EF4-FFF2-40B4-BE49-F238E27FC236}">
                  <a16:creationId xmlns:a16="http://schemas.microsoft.com/office/drawing/2014/main" id="{10AA4E9C-7900-4C0B-A974-1ED53749EA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0" name="Title 2">
            <a:extLst>
              <a:ext uri="{FF2B5EF4-FFF2-40B4-BE49-F238E27FC236}">
                <a16:creationId xmlns:a16="http://schemas.microsoft.com/office/drawing/2014/main" id="{28177BE6-6E24-4A5D-BAFA-1882B9A3D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плаенс </a:t>
            </a:r>
            <a:r>
              <a:rPr lang="ru-RU" dirty="0" err="1"/>
              <a:t>функциясини</a:t>
            </a:r>
            <a:r>
              <a:rPr lang="ru-RU" dirty="0"/>
              <a:t> </a:t>
            </a:r>
            <a:r>
              <a:rPr lang="ru-RU" dirty="0" err="1"/>
              <a:t>яратиш</a:t>
            </a:r>
            <a:r>
              <a:rPr lang="ru-RU" dirty="0"/>
              <a:t> </a:t>
            </a:r>
            <a:r>
              <a:rPr lang="ru-RU" dirty="0" err="1"/>
              <a:t>жараёнида</a:t>
            </a:r>
            <a:r>
              <a:rPr lang="ru-RU" dirty="0"/>
              <a:t> </a:t>
            </a:r>
            <a:r>
              <a:rPr lang="ru-RU" dirty="0" err="1"/>
              <a:t>муҳим</a:t>
            </a:r>
            <a:r>
              <a:rPr lang="ru-RU" dirty="0"/>
              <a:t> </a:t>
            </a:r>
            <a:r>
              <a:rPr lang="ru-RU" dirty="0" err="1"/>
              <a:t>тадбирлар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3244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CB6E7-0715-4606-9F34-E4EDF91DAB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err="1"/>
              <a:t>Саволлар</a:t>
            </a:r>
            <a:r>
              <a:rPr lang="ru-RU" dirty="0"/>
              <a:t>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167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08118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1FC79B8-D07E-4624-A889-F62A57802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қарши </a:t>
            </a:r>
            <a:r>
              <a:rPr lang="uz-Cyrl-UZ" dirty="0"/>
              <a:t>комплаенс </a:t>
            </a:r>
            <a:r>
              <a:rPr lang="ru-RU" dirty="0" err="1"/>
              <a:t>функциясини</a:t>
            </a:r>
            <a:r>
              <a:rPr lang="ru-RU" dirty="0"/>
              <a:t> </a:t>
            </a:r>
            <a:r>
              <a:rPr lang="ru-RU" dirty="0" err="1"/>
              <a:t>ташкил</a:t>
            </a:r>
            <a:r>
              <a:rPr lang="ru-RU" dirty="0"/>
              <a:t> </a:t>
            </a:r>
            <a:r>
              <a:rPr lang="ru-RU" dirty="0" err="1"/>
              <a:t>этиш</a:t>
            </a:r>
            <a:r>
              <a:rPr lang="ru-RU" dirty="0"/>
              <a:t> </a:t>
            </a:r>
            <a:r>
              <a:rPr lang="ru-RU" dirty="0" err="1"/>
              <a:t>тўғрисидаги</a:t>
            </a:r>
            <a:r>
              <a:rPr lang="ru-RU" dirty="0"/>
              <a:t> Ўзбекистон </a:t>
            </a:r>
            <a:r>
              <a:rPr lang="ru-RU" dirty="0" err="1"/>
              <a:t>Республикаси</a:t>
            </a:r>
            <a:r>
              <a:rPr lang="ru-RU" dirty="0"/>
              <a:t> </a:t>
            </a:r>
            <a:r>
              <a:rPr lang="ru-RU" dirty="0" err="1"/>
              <a:t>қонунчилиги</a:t>
            </a:r>
            <a:r>
              <a:rPr lang="ru-RU" dirty="0"/>
              <a:t> </a:t>
            </a:r>
            <a:r>
              <a:rPr lang="ru-RU" dirty="0" err="1"/>
              <a:t>талаблари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F68F5C-B673-4BB7-BB17-AC3FDAB32B0F}"/>
              </a:ext>
            </a:extLst>
          </p:cNvPr>
          <p:cNvGrpSpPr/>
          <p:nvPr/>
        </p:nvGrpSpPr>
        <p:grpSpPr>
          <a:xfrm>
            <a:off x="438150" y="1282700"/>
            <a:ext cx="11353800" cy="1008603"/>
            <a:chOff x="431998" y="1497505"/>
            <a:chExt cx="7042690" cy="573992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812C1448-7620-4C63-8D45-3FE92A13AC3E}"/>
                </a:ext>
              </a:extLst>
            </p:cNvPr>
            <p:cNvSpPr/>
            <p:nvPr/>
          </p:nvSpPr>
          <p:spPr>
            <a:xfrm>
              <a:off x="552610" y="1549937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2C01E1C4-717D-419C-9A13-98E58EF209BC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Ўзбекистон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еспубликас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Президент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«Коррупцияга қарши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уросасиз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уносабат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уҳит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ярат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влат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амият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ошқаруви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в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миллар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ески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амайтир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бунд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амоатчилик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иштирок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енгайтир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чора-тадбирлари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ўғриси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»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2021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ил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6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июлда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ПФ-6257-сон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Фармо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</a:p>
          </p:txBody>
        </p:sp>
      </p:grpSp>
      <p:sp>
        <p:nvSpPr>
          <p:cNvPr id="15" name="object 20">
            <a:extLst>
              <a:ext uri="{FF2B5EF4-FFF2-40B4-BE49-F238E27FC236}">
                <a16:creationId xmlns:a16="http://schemas.microsoft.com/office/drawing/2014/main" id="{606FED81-28B3-4FA1-A228-3103710F4AAB}"/>
              </a:ext>
            </a:extLst>
          </p:cNvPr>
          <p:cNvSpPr txBox="1"/>
          <p:nvPr/>
        </p:nvSpPr>
        <p:spPr>
          <a:xfrm>
            <a:off x="1310004" y="2436673"/>
            <a:ext cx="10439083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Барча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шкилотлари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, шу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жумлад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орақалпоғисто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Республикас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зирла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енга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илоятла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ошкен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шаҳа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окимликлари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коррупцияга қарши ички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азор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ўлинмалар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фаолият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вжуд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штат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ирликлар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доираси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шкил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мал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чора-тадбирла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ўр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6" name="object 12">
            <a:extLst>
              <a:ext uri="{FF2B5EF4-FFF2-40B4-BE49-F238E27FC236}">
                <a16:creationId xmlns:a16="http://schemas.microsoft.com/office/drawing/2014/main" id="{85D518F1-7FE3-4460-8282-311D50D6B2DB}"/>
              </a:ext>
            </a:extLst>
          </p:cNvPr>
          <p:cNvSpPr/>
          <p:nvPr/>
        </p:nvSpPr>
        <p:spPr>
          <a:xfrm>
            <a:off x="443225" y="240936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7FB3EAB-EF11-4904-B109-B700B6774758}"/>
              </a:ext>
            </a:extLst>
          </p:cNvPr>
          <p:cNvGrpSpPr/>
          <p:nvPr/>
        </p:nvGrpSpPr>
        <p:grpSpPr>
          <a:xfrm>
            <a:off x="438150" y="3515264"/>
            <a:ext cx="11353800" cy="1008603"/>
            <a:chOff x="431998" y="1497505"/>
            <a:chExt cx="7042690" cy="573992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DEB5ED6A-1F7D-4F34-A6C0-C1790E253332}"/>
                </a:ext>
              </a:extLst>
            </p:cNvPr>
            <p:cNvSpPr/>
            <p:nvPr/>
          </p:nvSpPr>
          <p:spPr>
            <a:xfrm>
              <a:off x="552610" y="1549937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90B430D-1311-4A4A-B36F-CA5BF9FFD799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Ўзбекистон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еспубликас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Президент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«Коррупцияга қарши курашиш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ишлар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амарадорлиг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рейтинг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аҳола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изим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ор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т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чора-тадбирлари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ўғрисида»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2022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ил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12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январда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ПҚ-81-сон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ори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32" name="object 20">
            <a:extLst>
              <a:ext uri="{FF2B5EF4-FFF2-40B4-BE49-F238E27FC236}">
                <a16:creationId xmlns:a16="http://schemas.microsoft.com/office/drawing/2014/main" id="{268A0FC0-90D5-4AEC-BA54-F027D0316FC9}"/>
              </a:ext>
            </a:extLst>
          </p:cNvPr>
          <p:cNvSpPr txBox="1"/>
          <p:nvPr/>
        </p:nvSpPr>
        <p:spPr>
          <a:xfrm>
            <a:off x="1310004" y="4662499"/>
            <a:ext cx="10439083" cy="95090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Ўзбекистон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Республикас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Коррупцияга қарши курашиш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гентли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органлари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коррупцияга қарши курашиш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оҳасида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фаолият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амарадорлиг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а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йил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рейтинг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аҳолаш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ўтказад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.</a:t>
            </a: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аҳолаш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3.2 Коррупцияга қарши курашиш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бўйича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ички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назорат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бўлинмаси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тузилганлиги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,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унинг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зарур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ресурслар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, штат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бирликлари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ва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бошқа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моддий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-техник база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билан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таъминланганлиги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езо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иритилг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.</a:t>
            </a:r>
            <a:endParaRPr lang="ru-RU" sz="1400" b="1" spc="-20" dirty="0">
              <a:solidFill>
                <a:srgbClr val="3A07DF"/>
              </a:solidFill>
              <a:cs typeface="Arial"/>
            </a:endParaRPr>
          </a:p>
        </p:txBody>
      </p:sp>
      <p:sp>
        <p:nvSpPr>
          <p:cNvPr id="33" name="object 12">
            <a:extLst>
              <a:ext uri="{FF2B5EF4-FFF2-40B4-BE49-F238E27FC236}">
                <a16:creationId xmlns:a16="http://schemas.microsoft.com/office/drawing/2014/main" id="{AFBFEA16-E2C5-499A-AB4B-C7A129105FCD}"/>
              </a:ext>
            </a:extLst>
          </p:cNvPr>
          <p:cNvSpPr/>
          <p:nvPr/>
        </p:nvSpPr>
        <p:spPr>
          <a:xfrm>
            <a:off x="443225" y="4641924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9" name="Group 1333">
            <a:extLst>
              <a:ext uri="{FF2B5EF4-FFF2-40B4-BE49-F238E27FC236}">
                <a16:creationId xmlns:a16="http://schemas.microsoft.com/office/drawing/2014/main" id="{3F71C936-44D1-47C7-989A-550BEF2127B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2501491"/>
            <a:ext cx="555225" cy="488215"/>
            <a:chOff x="4773" y="2198"/>
            <a:chExt cx="174" cy="153"/>
          </a:xfrm>
          <a:solidFill>
            <a:srgbClr val="130A65"/>
          </a:solidFill>
        </p:grpSpPr>
        <p:sp>
          <p:nvSpPr>
            <p:cNvPr id="34" name="Freeform 1334">
              <a:extLst>
                <a:ext uri="{FF2B5EF4-FFF2-40B4-BE49-F238E27FC236}">
                  <a16:creationId xmlns:a16="http://schemas.microsoft.com/office/drawing/2014/main" id="{D5969E3F-FAD5-4DFA-AA9F-56448868B9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" y="2198"/>
              <a:ext cx="174" cy="153"/>
            </a:xfrm>
            <a:custGeom>
              <a:avLst/>
              <a:gdLst>
                <a:gd name="T0" fmla="*/ 6351 w 6448"/>
                <a:gd name="T1" fmla="*/ 4880 h 5684"/>
                <a:gd name="T2" fmla="*/ 3688 w 6448"/>
                <a:gd name="T3" fmla="*/ 268 h 5684"/>
                <a:gd name="T4" fmla="*/ 3224 w 6448"/>
                <a:gd name="T5" fmla="*/ 0 h 5684"/>
                <a:gd name="T6" fmla="*/ 2760 w 6448"/>
                <a:gd name="T7" fmla="*/ 268 h 5684"/>
                <a:gd name="T8" fmla="*/ 97 w 6448"/>
                <a:gd name="T9" fmla="*/ 4880 h 5684"/>
                <a:gd name="T10" fmla="*/ 97 w 6448"/>
                <a:gd name="T11" fmla="*/ 5416 h 5684"/>
                <a:gd name="T12" fmla="*/ 561 w 6448"/>
                <a:gd name="T13" fmla="*/ 5684 h 5684"/>
                <a:gd name="T14" fmla="*/ 5887 w 6448"/>
                <a:gd name="T15" fmla="*/ 5684 h 5684"/>
                <a:gd name="T16" fmla="*/ 6351 w 6448"/>
                <a:gd name="T17" fmla="*/ 5416 h 5684"/>
                <a:gd name="T18" fmla="*/ 6351 w 6448"/>
                <a:gd name="T19" fmla="*/ 4880 h 5684"/>
                <a:gd name="T20" fmla="*/ 6189 w 6448"/>
                <a:gd name="T21" fmla="*/ 5323 h 5684"/>
                <a:gd name="T22" fmla="*/ 5887 w 6448"/>
                <a:gd name="T23" fmla="*/ 5497 h 5684"/>
                <a:gd name="T24" fmla="*/ 561 w 6448"/>
                <a:gd name="T25" fmla="*/ 5497 h 5684"/>
                <a:gd name="T26" fmla="*/ 259 w 6448"/>
                <a:gd name="T27" fmla="*/ 5323 h 5684"/>
                <a:gd name="T28" fmla="*/ 259 w 6448"/>
                <a:gd name="T29" fmla="*/ 4974 h 5684"/>
                <a:gd name="T30" fmla="*/ 2922 w 6448"/>
                <a:gd name="T31" fmla="*/ 361 h 5684"/>
                <a:gd name="T32" fmla="*/ 3224 w 6448"/>
                <a:gd name="T33" fmla="*/ 187 h 5684"/>
                <a:gd name="T34" fmla="*/ 3526 w 6448"/>
                <a:gd name="T35" fmla="*/ 361 h 5684"/>
                <a:gd name="T36" fmla="*/ 6189 w 6448"/>
                <a:gd name="T37" fmla="*/ 4974 h 5684"/>
                <a:gd name="T38" fmla="*/ 6189 w 6448"/>
                <a:gd name="T39" fmla="*/ 4974 h 5684"/>
                <a:gd name="T40" fmla="*/ 6189 w 6448"/>
                <a:gd name="T41" fmla="*/ 5323 h 5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48" h="5684">
                  <a:moveTo>
                    <a:pt x="6351" y="4880"/>
                  </a:moveTo>
                  <a:lnTo>
                    <a:pt x="3688" y="268"/>
                  </a:lnTo>
                  <a:cubicBezTo>
                    <a:pt x="3591" y="100"/>
                    <a:pt x="3418" y="0"/>
                    <a:pt x="3224" y="0"/>
                  </a:cubicBezTo>
                  <a:cubicBezTo>
                    <a:pt x="3030" y="0"/>
                    <a:pt x="2857" y="100"/>
                    <a:pt x="2760" y="268"/>
                  </a:cubicBezTo>
                  <a:lnTo>
                    <a:pt x="97" y="4880"/>
                  </a:lnTo>
                  <a:cubicBezTo>
                    <a:pt x="0" y="5048"/>
                    <a:pt x="0" y="5248"/>
                    <a:pt x="97" y="5416"/>
                  </a:cubicBezTo>
                  <a:cubicBezTo>
                    <a:pt x="194" y="5584"/>
                    <a:pt x="367" y="5684"/>
                    <a:pt x="561" y="5684"/>
                  </a:cubicBezTo>
                  <a:lnTo>
                    <a:pt x="5887" y="5684"/>
                  </a:lnTo>
                  <a:cubicBezTo>
                    <a:pt x="6081" y="5684"/>
                    <a:pt x="6254" y="5584"/>
                    <a:pt x="6351" y="5416"/>
                  </a:cubicBezTo>
                  <a:cubicBezTo>
                    <a:pt x="6448" y="5248"/>
                    <a:pt x="6448" y="5048"/>
                    <a:pt x="6351" y="4880"/>
                  </a:cubicBezTo>
                  <a:close/>
                  <a:moveTo>
                    <a:pt x="6189" y="5323"/>
                  </a:moveTo>
                  <a:cubicBezTo>
                    <a:pt x="6126" y="5432"/>
                    <a:pt x="6013" y="5497"/>
                    <a:pt x="5887" y="5497"/>
                  </a:cubicBezTo>
                  <a:lnTo>
                    <a:pt x="561" y="5497"/>
                  </a:lnTo>
                  <a:cubicBezTo>
                    <a:pt x="435" y="5497"/>
                    <a:pt x="322" y="5432"/>
                    <a:pt x="259" y="5323"/>
                  </a:cubicBezTo>
                  <a:cubicBezTo>
                    <a:pt x="196" y="5213"/>
                    <a:pt x="196" y="5083"/>
                    <a:pt x="259" y="4974"/>
                  </a:cubicBezTo>
                  <a:lnTo>
                    <a:pt x="2922" y="361"/>
                  </a:lnTo>
                  <a:cubicBezTo>
                    <a:pt x="2985" y="252"/>
                    <a:pt x="3098" y="187"/>
                    <a:pt x="3224" y="187"/>
                  </a:cubicBezTo>
                  <a:cubicBezTo>
                    <a:pt x="3350" y="187"/>
                    <a:pt x="3463" y="252"/>
                    <a:pt x="3526" y="361"/>
                  </a:cubicBezTo>
                  <a:lnTo>
                    <a:pt x="6189" y="4974"/>
                  </a:lnTo>
                  <a:lnTo>
                    <a:pt x="6189" y="4974"/>
                  </a:lnTo>
                  <a:cubicBezTo>
                    <a:pt x="6252" y="5083"/>
                    <a:pt x="6252" y="5213"/>
                    <a:pt x="6189" y="53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335">
              <a:extLst>
                <a:ext uri="{FF2B5EF4-FFF2-40B4-BE49-F238E27FC236}">
                  <a16:creationId xmlns:a16="http://schemas.microsoft.com/office/drawing/2014/main" id="{E8D1D35B-2288-4CA7-ABE6-E0CE545E7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" y="2236"/>
              <a:ext cx="59" cy="99"/>
            </a:xfrm>
            <a:custGeom>
              <a:avLst/>
              <a:gdLst>
                <a:gd name="T0" fmla="*/ 188 w 2192"/>
                <a:gd name="T1" fmla="*/ 60 h 3643"/>
                <a:gd name="T2" fmla="*/ 60 w 2192"/>
                <a:gd name="T3" fmla="*/ 26 h 3643"/>
                <a:gd name="T4" fmla="*/ 25 w 2192"/>
                <a:gd name="T5" fmla="*/ 154 h 3643"/>
                <a:gd name="T6" fmla="*/ 1932 w 2192"/>
                <a:gd name="T7" fmla="*/ 3456 h 3643"/>
                <a:gd name="T8" fmla="*/ 407 w 2192"/>
                <a:gd name="T9" fmla="*/ 3456 h 3643"/>
                <a:gd name="T10" fmla="*/ 314 w 2192"/>
                <a:gd name="T11" fmla="*/ 3549 h 3643"/>
                <a:gd name="T12" fmla="*/ 407 w 2192"/>
                <a:gd name="T13" fmla="*/ 3643 h 3643"/>
                <a:gd name="T14" fmla="*/ 2094 w 2192"/>
                <a:gd name="T15" fmla="*/ 3643 h 3643"/>
                <a:gd name="T16" fmla="*/ 2175 w 2192"/>
                <a:gd name="T17" fmla="*/ 3596 h 3643"/>
                <a:gd name="T18" fmla="*/ 2175 w 2192"/>
                <a:gd name="T19" fmla="*/ 3503 h 3643"/>
                <a:gd name="T20" fmla="*/ 188 w 2192"/>
                <a:gd name="T21" fmla="*/ 60 h 3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92" h="3643">
                  <a:moveTo>
                    <a:pt x="188" y="60"/>
                  </a:moveTo>
                  <a:cubicBezTo>
                    <a:pt x="162" y="15"/>
                    <a:pt x="105" y="0"/>
                    <a:pt x="60" y="26"/>
                  </a:cubicBezTo>
                  <a:cubicBezTo>
                    <a:pt x="15" y="52"/>
                    <a:pt x="0" y="109"/>
                    <a:pt x="25" y="154"/>
                  </a:cubicBezTo>
                  <a:lnTo>
                    <a:pt x="1932" y="3456"/>
                  </a:lnTo>
                  <a:lnTo>
                    <a:pt x="407" y="3456"/>
                  </a:lnTo>
                  <a:cubicBezTo>
                    <a:pt x="356" y="3456"/>
                    <a:pt x="314" y="3498"/>
                    <a:pt x="314" y="3549"/>
                  </a:cubicBezTo>
                  <a:cubicBezTo>
                    <a:pt x="314" y="3601"/>
                    <a:pt x="356" y="3643"/>
                    <a:pt x="407" y="3643"/>
                  </a:cubicBezTo>
                  <a:lnTo>
                    <a:pt x="2094" y="3643"/>
                  </a:lnTo>
                  <a:cubicBezTo>
                    <a:pt x="2128" y="3643"/>
                    <a:pt x="2158" y="3625"/>
                    <a:pt x="2175" y="3596"/>
                  </a:cubicBezTo>
                  <a:cubicBezTo>
                    <a:pt x="2192" y="3567"/>
                    <a:pt x="2192" y="3532"/>
                    <a:pt x="2175" y="3503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36">
              <a:extLst>
                <a:ext uri="{FF2B5EF4-FFF2-40B4-BE49-F238E27FC236}">
                  <a16:creationId xmlns:a16="http://schemas.microsoft.com/office/drawing/2014/main" id="{E659CD4B-D91C-4ECC-9EE3-4B29A1818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3" y="2218"/>
              <a:ext cx="75" cy="117"/>
            </a:xfrm>
            <a:custGeom>
              <a:avLst/>
              <a:gdLst>
                <a:gd name="T0" fmla="*/ 1785 w 2783"/>
                <a:gd name="T1" fmla="*/ 4137 h 4324"/>
                <a:gd name="T2" fmla="*/ 260 w 2783"/>
                <a:gd name="T3" fmla="*/ 4137 h 4324"/>
                <a:gd name="T4" fmla="*/ 2486 w 2783"/>
                <a:gd name="T5" fmla="*/ 282 h 4324"/>
                <a:gd name="T6" fmla="*/ 2595 w 2783"/>
                <a:gd name="T7" fmla="*/ 470 h 4324"/>
                <a:gd name="T8" fmla="*/ 2723 w 2783"/>
                <a:gd name="T9" fmla="*/ 504 h 4324"/>
                <a:gd name="T10" fmla="*/ 2757 w 2783"/>
                <a:gd name="T11" fmla="*/ 376 h 4324"/>
                <a:gd name="T12" fmla="*/ 2567 w 2783"/>
                <a:gd name="T13" fmla="*/ 47 h 4324"/>
                <a:gd name="T14" fmla="*/ 2486 w 2783"/>
                <a:gd name="T15" fmla="*/ 0 h 4324"/>
                <a:gd name="T16" fmla="*/ 2405 w 2783"/>
                <a:gd name="T17" fmla="*/ 47 h 4324"/>
                <a:gd name="T18" fmla="*/ 17 w 2783"/>
                <a:gd name="T19" fmla="*/ 4184 h 4324"/>
                <a:gd name="T20" fmla="*/ 17 w 2783"/>
                <a:gd name="T21" fmla="*/ 4277 h 4324"/>
                <a:gd name="T22" fmla="*/ 98 w 2783"/>
                <a:gd name="T23" fmla="*/ 4324 h 4324"/>
                <a:gd name="T24" fmla="*/ 1785 w 2783"/>
                <a:gd name="T25" fmla="*/ 4324 h 4324"/>
                <a:gd name="T26" fmla="*/ 1878 w 2783"/>
                <a:gd name="T27" fmla="*/ 4230 h 4324"/>
                <a:gd name="T28" fmla="*/ 1785 w 2783"/>
                <a:gd name="T29" fmla="*/ 4137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83" h="4324">
                  <a:moveTo>
                    <a:pt x="1785" y="4137"/>
                  </a:moveTo>
                  <a:lnTo>
                    <a:pt x="260" y="4137"/>
                  </a:lnTo>
                  <a:lnTo>
                    <a:pt x="2486" y="282"/>
                  </a:lnTo>
                  <a:lnTo>
                    <a:pt x="2595" y="470"/>
                  </a:lnTo>
                  <a:cubicBezTo>
                    <a:pt x="2621" y="515"/>
                    <a:pt x="2678" y="530"/>
                    <a:pt x="2723" y="504"/>
                  </a:cubicBezTo>
                  <a:cubicBezTo>
                    <a:pt x="2768" y="478"/>
                    <a:pt x="2783" y="421"/>
                    <a:pt x="2757" y="376"/>
                  </a:cubicBezTo>
                  <a:lnTo>
                    <a:pt x="2567" y="47"/>
                  </a:lnTo>
                  <a:cubicBezTo>
                    <a:pt x="2550" y="18"/>
                    <a:pt x="2519" y="0"/>
                    <a:pt x="2486" y="0"/>
                  </a:cubicBezTo>
                  <a:cubicBezTo>
                    <a:pt x="2452" y="0"/>
                    <a:pt x="2422" y="18"/>
                    <a:pt x="2405" y="47"/>
                  </a:cubicBezTo>
                  <a:lnTo>
                    <a:pt x="17" y="4184"/>
                  </a:lnTo>
                  <a:cubicBezTo>
                    <a:pt x="0" y="4213"/>
                    <a:pt x="0" y="4248"/>
                    <a:pt x="17" y="4277"/>
                  </a:cubicBezTo>
                  <a:cubicBezTo>
                    <a:pt x="34" y="4306"/>
                    <a:pt x="64" y="4324"/>
                    <a:pt x="98" y="4324"/>
                  </a:cubicBezTo>
                  <a:lnTo>
                    <a:pt x="1785" y="4324"/>
                  </a:lnTo>
                  <a:cubicBezTo>
                    <a:pt x="1836" y="4324"/>
                    <a:pt x="1878" y="4282"/>
                    <a:pt x="1878" y="4230"/>
                  </a:cubicBezTo>
                  <a:cubicBezTo>
                    <a:pt x="1878" y="4179"/>
                    <a:pt x="1836" y="4137"/>
                    <a:pt x="1785" y="41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337">
              <a:extLst>
                <a:ext uri="{FF2B5EF4-FFF2-40B4-BE49-F238E27FC236}">
                  <a16:creationId xmlns:a16="http://schemas.microsoft.com/office/drawing/2014/main" id="{18562EC2-0638-4468-A58F-D7C66F523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316"/>
              <a:ext cx="21" cy="21"/>
            </a:xfrm>
            <a:custGeom>
              <a:avLst/>
              <a:gdLst>
                <a:gd name="T0" fmla="*/ 394 w 788"/>
                <a:gd name="T1" fmla="*/ 0 h 788"/>
                <a:gd name="T2" fmla="*/ 0 w 788"/>
                <a:gd name="T3" fmla="*/ 394 h 788"/>
                <a:gd name="T4" fmla="*/ 394 w 788"/>
                <a:gd name="T5" fmla="*/ 788 h 788"/>
                <a:gd name="T6" fmla="*/ 788 w 788"/>
                <a:gd name="T7" fmla="*/ 394 h 788"/>
                <a:gd name="T8" fmla="*/ 394 w 788"/>
                <a:gd name="T9" fmla="*/ 0 h 788"/>
                <a:gd name="T10" fmla="*/ 394 w 788"/>
                <a:gd name="T11" fmla="*/ 601 h 788"/>
                <a:gd name="T12" fmla="*/ 187 w 788"/>
                <a:gd name="T13" fmla="*/ 394 h 788"/>
                <a:gd name="T14" fmla="*/ 394 w 788"/>
                <a:gd name="T15" fmla="*/ 187 h 788"/>
                <a:gd name="T16" fmla="*/ 601 w 788"/>
                <a:gd name="T17" fmla="*/ 394 h 788"/>
                <a:gd name="T18" fmla="*/ 394 w 788"/>
                <a:gd name="T19" fmla="*/ 60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8" h="788">
                  <a:moveTo>
                    <a:pt x="394" y="0"/>
                  </a:moveTo>
                  <a:cubicBezTo>
                    <a:pt x="177" y="0"/>
                    <a:pt x="0" y="177"/>
                    <a:pt x="0" y="394"/>
                  </a:cubicBezTo>
                  <a:cubicBezTo>
                    <a:pt x="0" y="612"/>
                    <a:pt x="177" y="788"/>
                    <a:pt x="394" y="788"/>
                  </a:cubicBezTo>
                  <a:cubicBezTo>
                    <a:pt x="611" y="788"/>
                    <a:pt x="788" y="612"/>
                    <a:pt x="788" y="394"/>
                  </a:cubicBezTo>
                  <a:cubicBezTo>
                    <a:pt x="788" y="177"/>
                    <a:pt x="611" y="0"/>
                    <a:pt x="394" y="0"/>
                  </a:cubicBezTo>
                  <a:close/>
                  <a:moveTo>
                    <a:pt x="394" y="601"/>
                  </a:moveTo>
                  <a:cubicBezTo>
                    <a:pt x="280" y="601"/>
                    <a:pt x="187" y="508"/>
                    <a:pt x="187" y="394"/>
                  </a:cubicBezTo>
                  <a:cubicBezTo>
                    <a:pt x="187" y="280"/>
                    <a:pt x="280" y="187"/>
                    <a:pt x="394" y="187"/>
                  </a:cubicBezTo>
                  <a:cubicBezTo>
                    <a:pt x="508" y="187"/>
                    <a:pt x="601" y="280"/>
                    <a:pt x="601" y="394"/>
                  </a:cubicBezTo>
                  <a:cubicBezTo>
                    <a:pt x="601" y="508"/>
                    <a:pt x="508" y="601"/>
                    <a:pt x="394" y="6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338">
              <a:extLst>
                <a:ext uri="{FF2B5EF4-FFF2-40B4-BE49-F238E27FC236}">
                  <a16:creationId xmlns:a16="http://schemas.microsoft.com/office/drawing/2014/main" id="{BE95F7A0-8535-4627-A8A8-87D9D80633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254"/>
              <a:ext cx="21" cy="56"/>
            </a:xfrm>
            <a:custGeom>
              <a:avLst/>
              <a:gdLst>
                <a:gd name="T0" fmla="*/ 196 w 782"/>
                <a:gd name="T1" fmla="*/ 0 h 2091"/>
                <a:gd name="T2" fmla="*/ 55 w 782"/>
                <a:gd name="T3" fmla="*/ 61 h 2091"/>
                <a:gd name="T4" fmla="*/ 2 w 782"/>
                <a:gd name="T5" fmla="*/ 204 h 2091"/>
                <a:gd name="T6" fmla="*/ 92 w 782"/>
                <a:gd name="T7" fmla="*/ 1908 h 2091"/>
                <a:gd name="T8" fmla="*/ 286 w 782"/>
                <a:gd name="T9" fmla="*/ 2091 h 2091"/>
                <a:gd name="T10" fmla="*/ 496 w 782"/>
                <a:gd name="T11" fmla="*/ 2091 h 2091"/>
                <a:gd name="T12" fmla="*/ 690 w 782"/>
                <a:gd name="T13" fmla="*/ 1908 h 2091"/>
                <a:gd name="T14" fmla="*/ 780 w 782"/>
                <a:gd name="T15" fmla="*/ 204 h 2091"/>
                <a:gd name="T16" fmla="*/ 727 w 782"/>
                <a:gd name="T17" fmla="*/ 61 h 2091"/>
                <a:gd name="T18" fmla="*/ 586 w 782"/>
                <a:gd name="T19" fmla="*/ 0 h 2091"/>
                <a:gd name="T20" fmla="*/ 196 w 782"/>
                <a:gd name="T21" fmla="*/ 0 h 2091"/>
                <a:gd name="T22" fmla="*/ 592 w 782"/>
                <a:gd name="T23" fmla="*/ 195 h 2091"/>
                <a:gd name="T24" fmla="*/ 503 w 782"/>
                <a:gd name="T25" fmla="*/ 1898 h 2091"/>
                <a:gd name="T26" fmla="*/ 496 w 782"/>
                <a:gd name="T27" fmla="*/ 1904 h 2091"/>
                <a:gd name="T28" fmla="*/ 286 w 782"/>
                <a:gd name="T29" fmla="*/ 1904 h 2091"/>
                <a:gd name="T30" fmla="*/ 279 w 782"/>
                <a:gd name="T31" fmla="*/ 1898 h 2091"/>
                <a:gd name="T32" fmla="*/ 190 w 782"/>
                <a:gd name="T33" fmla="*/ 195 h 2091"/>
                <a:gd name="T34" fmla="*/ 191 w 782"/>
                <a:gd name="T35" fmla="*/ 190 h 2091"/>
                <a:gd name="T36" fmla="*/ 196 w 782"/>
                <a:gd name="T37" fmla="*/ 188 h 2091"/>
                <a:gd name="T38" fmla="*/ 586 w 782"/>
                <a:gd name="T39" fmla="*/ 188 h 2091"/>
                <a:gd name="T40" fmla="*/ 591 w 782"/>
                <a:gd name="T41" fmla="*/ 190 h 2091"/>
                <a:gd name="T42" fmla="*/ 592 w 782"/>
                <a:gd name="T43" fmla="*/ 19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82" h="2091">
                  <a:moveTo>
                    <a:pt x="196" y="0"/>
                  </a:moveTo>
                  <a:cubicBezTo>
                    <a:pt x="143" y="0"/>
                    <a:pt x="92" y="22"/>
                    <a:pt x="55" y="61"/>
                  </a:cubicBezTo>
                  <a:cubicBezTo>
                    <a:pt x="19" y="99"/>
                    <a:pt x="0" y="151"/>
                    <a:pt x="2" y="204"/>
                  </a:cubicBezTo>
                  <a:lnTo>
                    <a:pt x="92" y="1908"/>
                  </a:lnTo>
                  <a:cubicBezTo>
                    <a:pt x="97" y="2011"/>
                    <a:pt x="182" y="2091"/>
                    <a:pt x="286" y="2091"/>
                  </a:cubicBezTo>
                  <a:lnTo>
                    <a:pt x="496" y="2091"/>
                  </a:lnTo>
                  <a:cubicBezTo>
                    <a:pt x="600" y="2091"/>
                    <a:pt x="685" y="2011"/>
                    <a:pt x="690" y="1908"/>
                  </a:cubicBezTo>
                  <a:lnTo>
                    <a:pt x="780" y="204"/>
                  </a:lnTo>
                  <a:cubicBezTo>
                    <a:pt x="782" y="151"/>
                    <a:pt x="763" y="99"/>
                    <a:pt x="727" y="61"/>
                  </a:cubicBezTo>
                  <a:cubicBezTo>
                    <a:pt x="690" y="22"/>
                    <a:pt x="639" y="0"/>
                    <a:pt x="586" y="0"/>
                  </a:cubicBezTo>
                  <a:lnTo>
                    <a:pt x="196" y="0"/>
                  </a:lnTo>
                  <a:close/>
                  <a:moveTo>
                    <a:pt x="592" y="195"/>
                  </a:moveTo>
                  <a:lnTo>
                    <a:pt x="503" y="1898"/>
                  </a:lnTo>
                  <a:cubicBezTo>
                    <a:pt x="503" y="1901"/>
                    <a:pt x="500" y="1904"/>
                    <a:pt x="496" y="1904"/>
                  </a:cubicBezTo>
                  <a:lnTo>
                    <a:pt x="286" y="1904"/>
                  </a:lnTo>
                  <a:cubicBezTo>
                    <a:pt x="282" y="1904"/>
                    <a:pt x="279" y="1901"/>
                    <a:pt x="279" y="1898"/>
                  </a:cubicBezTo>
                  <a:lnTo>
                    <a:pt x="190" y="195"/>
                  </a:lnTo>
                  <a:cubicBezTo>
                    <a:pt x="190" y="194"/>
                    <a:pt x="189" y="192"/>
                    <a:pt x="191" y="190"/>
                  </a:cubicBezTo>
                  <a:cubicBezTo>
                    <a:pt x="193" y="188"/>
                    <a:pt x="195" y="188"/>
                    <a:pt x="196" y="188"/>
                  </a:cubicBezTo>
                  <a:lnTo>
                    <a:pt x="586" y="188"/>
                  </a:lnTo>
                  <a:cubicBezTo>
                    <a:pt x="587" y="188"/>
                    <a:pt x="589" y="188"/>
                    <a:pt x="591" y="190"/>
                  </a:cubicBezTo>
                  <a:cubicBezTo>
                    <a:pt x="593" y="192"/>
                    <a:pt x="592" y="194"/>
                    <a:pt x="592" y="1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Group 1333">
            <a:extLst>
              <a:ext uri="{FF2B5EF4-FFF2-40B4-BE49-F238E27FC236}">
                <a16:creationId xmlns:a16="http://schemas.microsoft.com/office/drawing/2014/main" id="{2EA84DBB-D632-495C-A59E-E042D69CDC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4734056"/>
            <a:ext cx="555225" cy="488215"/>
            <a:chOff x="4773" y="2198"/>
            <a:chExt cx="174" cy="153"/>
          </a:xfrm>
          <a:solidFill>
            <a:srgbClr val="130A65"/>
          </a:solidFill>
        </p:grpSpPr>
        <p:sp>
          <p:nvSpPr>
            <p:cNvPr id="40" name="Freeform 1334">
              <a:extLst>
                <a:ext uri="{FF2B5EF4-FFF2-40B4-BE49-F238E27FC236}">
                  <a16:creationId xmlns:a16="http://schemas.microsoft.com/office/drawing/2014/main" id="{0643C9DB-DA1D-4559-BBC2-05EC289504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" y="2198"/>
              <a:ext cx="174" cy="153"/>
            </a:xfrm>
            <a:custGeom>
              <a:avLst/>
              <a:gdLst>
                <a:gd name="T0" fmla="*/ 6351 w 6448"/>
                <a:gd name="T1" fmla="*/ 4880 h 5684"/>
                <a:gd name="T2" fmla="*/ 3688 w 6448"/>
                <a:gd name="T3" fmla="*/ 268 h 5684"/>
                <a:gd name="T4" fmla="*/ 3224 w 6448"/>
                <a:gd name="T5" fmla="*/ 0 h 5684"/>
                <a:gd name="T6" fmla="*/ 2760 w 6448"/>
                <a:gd name="T7" fmla="*/ 268 h 5684"/>
                <a:gd name="T8" fmla="*/ 97 w 6448"/>
                <a:gd name="T9" fmla="*/ 4880 h 5684"/>
                <a:gd name="T10" fmla="*/ 97 w 6448"/>
                <a:gd name="T11" fmla="*/ 5416 h 5684"/>
                <a:gd name="T12" fmla="*/ 561 w 6448"/>
                <a:gd name="T13" fmla="*/ 5684 h 5684"/>
                <a:gd name="T14" fmla="*/ 5887 w 6448"/>
                <a:gd name="T15" fmla="*/ 5684 h 5684"/>
                <a:gd name="T16" fmla="*/ 6351 w 6448"/>
                <a:gd name="T17" fmla="*/ 5416 h 5684"/>
                <a:gd name="T18" fmla="*/ 6351 w 6448"/>
                <a:gd name="T19" fmla="*/ 4880 h 5684"/>
                <a:gd name="T20" fmla="*/ 6189 w 6448"/>
                <a:gd name="T21" fmla="*/ 5323 h 5684"/>
                <a:gd name="T22" fmla="*/ 5887 w 6448"/>
                <a:gd name="T23" fmla="*/ 5497 h 5684"/>
                <a:gd name="T24" fmla="*/ 561 w 6448"/>
                <a:gd name="T25" fmla="*/ 5497 h 5684"/>
                <a:gd name="T26" fmla="*/ 259 w 6448"/>
                <a:gd name="T27" fmla="*/ 5323 h 5684"/>
                <a:gd name="T28" fmla="*/ 259 w 6448"/>
                <a:gd name="T29" fmla="*/ 4974 h 5684"/>
                <a:gd name="T30" fmla="*/ 2922 w 6448"/>
                <a:gd name="T31" fmla="*/ 361 h 5684"/>
                <a:gd name="T32" fmla="*/ 3224 w 6448"/>
                <a:gd name="T33" fmla="*/ 187 h 5684"/>
                <a:gd name="T34" fmla="*/ 3526 w 6448"/>
                <a:gd name="T35" fmla="*/ 361 h 5684"/>
                <a:gd name="T36" fmla="*/ 6189 w 6448"/>
                <a:gd name="T37" fmla="*/ 4974 h 5684"/>
                <a:gd name="T38" fmla="*/ 6189 w 6448"/>
                <a:gd name="T39" fmla="*/ 4974 h 5684"/>
                <a:gd name="T40" fmla="*/ 6189 w 6448"/>
                <a:gd name="T41" fmla="*/ 5323 h 5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48" h="5684">
                  <a:moveTo>
                    <a:pt x="6351" y="4880"/>
                  </a:moveTo>
                  <a:lnTo>
                    <a:pt x="3688" y="268"/>
                  </a:lnTo>
                  <a:cubicBezTo>
                    <a:pt x="3591" y="100"/>
                    <a:pt x="3418" y="0"/>
                    <a:pt x="3224" y="0"/>
                  </a:cubicBezTo>
                  <a:cubicBezTo>
                    <a:pt x="3030" y="0"/>
                    <a:pt x="2857" y="100"/>
                    <a:pt x="2760" y="268"/>
                  </a:cubicBezTo>
                  <a:lnTo>
                    <a:pt x="97" y="4880"/>
                  </a:lnTo>
                  <a:cubicBezTo>
                    <a:pt x="0" y="5048"/>
                    <a:pt x="0" y="5248"/>
                    <a:pt x="97" y="5416"/>
                  </a:cubicBezTo>
                  <a:cubicBezTo>
                    <a:pt x="194" y="5584"/>
                    <a:pt x="367" y="5684"/>
                    <a:pt x="561" y="5684"/>
                  </a:cubicBezTo>
                  <a:lnTo>
                    <a:pt x="5887" y="5684"/>
                  </a:lnTo>
                  <a:cubicBezTo>
                    <a:pt x="6081" y="5684"/>
                    <a:pt x="6254" y="5584"/>
                    <a:pt x="6351" y="5416"/>
                  </a:cubicBezTo>
                  <a:cubicBezTo>
                    <a:pt x="6448" y="5248"/>
                    <a:pt x="6448" y="5048"/>
                    <a:pt x="6351" y="4880"/>
                  </a:cubicBezTo>
                  <a:close/>
                  <a:moveTo>
                    <a:pt x="6189" y="5323"/>
                  </a:moveTo>
                  <a:cubicBezTo>
                    <a:pt x="6126" y="5432"/>
                    <a:pt x="6013" y="5497"/>
                    <a:pt x="5887" y="5497"/>
                  </a:cubicBezTo>
                  <a:lnTo>
                    <a:pt x="561" y="5497"/>
                  </a:lnTo>
                  <a:cubicBezTo>
                    <a:pt x="435" y="5497"/>
                    <a:pt x="322" y="5432"/>
                    <a:pt x="259" y="5323"/>
                  </a:cubicBezTo>
                  <a:cubicBezTo>
                    <a:pt x="196" y="5213"/>
                    <a:pt x="196" y="5083"/>
                    <a:pt x="259" y="4974"/>
                  </a:cubicBezTo>
                  <a:lnTo>
                    <a:pt x="2922" y="361"/>
                  </a:lnTo>
                  <a:cubicBezTo>
                    <a:pt x="2985" y="252"/>
                    <a:pt x="3098" y="187"/>
                    <a:pt x="3224" y="187"/>
                  </a:cubicBezTo>
                  <a:cubicBezTo>
                    <a:pt x="3350" y="187"/>
                    <a:pt x="3463" y="252"/>
                    <a:pt x="3526" y="361"/>
                  </a:cubicBezTo>
                  <a:lnTo>
                    <a:pt x="6189" y="4974"/>
                  </a:lnTo>
                  <a:lnTo>
                    <a:pt x="6189" y="4974"/>
                  </a:lnTo>
                  <a:cubicBezTo>
                    <a:pt x="6252" y="5083"/>
                    <a:pt x="6252" y="5213"/>
                    <a:pt x="6189" y="53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335">
              <a:extLst>
                <a:ext uri="{FF2B5EF4-FFF2-40B4-BE49-F238E27FC236}">
                  <a16:creationId xmlns:a16="http://schemas.microsoft.com/office/drawing/2014/main" id="{3A49D861-9C3F-4E5D-BE14-BD1BA3A0F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" y="2236"/>
              <a:ext cx="59" cy="99"/>
            </a:xfrm>
            <a:custGeom>
              <a:avLst/>
              <a:gdLst>
                <a:gd name="T0" fmla="*/ 188 w 2192"/>
                <a:gd name="T1" fmla="*/ 60 h 3643"/>
                <a:gd name="T2" fmla="*/ 60 w 2192"/>
                <a:gd name="T3" fmla="*/ 26 h 3643"/>
                <a:gd name="T4" fmla="*/ 25 w 2192"/>
                <a:gd name="T5" fmla="*/ 154 h 3643"/>
                <a:gd name="T6" fmla="*/ 1932 w 2192"/>
                <a:gd name="T7" fmla="*/ 3456 h 3643"/>
                <a:gd name="T8" fmla="*/ 407 w 2192"/>
                <a:gd name="T9" fmla="*/ 3456 h 3643"/>
                <a:gd name="T10" fmla="*/ 314 w 2192"/>
                <a:gd name="T11" fmla="*/ 3549 h 3643"/>
                <a:gd name="T12" fmla="*/ 407 w 2192"/>
                <a:gd name="T13" fmla="*/ 3643 h 3643"/>
                <a:gd name="T14" fmla="*/ 2094 w 2192"/>
                <a:gd name="T15" fmla="*/ 3643 h 3643"/>
                <a:gd name="T16" fmla="*/ 2175 w 2192"/>
                <a:gd name="T17" fmla="*/ 3596 h 3643"/>
                <a:gd name="T18" fmla="*/ 2175 w 2192"/>
                <a:gd name="T19" fmla="*/ 3503 h 3643"/>
                <a:gd name="T20" fmla="*/ 188 w 2192"/>
                <a:gd name="T21" fmla="*/ 60 h 3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92" h="3643">
                  <a:moveTo>
                    <a:pt x="188" y="60"/>
                  </a:moveTo>
                  <a:cubicBezTo>
                    <a:pt x="162" y="15"/>
                    <a:pt x="105" y="0"/>
                    <a:pt x="60" y="26"/>
                  </a:cubicBezTo>
                  <a:cubicBezTo>
                    <a:pt x="15" y="52"/>
                    <a:pt x="0" y="109"/>
                    <a:pt x="25" y="154"/>
                  </a:cubicBezTo>
                  <a:lnTo>
                    <a:pt x="1932" y="3456"/>
                  </a:lnTo>
                  <a:lnTo>
                    <a:pt x="407" y="3456"/>
                  </a:lnTo>
                  <a:cubicBezTo>
                    <a:pt x="356" y="3456"/>
                    <a:pt x="314" y="3498"/>
                    <a:pt x="314" y="3549"/>
                  </a:cubicBezTo>
                  <a:cubicBezTo>
                    <a:pt x="314" y="3601"/>
                    <a:pt x="356" y="3643"/>
                    <a:pt x="407" y="3643"/>
                  </a:cubicBezTo>
                  <a:lnTo>
                    <a:pt x="2094" y="3643"/>
                  </a:lnTo>
                  <a:cubicBezTo>
                    <a:pt x="2128" y="3643"/>
                    <a:pt x="2158" y="3625"/>
                    <a:pt x="2175" y="3596"/>
                  </a:cubicBezTo>
                  <a:cubicBezTo>
                    <a:pt x="2192" y="3567"/>
                    <a:pt x="2192" y="3532"/>
                    <a:pt x="2175" y="3503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336">
              <a:extLst>
                <a:ext uri="{FF2B5EF4-FFF2-40B4-BE49-F238E27FC236}">
                  <a16:creationId xmlns:a16="http://schemas.microsoft.com/office/drawing/2014/main" id="{0D793CFC-16E8-47AF-B64A-841594F4C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3" y="2218"/>
              <a:ext cx="75" cy="117"/>
            </a:xfrm>
            <a:custGeom>
              <a:avLst/>
              <a:gdLst>
                <a:gd name="T0" fmla="*/ 1785 w 2783"/>
                <a:gd name="T1" fmla="*/ 4137 h 4324"/>
                <a:gd name="T2" fmla="*/ 260 w 2783"/>
                <a:gd name="T3" fmla="*/ 4137 h 4324"/>
                <a:gd name="T4" fmla="*/ 2486 w 2783"/>
                <a:gd name="T5" fmla="*/ 282 h 4324"/>
                <a:gd name="T6" fmla="*/ 2595 w 2783"/>
                <a:gd name="T7" fmla="*/ 470 h 4324"/>
                <a:gd name="T8" fmla="*/ 2723 w 2783"/>
                <a:gd name="T9" fmla="*/ 504 h 4324"/>
                <a:gd name="T10" fmla="*/ 2757 w 2783"/>
                <a:gd name="T11" fmla="*/ 376 h 4324"/>
                <a:gd name="T12" fmla="*/ 2567 w 2783"/>
                <a:gd name="T13" fmla="*/ 47 h 4324"/>
                <a:gd name="T14" fmla="*/ 2486 w 2783"/>
                <a:gd name="T15" fmla="*/ 0 h 4324"/>
                <a:gd name="T16" fmla="*/ 2405 w 2783"/>
                <a:gd name="T17" fmla="*/ 47 h 4324"/>
                <a:gd name="T18" fmla="*/ 17 w 2783"/>
                <a:gd name="T19" fmla="*/ 4184 h 4324"/>
                <a:gd name="T20" fmla="*/ 17 w 2783"/>
                <a:gd name="T21" fmla="*/ 4277 h 4324"/>
                <a:gd name="T22" fmla="*/ 98 w 2783"/>
                <a:gd name="T23" fmla="*/ 4324 h 4324"/>
                <a:gd name="T24" fmla="*/ 1785 w 2783"/>
                <a:gd name="T25" fmla="*/ 4324 h 4324"/>
                <a:gd name="T26" fmla="*/ 1878 w 2783"/>
                <a:gd name="T27" fmla="*/ 4230 h 4324"/>
                <a:gd name="T28" fmla="*/ 1785 w 2783"/>
                <a:gd name="T29" fmla="*/ 4137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83" h="4324">
                  <a:moveTo>
                    <a:pt x="1785" y="4137"/>
                  </a:moveTo>
                  <a:lnTo>
                    <a:pt x="260" y="4137"/>
                  </a:lnTo>
                  <a:lnTo>
                    <a:pt x="2486" y="282"/>
                  </a:lnTo>
                  <a:lnTo>
                    <a:pt x="2595" y="470"/>
                  </a:lnTo>
                  <a:cubicBezTo>
                    <a:pt x="2621" y="515"/>
                    <a:pt x="2678" y="530"/>
                    <a:pt x="2723" y="504"/>
                  </a:cubicBezTo>
                  <a:cubicBezTo>
                    <a:pt x="2768" y="478"/>
                    <a:pt x="2783" y="421"/>
                    <a:pt x="2757" y="376"/>
                  </a:cubicBezTo>
                  <a:lnTo>
                    <a:pt x="2567" y="47"/>
                  </a:lnTo>
                  <a:cubicBezTo>
                    <a:pt x="2550" y="18"/>
                    <a:pt x="2519" y="0"/>
                    <a:pt x="2486" y="0"/>
                  </a:cubicBezTo>
                  <a:cubicBezTo>
                    <a:pt x="2452" y="0"/>
                    <a:pt x="2422" y="18"/>
                    <a:pt x="2405" y="47"/>
                  </a:cubicBezTo>
                  <a:lnTo>
                    <a:pt x="17" y="4184"/>
                  </a:lnTo>
                  <a:cubicBezTo>
                    <a:pt x="0" y="4213"/>
                    <a:pt x="0" y="4248"/>
                    <a:pt x="17" y="4277"/>
                  </a:cubicBezTo>
                  <a:cubicBezTo>
                    <a:pt x="34" y="4306"/>
                    <a:pt x="64" y="4324"/>
                    <a:pt x="98" y="4324"/>
                  </a:cubicBezTo>
                  <a:lnTo>
                    <a:pt x="1785" y="4324"/>
                  </a:lnTo>
                  <a:cubicBezTo>
                    <a:pt x="1836" y="4324"/>
                    <a:pt x="1878" y="4282"/>
                    <a:pt x="1878" y="4230"/>
                  </a:cubicBezTo>
                  <a:cubicBezTo>
                    <a:pt x="1878" y="4179"/>
                    <a:pt x="1836" y="4137"/>
                    <a:pt x="1785" y="41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37">
              <a:extLst>
                <a:ext uri="{FF2B5EF4-FFF2-40B4-BE49-F238E27FC236}">
                  <a16:creationId xmlns:a16="http://schemas.microsoft.com/office/drawing/2014/main" id="{8B78F123-C3ED-425E-B836-C4ABD96B5B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316"/>
              <a:ext cx="21" cy="21"/>
            </a:xfrm>
            <a:custGeom>
              <a:avLst/>
              <a:gdLst>
                <a:gd name="T0" fmla="*/ 394 w 788"/>
                <a:gd name="T1" fmla="*/ 0 h 788"/>
                <a:gd name="T2" fmla="*/ 0 w 788"/>
                <a:gd name="T3" fmla="*/ 394 h 788"/>
                <a:gd name="T4" fmla="*/ 394 w 788"/>
                <a:gd name="T5" fmla="*/ 788 h 788"/>
                <a:gd name="T6" fmla="*/ 788 w 788"/>
                <a:gd name="T7" fmla="*/ 394 h 788"/>
                <a:gd name="T8" fmla="*/ 394 w 788"/>
                <a:gd name="T9" fmla="*/ 0 h 788"/>
                <a:gd name="T10" fmla="*/ 394 w 788"/>
                <a:gd name="T11" fmla="*/ 601 h 788"/>
                <a:gd name="T12" fmla="*/ 187 w 788"/>
                <a:gd name="T13" fmla="*/ 394 h 788"/>
                <a:gd name="T14" fmla="*/ 394 w 788"/>
                <a:gd name="T15" fmla="*/ 187 h 788"/>
                <a:gd name="T16" fmla="*/ 601 w 788"/>
                <a:gd name="T17" fmla="*/ 394 h 788"/>
                <a:gd name="T18" fmla="*/ 394 w 788"/>
                <a:gd name="T19" fmla="*/ 60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8" h="788">
                  <a:moveTo>
                    <a:pt x="394" y="0"/>
                  </a:moveTo>
                  <a:cubicBezTo>
                    <a:pt x="177" y="0"/>
                    <a:pt x="0" y="177"/>
                    <a:pt x="0" y="394"/>
                  </a:cubicBezTo>
                  <a:cubicBezTo>
                    <a:pt x="0" y="612"/>
                    <a:pt x="177" y="788"/>
                    <a:pt x="394" y="788"/>
                  </a:cubicBezTo>
                  <a:cubicBezTo>
                    <a:pt x="611" y="788"/>
                    <a:pt x="788" y="612"/>
                    <a:pt x="788" y="394"/>
                  </a:cubicBezTo>
                  <a:cubicBezTo>
                    <a:pt x="788" y="177"/>
                    <a:pt x="611" y="0"/>
                    <a:pt x="394" y="0"/>
                  </a:cubicBezTo>
                  <a:close/>
                  <a:moveTo>
                    <a:pt x="394" y="601"/>
                  </a:moveTo>
                  <a:cubicBezTo>
                    <a:pt x="280" y="601"/>
                    <a:pt x="187" y="508"/>
                    <a:pt x="187" y="394"/>
                  </a:cubicBezTo>
                  <a:cubicBezTo>
                    <a:pt x="187" y="280"/>
                    <a:pt x="280" y="187"/>
                    <a:pt x="394" y="187"/>
                  </a:cubicBezTo>
                  <a:cubicBezTo>
                    <a:pt x="508" y="187"/>
                    <a:pt x="601" y="280"/>
                    <a:pt x="601" y="394"/>
                  </a:cubicBezTo>
                  <a:cubicBezTo>
                    <a:pt x="601" y="508"/>
                    <a:pt x="508" y="601"/>
                    <a:pt x="394" y="6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338">
              <a:extLst>
                <a:ext uri="{FF2B5EF4-FFF2-40B4-BE49-F238E27FC236}">
                  <a16:creationId xmlns:a16="http://schemas.microsoft.com/office/drawing/2014/main" id="{6D9C9B0E-B734-4AF8-A1C5-17422F9747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254"/>
              <a:ext cx="21" cy="56"/>
            </a:xfrm>
            <a:custGeom>
              <a:avLst/>
              <a:gdLst>
                <a:gd name="T0" fmla="*/ 196 w 782"/>
                <a:gd name="T1" fmla="*/ 0 h 2091"/>
                <a:gd name="T2" fmla="*/ 55 w 782"/>
                <a:gd name="T3" fmla="*/ 61 h 2091"/>
                <a:gd name="T4" fmla="*/ 2 w 782"/>
                <a:gd name="T5" fmla="*/ 204 h 2091"/>
                <a:gd name="T6" fmla="*/ 92 w 782"/>
                <a:gd name="T7" fmla="*/ 1908 h 2091"/>
                <a:gd name="T8" fmla="*/ 286 w 782"/>
                <a:gd name="T9" fmla="*/ 2091 h 2091"/>
                <a:gd name="T10" fmla="*/ 496 w 782"/>
                <a:gd name="T11" fmla="*/ 2091 h 2091"/>
                <a:gd name="T12" fmla="*/ 690 w 782"/>
                <a:gd name="T13" fmla="*/ 1908 h 2091"/>
                <a:gd name="T14" fmla="*/ 780 w 782"/>
                <a:gd name="T15" fmla="*/ 204 h 2091"/>
                <a:gd name="T16" fmla="*/ 727 w 782"/>
                <a:gd name="T17" fmla="*/ 61 h 2091"/>
                <a:gd name="T18" fmla="*/ 586 w 782"/>
                <a:gd name="T19" fmla="*/ 0 h 2091"/>
                <a:gd name="T20" fmla="*/ 196 w 782"/>
                <a:gd name="T21" fmla="*/ 0 h 2091"/>
                <a:gd name="T22" fmla="*/ 592 w 782"/>
                <a:gd name="T23" fmla="*/ 195 h 2091"/>
                <a:gd name="T24" fmla="*/ 503 w 782"/>
                <a:gd name="T25" fmla="*/ 1898 h 2091"/>
                <a:gd name="T26" fmla="*/ 496 w 782"/>
                <a:gd name="T27" fmla="*/ 1904 h 2091"/>
                <a:gd name="T28" fmla="*/ 286 w 782"/>
                <a:gd name="T29" fmla="*/ 1904 h 2091"/>
                <a:gd name="T30" fmla="*/ 279 w 782"/>
                <a:gd name="T31" fmla="*/ 1898 h 2091"/>
                <a:gd name="T32" fmla="*/ 190 w 782"/>
                <a:gd name="T33" fmla="*/ 195 h 2091"/>
                <a:gd name="T34" fmla="*/ 191 w 782"/>
                <a:gd name="T35" fmla="*/ 190 h 2091"/>
                <a:gd name="T36" fmla="*/ 196 w 782"/>
                <a:gd name="T37" fmla="*/ 188 h 2091"/>
                <a:gd name="T38" fmla="*/ 586 w 782"/>
                <a:gd name="T39" fmla="*/ 188 h 2091"/>
                <a:gd name="T40" fmla="*/ 591 w 782"/>
                <a:gd name="T41" fmla="*/ 190 h 2091"/>
                <a:gd name="T42" fmla="*/ 592 w 782"/>
                <a:gd name="T43" fmla="*/ 19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82" h="2091">
                  <a:moveTo>
                    <a:pt x="196" y="0"/>
                  </a:moveTo>
                  <a:cubicBezTo>
                    <a:pt x="143" y="0"/>
                    <a:pt x="92" y="22"/>
                    <a:pt x="55" y="61"/>
                  </a:cubicBezTo>
                  <a:cubicBezTo>
                    <a:pt x="19" y="99"/>
                    <a:pt x="0" y="151"/>
                    <a:pt x="2" y="204"/>
                  </a:cubicBezTo>
                  <a:lnTo>
                    <a:pt x="92" y="1908"/>
                  </a:lnTo>
                  <a:cubicBezTo>
                    <a:pt x="97" y="2011"/>
                    <a:pt x="182" y="2091"/>
                    <a:pt x="286" y="2091"/>
                  </a:cubicBezTo>
                  <a:lnTo>
                    <a:pt x="496" y="2091"/>
                  </a:lnTo>
                  <a:cubicBezTo>
                    <a:pt x="600" y="2091"/>
                    <a:pt x="685" y="2011"/>
                    <a:pt x="690" y="1908"/>
                  </a:cubicBezTo>
                  <a:lnTo>
                    <a:pt x="780" y="204"/>
                  </a:lnTo>
                  <a:cubicBezTo>
                    <a:pt x="782" y="151"/>
                    <a:pt x="763" y="99"/>
                    <a:pt x="727" y="61"/>
                  </a:cubicBezTo>
                  <a:cubicBezTo>
                    <a:pt x="690" y="22"/>
                    <a:pt x="639" y="0"/>
                    <a:pt x="586" y="0"/>
                  </a:cubicBezTo>
                  <a:lnTo>
                    <a:pt x="196" y="0"/>
                  </a:lnTo>
                  <a:close/>
                  <a:moveTo>
                    <a:pt x="592" y="195"/>
                  </a:moveTo>
                  <a:lnTo>
                    <a:pt x="503" y="1898"/>
                  </a:lnTo>
                  <a:cubicBezTo>
                    <a:pt x="503" y="1901"/>
                    <a:pt x="500" y="1904"/>
                    <a:pt x="496" y="1904"/>
                  </a:cubicBezTo>
                  <a:lnTo>
                    <a:pt x="286" y="1904"/>
                  </a:lnTo>
                  <a:cubicBezTo>
                    <a:pt x="282" y="1904"/>
                    <a:pt x="279" y="1901"/>
                    <a:pt x="279" y="1898"/>
                  </a:cubicBezTo>
                  <a:lnTo>
                    <a:pt x="190" y="195"/>
                  </a:lnTo>
                  <a:cubicBezTo>
                    <a:pt x="190" y="194"/>
                    <a:pt x="189" y="192"/>
                    <a:pt x="191" y="190"/>
                  </a:cubicBezTo>
                  <a:cubicBezTo>
                    <a:pt x="193" y="188"/>
                    <a:pt x="195" y="188"/>
                    <a:pt x="196" y="188"/>
                  </a:cubicBezTo>
                  <a:lnTo>
                    <a:pt x="586" y="188"/>
                  </a:lnTo>
                  <a:cubicBezTo>
                    <a:pt x="587" y="188"/>
                    <a:pt x="589" y="188"/>
                    <a:pt x="591" y="190"/>
                  </a:cubicBezTo>
                  <a:cubicBezTo>
                    <a:pt x="593" y="192"/>
                    <a:pt x="592" y="194"/>
                    <a:pt x="592" y="1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572440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906A1E2-B99D-42BC-BDA4-559569FF5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</a:t>
            </a:r>
            <a:br>
              <a:rPr lang="ru-RU" dirty="0"/>
            </a:br>
            <a:r>
              <a:rPr lang="ru-RU" dirty="0"/>
              <a:t>ISO 37001:2016 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и</a:t>
            </a:r>
            <a:r>
              <a:rPr lang="ru-RU" dirty="0"/>
              <a:t>» (1/10)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E8D61B-FF89-40F4-9F2A-B4F8617A9607}"/>
              </a:ext>
            </a:extLst>
          </p:cNvPr>
          <p:cNvSpPr txBox="1"/>
          <p:nvPr/>
        </p:nvSpPr>
        <p:spPr>
          <a:xfrm>
            <a:off x="3784798" y="1765869"/>
            <a:ext cx="3795514" cy="1596283"/>
          </a:xfrm>
          <a:prstGeom prst="rect">
            <a:avLst/>
          </a:prstGeom>
          <a:noFill/>
        </p:spPr>
        <p:txBody>
          <a:bodyPr wrap="square" lIns="54610" tIns="54610" rIns="54610" bIns="5461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2"/>
                </a:solidFill>
              </a:rPr>
              <a:t>Ушбу </a:t>
            </a:r>
            <a:r>
              <a:rPr lang="ru-RU" sz="1600" dirty="0" err="1">
                <a:solidFill>
                  <a:schemeClr val="tx2"/>
                </a:solidFill>
              </a:rPr>
              <a:t>тизим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ишлаши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ъминлаш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учу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шкилот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юқо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раҳбарият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шкилот</a:t>
            </a:r>
            <a:r>
              <a:rPr lang="ru-RU" sz="1600" dirty="0">
                <a:solidFill>
                  <a:schemeClr val="tx2"/>
                </a:solidFill>
              </a:rPr>
              <a:t> комплаенс </a:t>
            </a:r>
            <a:r>
              <a:rPr lang="ru-RU" sz="1600" dirty="0" err="1">
                <a:solidFill>
                  <a:schemeClr val="tx2"/>
                </a:solidFill>
              </a:rPr>
              <a:t>бўлинмаси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ирувч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шахс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ёк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и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гуру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шахслар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йинлайди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C9A3020-3D81-4978-B12B-95169D8C55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150" y="3008656"/>
            <a:ext cx="1295671" cy="183410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0EAE403-7C62-47A4-83C0-CCD4CB3CDDBA}"/>
              </a:ext>
            </a:extLst>
          </p:cNvPr>
          <p:cNvGrpSpPr/>
          <p:nvPr/>
        </p:nvGrpSpPr>
        <p:grpSpPr>
          <a:xfrm>
            <a:off x="3784798" y="3789591"/>
            <a:ext cx="7964290" cy="460375"/>
            <a:chOff x="431998" y="1497505"/>
            <a:chExt cx="7042690" cy="630869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93982D3F-72DA-4940-A8A8-F52411D784D0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CE44E55-06BC-4110-9E86-DF2113F357CC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мплаенс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инм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</a:rPr>
                <a:t>қуйидагилар</a:t>
              </a:r>
              <a:r>
                <a:rPr lang="ru-RU" sz="1600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съул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: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2162173-8F3E-4307-8C27-C7545941DF96}"/>
              </a:ext>
            </a:extLst>
          </p:cNvPr>
          <p:cNvSpPr txBox="1"/>
          <p:nvPr/>
        </p:nvSpPr>
        <p:spPr>
          <a:xfrm>
            <a:off x="4266167" y="4329735"/>
            <a:ext cx="7482921" cy="212298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12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монидан</a:t>
            </a:r>
            <a:r>
              <a:rPr lang="ru-RU" sz="1400" dirty="0">
                <a:solidFill>
                  <a:schemeClr val="tx2"/>
                </a:solidFill>
              </a:rPr>
              <a:t> коррупцияга қарши курашиш </a:t>
            </a:r>
            <a:r>
              <a:rPr lang="ru-RU" sz="1400" dirty="0" err="1">
                <a:solidFill>
                  <a:schemeClr val="tx2"/>
                </a:solidFill>
              </a:rPr>
              <a:t>менежмен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изим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ла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чиқ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ор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ст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азорат</a:t>
            </a:r>
            <a:endParaRPr lang="ru-RU" sz="1400" dirty="0">
              <a:solidFill>
                <a:schemeClr val="tx2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tx2"/>
                </a:solidFill>
              </a:rPr>
              <a:t>коррупцияга қарши курашиш </a:t>
            </a:r>
            <a:r>
              <a:rPr lang="ru-RU" sz="1400" dirty="0" err="1">
                <a:solidFill>
                  <a:schemeClr val="tx2"/>
                </a:solidFill>
              </a:rPr>
              <a:t>менежмен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изимининг</a:t>
            </a:r>
            <a:r>
              <a:rPr lang="ru-RU" sz="1400" dirty="0">
                <a:solidFill>
                  <a:schemeClr val="tx2"/>
                </a:solidFill>
              </a:rPr>
              <a:t> ISO 37001:2016 </a:t>
            </a:r>
            <a:r>
              <a:rPr lang="ru-RU" sz="1400" dirty="0" err="1">
                <a:solidFill>
                  <a:schemeClr val="tx2"/>
                </a:solidFill>
              </a:rPr>
              <a:t>талабл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вофиқлиг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ъминлаш</a:t>
            </a:r>
            <a:endParaRPr lang="ru-RU" sz="1400" dirty="0">
              <a:solidFill>
                <a:schemeClr val="tx2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tx2"/>
                </a:solidFill>
              </a:rPr>
              <a:t>коррупцияга қарши </a:t>
            </a:r>
            <a:r>
              <a:rPr lang="ru-RU" sz="1400" dirty="0" err="1">
                <a:solidFill>
                  <a:schemeClr val="tx2"/>
                </a:solidFill>
              </a:rPr>
              <a:t>менежмен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изим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орахў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ала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йич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одим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лаҳ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риш</a:t>
            </a:r>
            <a:endParaRPr lang="ru-RU" sz="1400" dirty="0">
              <a:solidFill>
                <a:schemeClr val="tx2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tx2"/>
                </a:solidFill>
              </a:rPr>
              <a:t>коррупцияга қарши </a:t>
            </a:r>
            <a:r>
              <a:rPr lang="ru-RU" sz="1400" dirty="0" err="1">
                <a:solidFill>
                  <a:schemeClr val="tx2"/>
                </a:solidFill>
              </a:rPr>
              <a:t>менежмен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изим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олат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ғрис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аҳбарият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абардо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endParaRPr lang="ru-RU" sz="1400" dirty="0">
              <a:solidFill>
                <a:schemeClr val="tx2"/>
              </a:solidFill>
            </a:endParaRPr>
          </a:p>
        </p:txBody>
      </p:sp>
      <p:grpSp>
        <p:nvGrpSpPr>
          <p:cNvPr id="19" name="Group 1589">
            <a:extLst>
              <a:ext uri="{FF2B5EF4-FFF2-40B4-BE49-F238E27FC236}">
                <a16:creationId xmlns:a16="http://schemas.microsoft.com/office/drawing/2014/main" id="{1E1D3E24-1331-4B30-9D90-5AF7F21123B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0950" y="4358854"/>
            <a:ext cx="387279" cy="389505"/>
            <a:chOff x="2384" y="844"/>
            <a:chExt cx="174" cy="175"/>
          </a:xfrm>
          <a:solidFill>
            <a:srgbClr val="1BD7D3"/>
          </a:solidFill>
        </p:grpSpPr>
        <p:sp>
          <p:nvSpPr>
            <p:cNvPr id="20" name="Freeform 1590">
              <a:extLst>
                <a:ext uri="{FF2B5EF4-FFF2-40B4-BE49-F238E27FC236}">
                  <a16:creationId xmlns:a16="http://schemas.microsoft.com/office/drawing/2014/main" id="{CA3A98AC-7FEB-4C0C-88E3-4CF431D96C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91">
              <a:extLst>
                <a:ext uri="{FF2B5EF4-FFF2-40B4-BE49-F238E27FC236}">
                  <a16:creationId xmlns:a16="http://schemas.microsoft.com/office/drawing/2014/main" id="{7FB1C065-9B80-4993-9C0C-CAE414CE5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592">
              <a:extLst>
                <a:ext uri="{FF2B5EF4-FFF2-40B4-BE49-F238E27FC236}">
                  <a16:creationId xmlns:a16="http://schemas.microsoft.com/office/drawing/2014/main" id="{3F6CB679-9BAA-483F-BFCC-280224EAC7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1589">
            <a:extLst>
              <a:ext uri="{FF2B5EF4-FFF2-40B4-BE49-F238E27FC236}">
                <a16:creationId xmlns:a16="http://schemas.microsoft.com/office/drawing/2014/main" id="{AB1611EB-E1A5-4B7E-834C-739E23CFE1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0950" y="5002157"/>
            <a:ext cx="387279" cy="389505"/>
            <a:chOff x="2384" y="844"/>
            <a:chExt cx="174" cy="175"/>
          </a:xfrm>
          <a:solidFill>
            <a:srgbClr val="1BD7D3"/>
          </a:solidFill>
        </p:grpSpPr>
        <p:sp>
          <p:nvSpPr>
            <p:cNvPr id="24" name="Freeform 1590">
              <a:extLst>
                <a:ext uri="{FF2B5EF4-FFF2-40B4-BE49-F238E27FC236}">
                  <a16:creationId xmlns:a16="http://schemas.microsoft.com/office/drawing/2014/main" id="{76639A29-59A9-4225-8706-C51923FC5D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591">
              <a:extLst>
                <a:ext uri="{FF2B5EF4-FFF2-40B4-BE49-F238E27FC236}">
                  <a16:creationId xmlns:a16="http://schemas.microsoft.com/office/drawing/2014/main" id="{D09C73CF-19CF-4FE2-BE18-F9EC5842FF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592">
              <a:extLst>
                <a:ext uri="{FF2B5EF4-FFF2-40B4-BE49-F238E27FC236}">
                  <a16:creationId xmlns:a16="http://schemas.microsoft.com/office/drawing/2014/main" id="{4B12532B-F4E6-474B-9EC6-8C0BAC7C33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1589">
            <a:extLst>
              <a:ext uri="{FF2B5EF4-FFF2-40B4-BE49-F238E27FC236}">
                <a16:creationId xmlns:a16="http://schemas.microsoft.com/office/drawing/2014/main" id="{C1927795-296B-4907-B862-5BB3B619F79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0950" y="6122108"/>
            <a:ext cx="387279" cy="389505"/>
            <a:chOff x="2384" y="844"/>
            <a:chExt cx="174" cy="175"/>
          </a:xfrm>
          <a:solidFill>
            <a:srgbClr val="1BD7D3"/>
          </a:solidFill>
        </p:grpSpPr>
        <p:sp>
          <p:nvSpPr>
            <p:cNvPr id="28" name="Freeform 1590">
              <a:extLst>
                <a:ext uri="{FF2B5EF4-FFF2-40B4-BE49-F238E27FC236}">
                  <a16:creationId xmlns:a16="http://schemas.microsoft.com/office/drawing/2014/main" id="{8F3CD934-1B3F-422A-9A2E-259BA271E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591">
              <a:extLst>
                <a:ext uri="{FF2B5EF4-FFF2-40B4-BE49-F238E27FC236}">
                  <a16:creationId xmlns:a16="http://schemas.microsoft.com/office/drawing/2014/main" id="{DF625959-DA99-4F1A-8A3A-DD21848573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592">
              <a:extLst>
                <a:ext uri="{FF2B5EF4-FFF2-40B4-BE49-F238E27FC236}">
                  <a16:creationId xmlns:a16="http://schemas.microsoft.com/office/drawing/2014/main" id="{699C194F-9030-4A4C-9EC1-1E1D0A8D2C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Group 1589">
            <a:extLst>
              <a:ext uri="{FF2B5EF4-FFF2-40B4-BE49-F238E27FC236}">
                <a16:creationId xmlns:a16="http://schemas.microsoft.com/office/drawing/2014/main" id="{ECF6F6EB-0B38-489C-9B2B-E515C8DC31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90950" y="5569054"/>
            <a:ext cx="387279" cy="389505"/>
            <a:chOff x="2384" y="844"/>
            <a:chExt cx="174" cy="175"/>
          </a:xfrm>
          <a:solidFill>
            <a:srgbClr val="1BD7D3"/>
          </a:solidFill>
        </p:grpSpPr>
        <p:sp>
          <p:nvSpPr>
            <p:cNvPr id="40" name="Freeform 1590">
              <a:extLst>
                <a:ext uri="{FF2B5EF4-FFF2-40B4-BE49-F238E27FC236}">
                  <a16:creationId xmlns:a16="http://schemas.microsoft.com/office/drawing/2014/main" id="{0FB7E814-28D1-49A9-9580-D8B9581253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591">
              <a:extLst>
                <a:ext uri="{FF2B5EF4-FFF2-40B4-BE49-F238E27FC236}">
                  <a16:creationId xmlns:a16="http://schemas.microsoft.com/office/drawing/2014/main" id="{AD651F12-10C7-4E04-8143-EEC9F4CEB0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92">
              <a:extLst>
                <a:ext uri="{FF2B5EF4-FFF2-40B4-BE49-F238E27FC236}">
                  <a16:creationId xmlns:a16="http://schemas.microsoft.com/office/drawing/2014/main" id="{F6E405E1-3DC7-43F8-8BAD-35C395F871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C298000A-FAB1-4D56-9895-4FA2D637FB57}"/>
              </a:ext>
            </a:extLst>
          </p:cNvPr>
          <p:cNvSpPr txBox="1"/>
          <p:nvPr/>
        </p:nvSpPr>
        <p:spPr>
          <a:xfrm>
            <a:off x="438150" y="1282700"/>
            <a:ext cx="2876550" cy="156966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га қарши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жмент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зими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уний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гарлик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шкилотнинг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ҳбарияти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ммасига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600" b="1" dirty="0" err="1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кланади</a:t>
            </a:r>
            <a:r>
              <a:rPr lang="ru-RU" sz="1600" b="1" dirty="0">
                <a:solidFill>
                  <a:srgbClr val="130A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425B207-2566-4511-81D4-5D3BF3397849}"/>
              </a:ext>
            </a:extLst>
          </p:cNvPr>
          <p:cNvSpPr/>
          <p:nvPr/>
        </p:nvSpPr>
        <p:spPr>
          <a:xfrm>
            <a:off x="7953574" y="1846721"/>
            <a:ext cx="3795514" cy="64011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rgbClr val="2112A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44371" rIns="91440" bIns="44371" rtlCol="0" anchor="ctr">
            <a:noAutofit/>
          </a:bodyPr>
          <a:lstStyle/>
          <a:p>
            <a:pPr algn="ctr"/>
            <a:r>
              <a:rPr lang="ru-RU" sz="1600" b="1" dirty="0" err="1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ташкилотнинг</a:t>
            </a:r>
            <a:r>
              <a: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600" b="1" dirty="0" err="1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юқори</a:t>
            </a:r>
            <a:r>
              <a: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600" b="1" dirty="0" err="1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раҳбарияти</a:t>
            </a:r>
            <a:endParaRPr lang="ru-RU" sz="1600" b="1" dirty="0">
              <a:solidFill>
                <a:srgbClr val="3A07DF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CA686FB8-0998-4C17-807E-7C26D1403025}"/>
              </a:ext>
            </a:extLst>
          </p:cNvPr>
          <p:cNvSpPr/>
          <p:nvPr/>
        </p:nvSpPr>
        <p:spPr>
          <a:xfrm>
            <a:off x="7953574" y="2818156"/>
            <a:ext cx="3795514" cy="64011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3175">
            <a:solidFill>
              <a:srgbClr val="2112A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44371" rIns="91440" bIns="44371" rtlCol="0" anchor="ctr">
            <a:noAutofit/>
          </a:bodyPr>
          <a:lstStyle/>
          <a:p>
            <a:pPr algn="ctr"/>
            <a:r>
              <a:rPr lang="ru-RU" sz="1600" b="1" dirty="0" err="1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ташкилотнинг</a:t>
            </a:r>
            <a:r>
              <a: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 комплаенс </a:t>
            </a:r>
            <a:r>
              <a:rPr lang="ru-RU" sz="1600" b="1" dirty="0" err="1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бўлинмасига</a:t>
            </a:r>
            <a:r>
              <a: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rPr>
              <a:t> 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D21F52B-6DF7-4BD9-8B19-7C9C4C192899}"/>
              </a:ext>
            </a:extLst>
          </p:cNvPr>
          <p:cNvGrpSpPr/>
          <p:nvPr/>
        </p:nvGrpSpPr>
        <p:grpSpPr>
          <a:xfrm rot="5400000">
            <a:off x="9726061" y="2463965"/>
            <a:ext cx="238043" cy="374571"/>
            <a:chOff x="3841139" y="1940745"/>
            <a:chExt cx="238043" cy="442712"/>
          </a:xfrm>
          <a:solidFill>
            <a:srgbClr val="130A65"/>
          </a:solidFill>
        </p:grpSpPr>
        <p:sp>
          <p:nvSpPr>
            <p:cNvPr id="38" name="Arrow: Chevron 37">
              <a:extLst>
                <a:ext uri="{FF2B5EF4-FFF2-40B4-BE49-F238E27FC236}">
                  <a16:creationId xmlns:a16="http://schemas.microsoft.com/office/drawing/2014/main" id="{28600A71-4D03-4802-A53F-76B6FD5B0113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43" name="Arrow: Chevron 42">
              <a:extLst>
                <a:ext uri="{FF2B5EF4-FFF2-40B4-BE49-F238E27FC236}">
                  <a16:creationId xmlns:a16="http://schemas.microsoft.com/office/drawing/2014/main" id="{6B625A59-C76B-44C7-8D32-C67BBD2EE4E2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9220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19D6C36-136A-4A9E-BB0C-FACCB245B6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150" y="1891968"/>
            <a:ext cx="1295671" cy="18341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17D7B8-F7FE-4026-8EB1-A86C4F032D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ISO 37001:2016 </a:t>
            </a:r>
            <a:br>
              <a:rPr lang="ru-RU" dirty="0"/>
            </a:br>
            <a:r>
              <a:rPr lang="ru-RU" dirty="0"/>
              <a:t>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лари</a:t>
            </a:r>
            <a:r>
              <a:rPr lang="ru-RU" dirty="0"/>
              <a:t>» (2/10)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A92D5D2-9F4E-4DB9-B888-09082503A8A3}"/>
              </a:ext>
            </a:extLst>
          </p:cNvPr>
          <p:cNvGrpSpPr/>
          <p:nvPr/>
        </p:nvGrpSpPr>
        <p:grpSpPr>
          <a:xfrm>
            <a:off x="431998" y="1291411"/>
            <a:ext cx="11353800" cy="460375"/>
            <a:chOff x="431998" y="1497505"/>
            <a:chExt cx="7042690" cy="630869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7C87A07-9FF2-44F9-BE2A-621BC9C6B129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38EAAF6A-F1D0-4065-A82C-A10B4C4B2D2E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Ўз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функциялар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ажарилиш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ъминла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мплаенс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инмас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уйидагиларг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г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и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лозим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:</a:t>
              </a:r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A71432B8-2FF6-482A-8782-FCE87ACD2B32}"/>
              </a:ext>
            </a:extLst>
          </p:cNvPr>
          <p:cNvSpPr txBox="1">
            <a:spLocks/>
          </p:cNvSpPr>
          <p:nvPr/>
        </p:nvSpPr>
        <p:spPr>
          <a:xfrm>
            <a:off x="2659116" y="2063821"/>
            <a:ext cx="3815255" cy="596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430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мпетенцияларга</a:t>
            </a:r>
            <a:endParaRPr lang="ru-RU" sz="1600" b="1" dirty="0">
              <a:solidFill>
                <a:schemeClr val="bg2">
                  <a:lumMod val="25000"/>
                </a:schemeClr>
              </a:solidFill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Зару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мпетенция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uz-Cyrl-UZ" sz="1400" dirty="0">
                <a:solidFill>
                  <a:schemeClr val="tx2"/>
                </a:solidFill>
              </a:rPr>
              <a:t>э</a:t>
            </a:r>
            <a:r>
              <a:rPr lang="ru-RU" sz="1400" dirty="0">
                <a:solidFill>
                  <a:schemeClr val="tx2"/>
                </a:solidFill>
              </a:rPr>
              <a:t>га </a:t>
            </a:r>
            <a:r>
              <a:rPr lang="ru-RU" sz="1400" dirty="0" err="1">
                <a:solidFill>
                  <a:schemeClr val="tx2"/>
                </a:solidFill>
              </a:rPr>
              <a:t>бўлиш</a:t>
            </a:r>
            <a:r>
              <a:rPr lang="ru-RU" sz="1400" dirty="0">
                <a:solidFill>
                  <a:schemeClr val="tx2"/>
                </a:solidFill>
              </a:rPr>
              <a:t>, коррупцияга қарши комплаенс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егиш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ълумот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тайёрга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жриба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ш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шунингдек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ўз</a:t>
            </a:r>
            <a:r>
              <a:rPr lang="ru-RU" sz="1400" dirty="0">
                <a:solidFill>
                  <a:schemeClr val="tx2"/>
                </a:solidFill>
              </a:rPr>
              <a:t> роли </a:t>
            </a:r>
            <a:r>
              <a:rPr lang="ru-RU" sz="1400" dirty="0" err="1">
                <a:solidFill>
                  <a:schemeClr val="tx2"/>
                </a:solidFill>
              </a:rPr>
              <a:t>талабл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аво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ра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билият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ераклиг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нглата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C04D26EC-9A5C-4D74-99D9-2E747F221349}"/>
              </a:ext>
            </a:extLst>
          </p:cNvPr>
          <p:cNvSpPr txBox="1">
            <a:spLocks/>
          </p:cNvSpPr>
          <p:nvPr/>
        </p:nvSpPr>
        <p:spPr>
          <a:xfrm>
            <a:off x="2659116" y="4052851"/>
            <a:ext cx="3645831" cy="596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430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Мақомга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ru-RU" sz="1400" dirty="0">
                <a:solidFill>
                  <a:schemeClr val="tx2"/>
                </a:solidFill>
              </a:rPr>
              <a:t>Мақомга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б</a:t>
            </a:r>
            <a:r>
              <a:rPr lang="uz-Cyrl-UZ" sz="1400" dirty="0">
                <a:solidFill>
                  <a:schemeClr val="tx2"/>
                </a:solidFill>
              </a:rPr>
              <a:t>ў</a:t>
            </a:r>
            <a:r>
              <a:rPr lang="ru-RU" sz="1400" dirty="0" err="1">
                <a:solidFill>
                  <a:schemeClr val="tx2"/>
                </a:solidFill>
              </a:rPr>
              <a:t>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орахўрликка</a:t>
            </a:r>
            <a:r>
              <a:rPr lang="ru-RU" sz="1400" dirty="0">
                <a:solidFill>
                  <a:schemeClr val="tx2"/>
                </a:solidFill>
              </a:rPr>
              <a:t> қарши </a:t>
            </a:r>
            <a:r>
              <a:rPr lang="ru-RU" sz="1400" dirty="0" err="1">
                <a:solidFill>
                  <a:schemeClr val="tx2"/>
                </a:solidFill>
              </a:rPr>
              <a:t>талаб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иоя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икр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шқ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одим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мон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инглан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урм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ин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нглата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471C27C3-1439-4ADB-9092-8EA5D6B82DA6}"/>
              </a:ext>
            </a:extLst>
          </p:cNvPr>
          <p:cNvSpPr txBox="1">
            <a:spLocks/>
          </p:cNvSpPr>
          <p:nvPr/>
        </p:nvSpPr>
        <p:spPr>
          <a:xfrm>
            <a:off x="7104992" y="2063821"/>
            <a:ext cx="4644096" cy="596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430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колатларга</a:t>
            </a:r>
            <a:endParaRPr lang="ru-RU" sz="1600" b="1" dirty="0">
              <a:solidFill>
                <a:schemeClr val="bg2">
                  <a:lumMod val="25000"/>
                </a:schemeClr>
              </a:solidFill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ru-RU" sz="1400" dirty="0">
                <a:solidFill>
                  <a:schemeClr val="tx2"/>
                </a:solidFill>
              </a:rPr>
              <a:t>Комплаенс </a:t>
            </a:r>
            <a:r>
              <a:rPr lang="ru-RU" sz="1400" dirty="0" err="1">
                <a:solidFill>
                  <a:schemeClr val="tx2"/>
                </a:solidFill>
              </a:rPr>
              <a:t>бўлинмас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зифа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мара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жар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қо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аҳбарият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мон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етар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колат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ъминлан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зарур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4406B35F-3494-4624-8809-091F2441E142}"/>
              </a:ext>
            </a:extLst>
          </p:cNvPr>
          <p:cNvSpPr txBox="1">
            <a:spLocks/>
          </p:cNvSpPr>
          <p:nvPr/>
        </p:nvSpPr>
        <p:spPr>
          <a:xfrm>
            <a:off x="7104993" y="4052851"/>
            <a:ext cx="4644096" cy="596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430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Мустақилликка</a:t>
            </a:r>
            <a:endParaRPr lang="ru-RU" sz="1600" b="1" dirty="0">
              <a:solidFill>
                <a:schemeClr val="bg2">
                  <a:lumMod val="25000"/>
                </a:schemeClr>
              </a:solidFill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ru-RU" sz="1400" dirty="0">
                <a:solidFill>
                  <a:schemeClr val="tx2"/>
                </a:solidFill>
              </a:rPr>
              <a:t>Мустақиллик </a:t>
            </a:r>
            <a:r>
              <a:rPr lang="ru-RU" sz="1400" dirty="0" err="1">
                <a:solidFill>
                  <a:schemeClr val="tx2"/>
                </a:solidFill>
              </a:rPr>
              <a:t>шу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нглатадики</a:t>
            </a:r>
            <a:r>
              <a:rPr lang="ru-RU" sz="1400" dirty="0">
                <a:solidFill>
                  <a:schemeClr val="tx2"/>
                </a:solidFill>
              </a:rPr>
              <a:t>, комплаенс </a:t>
            </a:r>
            <a:r>
              <a:rPr lang="uz-Cyrl-UZ" sz="1400" dirty="0">
                <a:solidFill>
                  <a:schemeClr val="tx2"/>
                </a:solidFill>
              </a:rPr>
              <a:t>бўлинмаси </a:t>
            </a:r>
            <a:r>
              <a:rPr lang="ru-RU" sz="1400" dirty="0" err="1">
                <a:solidFill>
                  <a:schemeClr val="tx2"/>
                </a:solidFill>
              </a:rPr>
              <a:t>илож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рич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нинг</a:t>
            </a:r>
            <a:r>
              <a:rPr lang="ru-RU" sz="1400" dirty="0">
                <a:solidFill>
                  <a:schemeClr val="tx2"/>
                </a:solidFill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</a:rPr>
              <a:t>хавф-хат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қо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ункциял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ал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лмайди</a:t>
            </a:r>
            <a:r>
              <a:rPr lang="ru-RU" sz="1400" dirty="0">
                <a:solidFill>
                  <a:schemeClr val="tx2"/>
                </a:solidFill>
              </a:rPr>
              <a:t>. Агар </a:t>
            </a:r>
            <a:r>
              <a:rPr lang="ru-RU" sz="1400" dirty="0" err="1">
                <a:solidFill>
                  <a:schemeClr val="tx2"/>
                </a:solidFill>
              </a:rPr>
              <a:t>ташкилотда</a:t>
            </a:r>
            <a:r>
              <a:rPr lang="ru-RU" sz="1400" dirty="0">
                <a:solidFill>
                  <a:schemeClr val="tx2"/>
                </a:solidFill>
              </a:rPr>
              <a:t> комплаенс </a:t>
            </a:r>
            <a:r>
              <a:rPr lang="ru-RU" sz="1400" dirty="0" err="1">
                <a:solidFill>
                  <a:schemeClr val="tx2"/>
                </a:solidFill>
              </a:rPr>
              <a:t>бўлинм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рн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шбу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ол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uz-Cyrl-UZ" sz="1400" dirty="0">
                <a:solidFill>
                  <a:schemeClr val="tx2"/>
                </a:solidFill>
              </a:rPr>
              <a:t>тўлиқсиз </a:t>
            </a:r>
            <a:r>
              <a:rPr lang="ru-RU" sz="1400" dirty="0" err="1">
                <a:solidFill>
                  <a:schemeClr val="tx2"/>
                </a:solidFill>
              </a:rPr>
              <a:t>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н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лайдиган</a:t>
            </a:r>
            <a:r>
              <a:rPr lang="ru-RU" sz="1400" dirty="0">
                <a:solidFill>
                  <a:schemeClr val="tx2"/>
                </a:solidFill>
              </a:rPr>
              <a:t> коррупцияга қарши курашиш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ягон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йинлан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са</a:t>
            </a:r>
            <a:r>
              <a:rPr lang="ru-RU" sz="1400" dirty="0">
                <a:solidFill>
                  <a:schemeClr val="tx2"/>
                </a:solidFill>
              </a:rPr>
              <a:t>, у </a:t>
            </a:r>
            <a:r>
              <a:rPr lang="ru-RU" sz="1400" dirty="0" err="1">
                <a:solidFill>
                  <a:schemeClr val="tx2"/>
                </a:solidFill>
              </a:rPr>
              <a:t>ўз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шқ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ункция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жариш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орахў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авф-хат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уч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елмасли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лозим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32" name="object 12">
            <a:extLst>
              <a:ext uri="{FF2B5EF4-FFF2-40B4-BE49-F238E27FC236}">
                <a16:creationId xmlns:a16="http://schemas.microsoft.com/office/drawing/2014/main" id="{30BF0670-051F-431E-9A63-F3C9ECF70036}"/>
              </a:ext>
            </a:extLst>
          </p:cNvPr>
          <p:cNvSpPr/>
          <p:nvPr/>
        </p:nvSpPr>
        <p:spPr>
          <a:xfrm>
            <a:off x="1845745" y="190692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3" name="Group 978">
            <a:extLst>
              <a:ext uri="{FF2B5EF4-FFF2-40B4-BE49-F238E27FC236}">
                <a16:creationId xmlns:a16="http://schemas.microsoft.com/office/drawing/2014/main" id="{3A84D03C-A4E0-4D19-9087-F1E97E9854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42270" y="1966135"/>
            <a:ext cx="527050" cy="584486"/>
            <a:chOff x="1683" y="2579"/>
            <a:chExt cx="156" cy="173"/>
          </a:xfrm>
          <a:solidFill>
            <a:schemeClr val="bg2">
              <a:lumMod val="25000"/>
            </a:schemeClr>
          </a:solidFill>
        </p:grpSpPr>
        <p:sp>
          <p:nvSpPr>
            <p:cNvPr id="34" name="Freeform 979">
              <a:extLst>
                <a:ext uri="{FF2B5EF4-FFF2-40B4-BE49-F238E27FC236}">
                  <a16:creationId xmlns:a16="http://schemas.microsoft.com/office/drawing/2014/main" id="{E138C19F-33A5-4EE7-891E-79DD9F5AAB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3" y="2579"/>
              <a:ext cx="99" cy="160"/>
            </a:xfrm>
            <a:custGeom>
              <a:avLst/>
              <a:gdLst>
                <a:gd name="T0" fmla="*/ 2842 w 3666"/>
                <a:gd name="T1" fmla="*/ 2815 h 5920"/>
                <a:gd name="T2" fmla="*/ 3036 w 3666"/>
                <a:gd name="T3" fmla="*/ 2054 h 5920"/>
                <a:gd name="T4" fmla="*/ 3330 w 3666"/>
                <a:gd name="T5" fmla="*/ 1764 h 5920"/>
                <a:gd name="T6" fmla="*/ 3037 w 3666"/>
                <a:gd name="T7" fmla="*/ 367 h 5920"/>
                <a:gd name="T8" fmla="*/ 840 w 3666"/>
                <a:gd name="T9" fmla="*/ 855 h 5920"/>
                <a:gd name="T10" fmla="*/ 748 w 3666"/>
                <a:gd name="T11" fmla="*/ 1764 h 5920"/>
                <a:gd name="T12" fmla="*/ 1042 w 3666"/>
                <a:gd name="T13" fmla="*/ 2054 h 5920"/>
                <a:gd name="T14" fmla="*/ 1236 w 3666"/>
                <a:gd name="T15" fmla="*/ 2815 h 5920"/>
                <a:gd name="T16" fmla="*/ 11 w 3666"/>
                <a:gd name="T17" fmla="*/ 3925 h 5920"/>
                <a:gd name="T18" fmla="*/ 185 w 3666"/>
                <a:gd name="T19" fmla="*/ 5920 h 5920"/>
                <a:gd name="T20" fmla="*/ 217 w 3666"/>
                <a:gd name="T21" fmla="*/ 3771 h 5920"/>
                <a:gd name="T22" fmla="*/ 655 w 3666"/>
                <a:gd name="T23" fmla="*/ 5826 h 5920"/>
                <a:gd name="T24" fmla="*/ 843 w 3666"/>
                <a:gd name="T25" fmla="*/ 4400 h 5920"/>
                <a:gd name="T26" fmla="*/ 492 w 3666"/>
                <a:gd name="T27" fmla="*/ 3471 h 5920"/>
                <a:gd name="T28" fmla="*/ 1580 w 3666"/>
                <a:gd name="T29" fmla="*/ 3974 h 5920"/>
                <a:gd name="T30" fmla="*/ 1669 w 3666"/>
                <a:gd name="T31" fmla="*/ 5822 h 5920"/>
                <a:gd name="T32" fmla="*/ 1856 w 3666"/>
                <a:gd name="T33" fmla="*/ 5830 h 5920"/>
                <a:gd name="T34" fmla="*/ 2222 w 3666"/>
                <a:gd name="T35" fmla="*/ 5830 h 5920"/>
                <a:gd name="T36" fmla="*/ 2409 w 3666"/>
                <a:gd name="T37" fmla="*/ 5822 h 5920"/>
                <a:gd name="T38" fmla="*/ 2498 w 3666"/>
                <a:gd name="T39" fmla="*/ 3974 h 5920"/>
                <a:gd name="T40" fmla="*/ 3526 w 3666"/>
                <a:gd name="T41" fmla="*/ 3448 h 5920"/>
                <a:gd name="T42" fmla="*/ 3594 w 3666"/>
                <a:gd name="T43" fmla="*/ 3273 h 5920"/>
                <a:gd name="T44" fmla="*/ 1007 w 3666"/>
                <a:gd name="T45" fmla="*/ 1864 h 5920"/>
                <a:gd name="T46" fmla="*/ 1008 w 3666"/>
                <a:gd name="T47" fmla="*/ 1595 h 5920"/>
                <a:gd name="T48" fmla="*/ 1280 w 3666"/>
                <a:gd name="T49" fmla="*/ 1657 h 5920"/>
                <a:gd name="T50" fmla="*/ 1313 w 3666"/>
                <a:gd name="T51" fmla="*/ 1354 h 5920"/>
                <a:gd name="T52" fmla="*/ 1027 w 3666"/>
                <a:gd name="T53" fmla="*/ 855 h 5920"/>
                <a:gd name="T54" fmla="*/ 1382 w 3666"/>
                <a:gd name="T55" fmla="*/ 462 h 5920"/>
                <a:gd name="T56" fmla="*/ 3066 w 3666"/>
                <a:gd name="T57" fmla="*/ 1406 h 5920"/>
                <a:gd name="T58" fmla="*/ 2771 w 3666"/>
                <a:gd name="T59" fmla="*/ 1132 h 5920"/>
                <a:gd name="T60" fmla="*/ 1321 w 3666"/>
                <a:gd name="T61" fmla="*/ 1006 h 5920"/>
                <a:gd name="T62" fmla="*/ 2993 w 3666"/>
                <a:gd name="T63" fmla="*/ 1600 h 5920"/>
                <a:gd name="T64" fmla="*/ 3143 w 3666"/>
                <a:gd name="T65" fmla="*/ 1764 h 5920"/>
                <a:gd name="T66" fmla="*/ 2852 w 3666"/>
                <a:gd name="T67" fmla="*/ 2018 h 5920"/>
                <a:gd name="T68" fmla="*/ 1671 w 3666"/>
                <a:gd name="T69" fmla="*/ 3762 h 5920"/>
                <a:gd name="T70" fmla="*/ 1146 w 3666"/>
                <a:gd name="T71" fmla="*/ 3170 h 5920"/>
                <a:gd name="T72" fmla="*/ 1671 w 3666"/>
                <a:gd name="T73" fmla="*/ 3762 h 5920"/>
                <a:gd name="T74" fmla="*/ 2039 w 3666"/>
                <a:gd name="T75" fmla="*/ 3659 h 5920"/>
                <a:gd name="T76" fmla="*/ 1941 w 3666"/>
                <a:gd name="T77" fmla="*/ 3893 h 5920"/>
                <a:gd name="T78" fmla="*/ 1488 w 3666"/>
                <a:gd name="T79" fmla="*/ 2720 h 5920"/>
                <a:gd name="T80" fmla="*/ 2590 w 3666"/>
                <a:gd name="T81" fmla="*/ 2919 h 5920"/>
                <a:gd name="T82" fmla="*/ 2480 w 3666"/>
                <a:gd name="T83" fmla="*/ 3788 h 5920"/>
                <a:gd name="T84" fmla="*/ 2772 w 3666"/>
                <a:gd name="T85" fmla="*/ 3010 h 5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66" h="5920">
                  <a:moveTo>
                    <a:pt x="3594" y="3273"/>
                  </a:moveTo>
                  <a:lnTo>
                    <a:pt x="3116" y="3089"/>
                  </a:lnTo>
                  <a:lnTo>
                    <a:pt x="2842" y="2815"/>
                  </a:lnTo>
                  <a:cubicBezTo>
                    <a:pt x="2824" y="2797"/>
                    <a:pt x="2801" y="2788"/>
                    <a:pt x="2777" y="2788"/>
                  </a:cubicBezTo>
                  <a:lnTo>
                    <a:pt x="2777" y="2564"/>
                  </a:lnTo>
                  <a:cubicBezTo>
                    <a:pt x="2907" y="2426"/>
                    <a:pt x="2999" y="2251"/>
                    <a:pt x="3036" y="2054"/>
                  </a:cubicBezTo>
                  <a:cubicBezTo>
                    <a:pt x="3036" y="2053"/>
                    <a:pt x="3036" y="2053"/>
                    <a:pt x="3036" y="2053"/>
                  </a:cubicBezTo>
                  <a:cubicBezTo>
                    <a:pt x="3060" y="2055"/>
                    <a:pt x="3084" y="2053"/>
                    <a:pt x="3108" y="2048"/>
                  </a:cubicBezTo>
                  <a:cubicBezTo>
                    <a:pt x="3237" y="2022"/>
                    <a:pt x="3330" y="1902"/>
                    <a:pt x="3330" y="1764"/>
                  </a:cubicBezTo>
                  <a:lnTo>
                    <a:pt x="3330" y="1692"/>
                  </a:lnTo>
                  <a:cubicBezTo>
                    <a:pt x="3330" y="1611"/>
                    <a:pt x="3297" y="1536"/>
                    <a:pt x="3243" y="1484"/>
                  </a:cubicBezTo>
                  <a:cubicBezTo>
                    <a:pt x="3331" y="1010"/>
                    <a:pt x="3260" y="625"/>
                    <a:pt x="3037" y="367"/>
                  </a:cubicBezTo>
                  <a:cubicBezTo>
                    <a:pt x="2822" y="119"/>
                    <a:pt x="2475" y="0"/>
                    <a:pt x="2034" y="24"/>
                  </a:cubicBezTo>
                  <a:cubicBezTo>
                    <a:pt x="1623" y="46"/>
                    <a:pt x="1359" y="236"/>
                    <a:pt x="1278" y="303"/>
                  </a:cubicBezTo>
                  <a:cubicBezTo>
                    <a:pt x="1165" y="318"/>
                    <a:pt x="840" y="400"/>
                    <a:pt x="840" y="855"/>
                  </a:cubicBezTo>
                  <a:cubicBezTo>
                    <a:pt x="840" y="1106"/>
                    <a:pt x="881" y="1315"/>
                    <a:pt x="909" y="1431"/>
                  </a:cubicBezTo>
                  <a:cubicBezTo>
                    <a:pt x="813" y="1476"/>
                    <a:pt x="748" y="1577"/>
                    <a:pt x="748" y="1693"/>
                  </a:cubicBezTo>
                  <a:lnTo>
                    <a:pt x="748" y="1764"/>
                  </a:lnTo>
                  <a:cubicBezTo>
                    <a:pt x="748" y="1902"/>
                    <a:pt x="841" y="2022"/>
                    <a:pt x="970" y="2048"/>
                  </a:cubicBezTo>
                  <a:cubicBezTo>
                    <a:pt x="994" y="2053"/>
                    <a:pt x="1018" y="2055"/>
                    <a:pt x="1042" y="2053"/>
                  </a:cubicBezTo>
                  <a:cubicBezTo>
                    <a:pt x="1042" y="2053"/>
                    <a:pt x="1042" y="2053"/>
                    <a:pt x="1042" y="2054"/>
                  </a:cubicBezTo>
                  <a:cubicBezTo>
                    <a:pt x="1078" y="2251"/>
                    <a:pt x="1171" y="2426"/>
                    <a:pt x="1300" y="2564"/>
                  </a:cubicBezTo>
                  <a:lnTo>
                    <a:pt x="1300" y="2788"/>
                  </a:lnTo>
                  <a:cubicBezTo>
                    <a:pt x="1277" y="2788"/>
                    <a:pt x="1253" y="2797"/>
                    <a:pt x="1236" y="2815"/>
                  </a:cubicBezTo>
                  <a:lnTo>
                    <a:pt x="962" y="3089"/>
                  </a:lnTo>
                  <a:lnTo>
                    <a:pt x="424" y="3296"/>
                  </a:lnTo>
                  <a:cubicBezTo>
                    <a:pt x="166" y="3396"/>
                    <a:pt x="0" y="3649"/>
                    <a:pt x="11" y="3925"/>
                  </a:cubicBezTo>
                  <a:lnTo>
                    <a:pt x="87" y="5830"/>
                  </a:lnTo>
                  <a:cubicBezTo>
                    <a:pt x="89" y="5880"/>
                    <a:pt x="131" y="5920"/>
                    <a:pt x="181" y="5920"/>
                  </a:cubicBezTo>
                  <a:cubicBezTo>
                    <a:pt x="182" y="5920"/>
                    <a:pt x="184" y="5920"/>
                    <a:pt x="185" y="5920"/>
                  </a:cubicBezTo>
                  <a:cubicBezTo>
                    <a:pt x="237" y="5918"/>
                    <a:pt x="277" y="5874"/>
                    <a:pt x="275" y="5822"/>
                  </a:cubicBezTo>
                  <a:lnTo>
                    <a:pt x="198" y="3918"/>
                  </a:lnTo>
                  <a:cubicBezTo>
                    <a:pt x="196" y="3867"/>
                    <a:pt x="203" y="3818"/>
                    <a:pt x="217" y="3771"/>
                  </a:cubicBezTo>
                  <a:lnTo>
                    <a:pt x="521" y="4075"/>
                  </a:lnTo>
                  <a:cubicBezTo>
                    <a:pt x="608" y="4162"/>
                    <a:pt x="655" y="4277"/>
                    <a:pt x="655" y="4400"/>
                  </a:cubicBezTo>
                  <a:lnTo>
                    <a:pt x="655" y="5826"/>
                  </a:lnTo>
                  <a:cubicBezTo>
                    <a:pt x="655" y="5878"/>
                    <a:pt x="697" y="5920"/>
                    <a:pt x="749" y="5920"/>
                  </a:cubicBezTo>
                  <a:cubicBezTo>
                    <a:pt x="801" y="5920"/>
                    <a:pt x="843" y="5878"/>
                    <a:pt x="843" y="5826"/>
                  </a:cubicBezTo>
                  <a:lnTo>
                    <a:pt x="843" y="4400"/>
                  </a:lnTo>
                  <a:cubicBezTo>
                    <a:pt x="843" y="4227"/>
                    <a:pt x="776" y="4065"/>
                    <a:pt x="654" y="3943"/>
                  </a:cubicBezTo>
                  <a:lnTo>
                    <a:pt x="310" y="3599"/>
                  </a:lnTo>
                  <a:cubicBezTo>
                    <a:pt x="358" y="3543"/>
                    <a:pt x="420" y="3499"/>
                    <a:pt x="492" y="3471"/>
                  </a:cubicBezTo>
                  <a:lnTo>
                    <a:pt x="993" y="3278"/>
                  </a:lnTo>
                  <a:lnTo>
                    <a:pt x="1376" y="3852"/>
                  </a:lnTo>
                  <a:cubicBezTo>
                    <a:pt x="1422" y="3921"/>
                    <a:pt x="1496" y="3966"/>
                    <a:pt x="1580" y="3974"/>
                  </a:cubicBezTo>
                  <a:cubicBezTo>
                    <a:pt x="1589" y="3975"/>
                    <a:pt x="1598" y="3976"/>
                    <a:pt x="1607" y="3976"/>
                  </a:cubicBezTo>
                  <a:cubicBezTo>
                    <a:pt x="1658" y="3976"/>
                    <a:pt x="1708" y="3961"/>
                    <a:pt x="1751" y="3935"/>
                  </a:cubicBezTo>
                  <a:lnTo>
                    <a:pt x="1669" y="5822"/>
                  </a:lnTo>
                  <a:cubicBezTo>
                    <a:pt x="1667" y="5874"/>
                    <a:pt x="1707" y="5918"/>
                    <a:pt x="1758" y="5920"/>
                  </a:cubicBezTo>
                  <a:cubicBezTo>
                    <a:pt x="1760" y="5920"/>
                    <a:pt x="1761" y="5920"/>
                    <a:pt x="1763" y="5920"/>
                  </a:cubicBezTo>
                  <a:cubicBezTo>
                    <a:pt x="1813" y="5920"/>
                    <a:pt x="1854" y="5881"/>
                    <a:pt x="1856" y="5830"/>
                  </a:cubicBezTo>
                  <a:lnTo>
                    <a:pt x="1932" y="4080"/>
                  </a:lnTo>
                  <a:lnTo>
                    <a:pt x="2145" y="4080"/>
                  </a:lnTo>
                  <a:lnTo>
                    <a:pt x="2222" y="5830"/>
                  </a:lnTo>
                  <a:cubicBezTo>
                    <a:pt x="2224" y="5881"/>
                    <a:pt x="2265" y="5920"/>
                    <a:pt x="2315" y="5920"/>
                  </a:cubicBezTo>
                  <a:cubicBezTo>
                    <a:pt x="2317" y="5920"/>
                    <a:pt x="2318" y="5920"/>
                    <a:pt x="2319" y="5920"/>
                  </a:cubicBezTo>
                  <a:cubicBezTo>
                    <a:pt x="2371" y="5918"/>
                    <a:pt x="2411" y="5874"/>
                    <a:pt x="2409" y="5822"/>
                  </a:cubicBezTo>
                  <a:lnTo>
                    <a:pt x="2327" y="3935"/>
                  </a:lnTo>
                  <a:cubicBezTo>
                    <a:pt x="2370" y="3961"/>
                    <a:pt x="2419" y="3975"/>
                    <a:pt x="2471" y="3975"/>
                  </a:cubicBezTo>
                  <a:cubicBezTo>
                    <a:pt x="2480" y="3975"/>
                    <a:pt x="2489" y="3975"/>
                    <a:pt x="2498" y="3974"/>
                  </a:cubicBezTo>
                  <a:cubicBezTo>
                    <a:pt x="2581" y="3966"/>
                    <a:pt x="2656" y="3921"/>
                    <a:pt x="2702" y="3852"/>
                  </a:cubicBezTo>
                  <a:lnTo>
                    <a:pt x="3085" y="3278"/>
                  </a:lnTo>
                  <a:lnTo>
                    <a:pt x="3526" y="3448"/>
                  </a:lnTo>
                  <a:cubicBezTo>
                    <a:pt x="3537" y="3452"/>
                    <a:pt x="3549" y="3454"/>
                    <a:pt x="3560" y="3454"/>
                  </a:cubicBezTo>
                  <a:cubicBezTo>
                    <a:pt x="3598" y="3454"/>
                    <a:pt x="3633" y="3432"/>
                    <a:pt x="3647" y="3394"/>
                  </a:cubicBezTo>
                  <a:cubicBezTo>
                    <a:pt x="3666" y="3346"/>
                    <a:pt x="3642" y="3292"/>
                    <a:pt x="3594" y="3273"/>
                  </a:cubicBezTo>
                  <a:close/>
                  <a:moveTo>
                    <a:pt x="1226" y="2018"/>
                  </a:moveTo>
                  <a:cubicBezTo>
                    <a:pt x="1209" y="1926"/>
                    <a:pt x="1124" y="1859"/>
                    <a:pt x="1032" y="1866"/>
                  </a:cubicBezTo>
                  <a:cubicBezTo>
                    <a:pt x="1024" y="1867"/>
                    <a:pt x="1016" y="1866"/>
                    <a:pt x="1007" y="1864"/>
                  </a:cubicBezTo>
                  <a:cubicBezTo>
                    <a:pt x="966" y="1856"/>
                    <a:pt x="935" y="1813"/>
                    <a:pt x="935" y="1764"/>
                  </a:cubicBezTo>
                  <a:lnTo>
                    <a:pt x="935" y="1693"/>
                  </a:lnTo>
                  <a:cubicBezTo>
                    <a:pt x="935" y="1645"/>
                    <a:pt x="967" y="1602"/>
                    <a:pt x="1008" y="1595"/>
                  </a:cubicBezTo>
                  <a:cubicBezTo>
                    <a:pt x="1043" y="1589"/>
                    <a:pt x="1076" y="1601"/>
                    <a:pt x="1097" y="1629"/>
                  </a:cubicBezTo>
                  <a:cubicBezTo>
                    <a:pt x="1115" y="1652"/>
                    <a:pt x="1138" y="1668"/>
                    <a:pt x="1165" y="1676"/>
                  </a:cubicBezTo>
                  <a:cubicBezTo>
                    <a:pt x="1204" y="1688"/>
                    <a:pt x="1247" y="1681"/>
                    <a:pt x="1280" y="1657"/>
                  </a:cubicBezTo>
                  <a:cubicBezTo>
                    <a:pt x="1356" y="1604"/>
                    <a:pt x="1420" y="1535"/>
                    <a:pt x="1471" y="1455"/>
                  </a:cubicBezTo>
                  <a:cubicBezTo>
                    <a:pt x="1499" y="1411"/>
                    <a:pt x="1486" y="1353"/>
                    <a:pt x="1442" y="1325"/>
                  </a:cubicBezTo>
                  <a:cubicBezTo>
                    <a:pt x="1399" y="1298"/>
                    <a:pt x="1341" y="1311"/>
                    <a:pt x="1313" y="1354"/>
                  </a:cubicBezTo>
                  <a:cubicBezTo>
                    <a:pt x="1284" y="1400"/>
                    <a:pt x="1249" y="1441"/>
                    <a:pt x="1209" y="1475"/>
                  </a:cubicBezTo>
                  <a:cubicBezTo>
                    <a:pt x="1177" y="1447"/>
                    <a:pt x="1139" y="1427"/>
                    <a:pt x="1099" y="1416"/>
                  </a:cubicBezTo>
                  <a:cubicBezTo>
                    <a:pt x="1074" y="1321"/>
                    <a:pt x="1027" y="1111"/>
                    <a:pt x="1027" y="855"/>
                  </a:cubicBezTo>
                  <a:cubicBezTo>
                    <a:pt x="1027" y="702"/>
                    <a:pt x="1074" y="594"/>
                    <a:pt x="1168" y="535"/>
                  </a:cubicBezTo>
                  <a:cubicBezTo>
                    <a:pt x="1241" y="489"/>
                    <a:pt x="1317" y="488"/>
                    <a:pt x="1317" y="488"/>
                  </a:cubicBezTo>
                  <a:cubicBezTo>
                    <a:pt x="1341" y="488"/>
                    <a:pt x="1365" y="478"/>
                    <a:pt x="1382" y="462"/>
                  </a:cubicBezTo>
                  <a:cubicBezTo>
                    <a:pt x="1384" y="460"/>
                    <a:pt x="1627" y="234"/>
                    <a:pt x="2044" y="211"/>
                  </a:cubicBezTo>
                  <a:cubicBezTo>
                    <a:pt x="2425" y="191"/>
                    <a:pt x="2719" y="287"/>
                    <a:pt x="2895" y="490"/>
                  </a:cubicBezTo>
                  <a:cubicBezTo>
                    <a:pt x="3073" y="695"/>
                    <a:pt x="3132" y="1011"/>
                    <a:pt x="3066" y="1406"/>
                  </a:cubicBezTo>
                  <a:cubicBezTo>
                    <a:pt x="3038" y="1405"/>
                    <a:pt x="3007" y="1407"/>
                    <a:pt x="2976" y="1413"/>
                  </a:cubicBezTo>
                  <a:lnTo>
                    <a:pt x="2882" y="1187"/>
                  </a:lnTo>
                  <a:cubicBezTo>
                    <a:pt x="2864" y="1144"/>
                    <a:pt x="2816" y="1120"/>
                    <a:pt x="2771" y="1132"/>
                  </a:cubicBezTo>
                  <a:cubicBezTo>
                    <a:pt x="2762" y="1135"/>
                    <a:pt x="1851" y="1367"/>
                    <a:pt x="1467" y="889"/>
                  </a:cubicBezTo>
                  <a:cubicBezTo>
                    <a:pt x="1434" y="849"/>
                    <a:pt x="1375" y="842"/>
                    <a:pt x="1335" y="875"/>
                  </a:cubicBezTo>
                  <a:cubicBezTo>
                    <a:pt x="1295" y="907"/>
                    <a:pt x="1288" y="966"/>
                    <a:pt x="1321" y="1006"/>
                  </a:cubicBezTo>
                  <a:cubicBezTo>
                    <a:pt x="1710" y="1492"/>
                    <a:pt x="2486" y="1383"/>
                    <a:pt x="2739" y="1332"/>
                  </a:cubicBezTo>
                  <a:lnTo>
                    <a:pt x="2812" y="1507"/>
                  </a:lnTo>
                  <a:cubicBezTo>
                    <a:pt x="2842" y="1579"/>
                    <a:pt x="2918" y="1618"/>
                    <a:pt x="2993" y="1600"/>
                  </a:cubicBezTo>
                  <a:cubicBezTo>
                    <a:pt x="3023" y="1593"/>
                    <a:pt x="3055" y="1592"/>
                    <a:pt x="3069" y="1595"/>
                  </a:cubicBezTo>
                  <a:cubicBezTo>
                    <a:pt x="3111" y="1603"/>
                    <a:pt x="3143" y="1645"/>
                    <a:pt x="3143" y="1692"/>
                  </a:cubicBezTo>
                  <a:lnTo>
                    <a:pt x="3143" y="1764"/>
                  </a:lnTo>
                  <a:cubicBezTo>
                    <a:pt x="3143" y="1813"/>
                    <a:pt x="3112" y="1856"/>
                    <a:pt x="3070" y="1864"/>
                  </a:cubicBezTo>
                  <a:cubicBezTo>
                    <a:pt x="3062" y="1866"/>
                    <a:pt x="3054" y="1867"/>
                    <a:pt x="3046" y="1866"/>
                  </a:cubicBezTo>
                  <a:cubicBezTo>
                    <a:pt x="2954" y="1859"/>
                    <a:pt x="2869" y="1926"/>
                    <a:pt x="2852" y="2018"/>
                  </a:cubicBezTo>
                  <a:cubicBezTo>
                    <a:pt x="2780" y="2411"/>
                    <a:pt x="2438" y="2695"/>
                    <a:pt x="2039" y="2695"/>
                  </a:cubicBezTo>
                  <a:cubicBezTo>
                    <a:pt x="1640" y="2695"/>
                    <a:pt x="1298" y="2411"/>
                    <a:pt x="1226" y="2018"/>
                  </a:cubicBezTo>
                  <a:close/>
                  <a:moveTo>
                    <a:pt x="1671" y="3762"/>
                  </a:moveTo>
                  <a:cubicBezTo>
                    <a:pt x="1652" y="3781"/>
                    <a:pt x="1625" y="3790"/>
                    <a:pt x="1598" y="3788"/>
                  </a:cubicBezTo>
                  <a:cubicBezTo>
                    <a:pt x="1571" y="3785"/>
                    <a:pt x="1547" y="3770"/>
                    <a:pt x="1532" y="3748"/>
                  </a:cubicBezTo>
                  <a:lnTo>
                    <a:pt x="1146" y="3170"/>
                  </a:lnTo>
                  <a:lnTo>
                    <a:pt x="1306" y="3010"/>
                  </a:lnTo>
                  <a:lnTo>
                    <a:pt x="1902" y="3531"/>
                  </a:lnTo>
                  <a:lnTo>
                    <a:pt x="1671" y="3762"/>
                  </a:lnTo>
                  <a:close/>
                  <a:moveTo>
                    <a:pt x="1941" y="3893"/>
                  </a:moveTo>
                  <a:lnTo>
                    <a:pt x="1947" y="3751"/>
                  </a:lnTo>
                  <a:lnTo>
                    <a:pt x="2039" y="3659"/>
                  </a:lnTo>
                  <a:lnTo>
                    <a:pt x="2131" y="3751"/>
                  </a:lnTo>
                  <a:lnTo>
                    <a:pt x="2137" y="3893"/>
                  </a:lnTo>
                  <a:lnTo>
                    <a:pt x="1941" y="3893"/>
                  </a:lnTo>
                  <a:close/>
                  <a:moveTo>
                    <a:pt x="2039" y="3402"/>
                  </a:moveTo>
                  <a:lnTo>
                    <a:pt x="1488" y="2919"/>
                  </a:lnTo>
                  <a:lnTo>
                    <a:pt x="1488" y="2720"/>
                  </a:lnTo>
                  <a:cubicBezTo>
                    <a:pt x="1647" y="2823"/>
                    <a:pt x="1837" y="2883"/>
                    <a:pt x="2039" y="2883"/>
                  </a:cubicBezTo>
                  <a:cubicBezTo>
                    <a:pt x="2241" y="2883"/>
                    <a:pt x="2430" y="2823"/>
                    <a:pt x="2590" y="2720"/>
                  </a:cubicBezTo>
                  <a:lnTo>
                    <a:pt x="2590" y="2919"/>
                  </a:lnTo>
                  <a:lnTo>
                    <a:pt x="2039" y="3402"/>
                  </a:lnTo>
                  <a:close/>
                  <a:moveTo>
                    <a:pt x="2546" y="3748"/>
                  </a:moveTo>
                  <a:cubicBezTo>
                    <a:pt x="2531" y="3770"/>
                    <a:pt x="2507" y="3785"/>
                    <a:pt x="2480" y="3788"/>
                  </a:cubicBezTo>
                  <a:cubicBezTo>
                    <a:pt x="2464" y="3789"/>
                    <a:pt x="2433" y="3788"/>
                    <a:pt x="2407" y="3762"/>
                  </a:cubicBezTo>
                  <a:lnTo>
                    <a:pt x="2176" y="3531"/>
                  </a:lnTo>
                  <a:lnTo>
                    <a:pt x="2772" y="3010"/>
                  </a:lnTo>
                  <a:lnTo>
                    <a:pt x="2932" y="3170"/>
                  </a:lnTo>
                  <a:lnTo>
                    <a:pt x="2546" y="374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80">
              <a:extLst>
                <a:ext uri="{FF2B5EF4-FFF2-40B4-BE49-F238E27FC236}">
                  <a16:creationId xmlns:a16="http://schemas.microsoft.com/office/drawing/2014/main" id="{93D4C688-FA86-40B4-BB44-A8D6FAE83E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3" y="2674"/>
              <a:ext cx="86" cy="78"/>
            </a:xfrm>
            <a:custGeom>
              <a:avLst/>
              <a:gdLst>
                <a:gd name="T0" fmla="*/ 2799 w 3193"/>
                <a:gd name="T1" fmla="*/ 501 h 2893"/>
                <a:gd name="T2" fmla="*/ 2191 w 3193"/>
                <a:gd name="T3" fmla="*/ 294 h 2893"/>
                <a:gd name="T4" fmla="*/ 1296 w 3193"/>
                <a:gd name="T5" fmla="*/ 0 h 2893"/>
                <a:gd name="T6" fmla="*/ 1002 w 3193"/>
                <a:gd name="T7" fmla="*/ 501 h 2893"/>
                <a:gd name="T8" fmla="*/ 0 w 3193"/>
                <a:gd name="T9" fmla="*/ 895 h 2893"/>
                <a:gd name="T10" fmla="*/ 100 w 3193"/>
                <a:gd name="T11" fmla="*/ 1466 h 2893"/>
                <a:gd name="T12" fmla="*/ 484 w 3193"/>
                <a:gd name="T13" fmla="*/ 2893 h 2893"/>
                <a:gd name="T14" fmla="*/ 3093 w 3193"/>
                <a:gd name="T15" fmla="*/ 2509 h 2893"/>
                <a:gd name="T16" fmla="*/ 3193 w 3193"/>
                <a:gd name="T17" fmla="*/ 1174 h 2893"/>
                <a:gd name="T18" fmla="*/ 1189 w 3193"/>
                <a:gd name="T19" fmla="*/ 294 h 2893"/>
                <a:gd name="T20" fmla="*/ 1296 w 3193"/>
                <a:gd name="T21" fmla="*/ 188 h 2893"/>
                <a:gd name="T22" fmla="*/ 2004 w 3193"/>
                <a:gd name="T23" fmla="*/ 294 h 2893"/>
                <a:gd name="T24" fmla="*/ 1189 w 3193"/>
                <a:gd name="T25" fmla="*/ 501 h 2893"/>
                <a:gd name="T26" fmla="*/ 3006 w 3193"/>
                <a:gd name="T27" fmla="*/ 1174 h 2893"/>
                <a:gd name="T28" fmla="*/ 2592 w 3193"/>
                <a:gd name="T29" fmla="*/ 1597 h 2893"/>
                <a:gd name="T30" fmla="*/ 2098 w 3193"/>
                <a:gd name="T31" fmla="*/ 1503 h 2893"/>
                <a:gd name="T32" fmla="*/ 2004 w 3193"/>
                <a:gd name="T33" fmla="*/ 1897 h 2893"/>
                <a:gd name="T34" fmla="*/ 2592 w 3193"/>
                <a:gd name="T35" fmla="*/ 1897 h 2893"/>
                <a:gd name="T36" fmla="*/ 2906 w 3193"/>
                <a:gd name="T37" fmla="*/ 1649 h 2893"/>
                <a:gd name="T38" fmla="*/ 2709 w 3193"/>
                <a:gd name="T39" fmla="*/ 2705 h 2893"/>
                <a:gd name="T40" fmla="*/ 288 w 3193"/>
                <a:gd name="T41" fmla="*/ 2509 h 2893"/>
                <a:gd name="T42" fmla="*/ 601 w 3193"/>
                <a:gd name="T43" fmla="*/ 1817 h 2893"/>
                <a:gd name="T44" fmla="*/ 895 w 3193"/>
                <a:gd name="T45" fmla="*/ 2192 h 2893"/>
                <a:gd name="T46" fmla="*/ 1597 w 3193"/>
                <a:gd name="T47" fmla="*/ 1991 h 2893"/>
                <a:gd name="T48" fmla="*/ 1791 w 3193"/>
                <a:gd name="T49" fmla="*/ 1893 h 2893"/>
                <a:gd name="T50" fmla="*/ 1597 w 3193"/>
                <a:gd name="T51" fmla="*/ 1804 h 2893"/>
                <a:gd name="T52" fmla="*/ 1189 w 3193"/>
                <a:gd name="T53" fmla="*/ 1597 h 2893"/>
                <a:gd name="T54" fmla="*/ 695 w 3193"/>
                <a:gd name="T55" fmla="*/ 1503 h 2893"/>
                <a:gd name="T56" fmla="*/ 601 w 3193"/>
                <a:gd name="T57" fmla="*/ 1613 h 2893"/>
                <a:gd name="T58" fmla="*/ 187 w 3193"/>
                <a:gd name="T59" fmla="*/ 895 h 2893"/>
                <a:gd name="T60" fmla="*/ 2799 w 3193"/>
                <a:gd name="T61" fmla="*/ 689 h 2893"/>
                <a:gd name="T62" fmla="*/ 3006 w 3193"/>
                <a:gd name="T63" fmla="*/ 1174 h 2893"/>
                <a:gd name="T64" fmla="*/ 2405 w 3193"/>
                <a:gd name="T65" fmla="*/ 1897 h 2893"/>
                <a:gd name="T66" fmla="*/ 2191 w 3193"/>
                <a:gd name="T67" fmla="*/ 1897 h 2893"/>
                <a:gd name="T68" fmla="*/ 2405 w 3193"/>
                <a:gd name="T69" fmla="*/ 1691 h 2893"/>
                <a:gd name="T70" fmla="*/ 789 w 3193"/>
                <a:gd name="T71" fmla="*/ 1691 h 2893"/>
                <a:gd name="T72" fmla="*/ 1002 w 3193"/>
                <a:gd name="T73" fmla="*/ 1897 h 2893"/>
                <a:gd name="T74" fmla="*/ 789 w 3193"/>
                <a:gd name="T75" fmla="*/ 1897 h 2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93" h="2893">
                  <a:moveTo>
                    <a:pt x="3193" y="895"/>
                  </a:moveTo>
                  <a:cubicBezTo>
                    <a:pt x="3193" y="678"/>
                    <a:pt x="3016" y="501"/>
                    <a:pt x="2799" y="501"/>
                  </a:cubicBezTo>
                  <a:lnTo>
                    <a:pt x="2191" y="501"/>
                  </a:lnTo>
                  <a:lnTo>
                    <a:pt x="2191" y="294"/>
                  </a:lnTo>
                  <a:cubicBezTo>
                    <a:pt x="2191" y="132"/>
                    <a:pt x="2059" y="0"/>
                    <a:pt x="1897" y="0"/>
                  </a:cubicBezTo>
                  <a:lnTo>
                    <a:pt x="1296" y="0"/>
                  </a:lnTo>
                  <a:cubicBezTo>
                    <a:pt x="1134" y="0"/>
                    <a:pt x="1002" y="132"/>
                    <a:pt x="1002" y="294"/>
                  </a:cubicBezTo>
                  <a:lnTo>
                    <a:pt x="1002" y="501"/>
                  </a:lnTo>
                  <a:lnTo>
                    <a:pt x="394" y="501"/>
                  </a:lnTo>
                  <a:cubicBezTo>
                    <a:pt x="177" y="501"/>
                    <a:pt x="0" y="678"/>
                    <a:pt x="0" y="895"/>
                  </a:cubicBezTo>
                  <a:lnTo>
                    <a:pt x="0" y="1174"/>
                  </a:lnTo>
                  <a:cubicBezTo>
                    <a:pt x="0" y="1276"/>
                    <a:pt x="34" y="1375"/>
                    <a:pt x="100" y="1466"/>
                  </a:cubicBezTo>
                  <a:lnTo>
                    <a:pt x="100" y="2509"/>
                  </a:lnTo>
                  <a:cubicBezTo>
                    <a:pt x="100" y="2721"/>
                    <a:pt x="272" y="2893"/>
                    <a:pt x="484" y="2893"/>
                  </a:cubicBezTo>
                  <a:lnTo>
                    <a:pt x="2709" y="2893"/>
                  </a:lnTo>
                  <a:cubicBezTo>
                    <a:pt x="2921" y="2893"/>
                    <a:pt x="3093" y="2721"/>
                    <a:pt x="3093" y="2509"/>
                  </a:cubicBezTo>
                  <a:lnTo>
                    <a:pt x="3093" y="1466"/>
                  </a:lnTo>
                  <a:cubicBezTo>
                    <a:pt x="3159" y="1375"/>
                    <a:pt x="3193" y="1276"/>
                    <a:pt x="3193" y="1174"/>
                  </a:cubicBezTo>
                  <a:lnTo>
                    <a:pt x="3193" y="895"/>
                  </a:lnTo>
                  <a:close/>
                  <a:moveTo>
                    <a:pt x="1189" y="294"/>
                  </a:moveTo>
                  <a:lnTo>
                    <a:pt x="1189" y="294"/>
                  </a:lnTo>
                  <a:cubicBezTo>
                    <a:pt x="1189" y="235"/>
                    <a:pt x="1237" y="188"/>
                    <a:pt x="1296" y="188"/>
                  </a:cubicBezTo>
                  <a:lnTo>
                    <a:pt x="1897" y="188"/>
                  </a:lnTo>
                  <a:cubicBezTo>
                    <a:pt x="1956" y="188"/>
                    <a:pt x="2004" y="235"/>
                    <a:pt x="2004" y="294"/>
                  </a:cubicBezTo>
                  <a:lnTo>
                    <a:pt x="2004" y="501"/>
                  </a:lnTo>
                  <a:lnTo>
                    <a:pt x="1189" y="501"/>
                  </a:lnTo>
                  <a:lnTo>
                    <a:pt x="1189" y="294"/>
                  </a:lnTo>
                  <a:close/>
                  <a:moveTo>
                    <a:pt x="3006" y="1174"/>
                  </a:moveTo>
                  <a:cubicBezTo>
                    <a:pt x="3006" y="1335"/>
                    <a:pt x="2854" y="1494"/>
                    <a:pt x="2592" y="1613"/>
                  </a:cubicBezTo>
                  <a:lnTo>
                    <a:pt x="2592" y="1597"/>
                  </a:lnTo>
                  <a:cubicBezTo>
                    <a:pt x="2592" y="1545"/>
                    <a:pt x="2550" y="1503"/>
                    <a:pt x="2498" y="1503"/>
                  </a:cubicBezTo>
                  <a:lnTo>
                    <a:pt x="2098" y="1503"/>
                  </a:lnTo>
                  <a:cubicBezTo>
                    <a:pt x="2046" y="1503"/>
                    <a:pt x="2004" y="1545"/>
                    <a:pt x="2004" y="1597"/>
                  </a:cubicBezTo>
                  <a:lnTo>
                    <a:pt x="2004" y="1897"/>
                  </a:lnTo>
                  <a:cubicBezTo>
                    <a:pt x="2004" y="2060"/>
                    <a:pt x="2136" y="2192"/>
                    <a:pt x="2298" y="2192"/>
                  </a:cubicBezTo>
                  <a:cubicBezTo>
                    <a:pt x="2460" y="2192"/>
                    <a:pt x="2592" y="2060"/>
                    <a:pt x="2592" y="1897"/>
                  </a:cubicBezTo>
                  <a:lnTo>
                    <a:pt x="2592" y="1817"/>
                  </a:lnTo>
                  <a:cubicBezTo>
                    <a:pt x="2714" y="1769"/>
                    <a:pt x="2819" y="1712"/>
                    <a:pt x="2906" y="1649"/>
                  </a:cubicBezTo>
                  <a:lnTo>
                    <a:pt x="2906" y="2509"/>
                  </a:lnTo>
                  <a:cubicBezTo>
                    <a:pt x="2906" y="2617"/>
                    <a:pt x="2817" y="2705"/>
                    <a:pt x="2709" y="2705"/>
                  </a:cubicBezTo>
                  <a:lnTo>
                    <a:pt x="484" y="2705"/>
                  </a:lnTo>
                  <a:cubicBezTo>
                    <a:pt x="376" y="2705"/>
                    <a:pt x="288" y="2617"/>
                    <a:pt x="288" y="2509"/>
                  </a:cubicBezTo>
                  <a:lnTo>
                    <a:pt x="288" y="1649"/>
                  </a:lnTo>
                  <a:cubicBezTo>
                    <a:pt x="374" y="1712"/>
                    <a:pt x="479" y="1769"/>
                    <a:pt x="601" y="1817"/>
                  </a:cubicBezTo>
                  <a:lnTo>
                    <a:pt x="601" y="1897"/>
                  </a:lnTo>
                  <a:cubicBezTo>
                    <a:pt x="601" y="2060"/>
                    <a:pt x="733" y="2192"/>
                    <a:pt x="895" y="2192"/>
                  </a:cubicBezTo>
                  <a:cubicBezTo>
                    <a:pt x="1035" y="2192"/>
                    <a:pt x="1151" y="2094"/>
                    <a:pt x="1182" y="1964"/>
                  </a:cubicBezTo>
                  <a:cubicBezTo>
                    <a:pt x="1316" y="1982"/>
                    <a:pt x="1455" y="1991"/>
                    <a:pt x="1597" y="1991"/>
                  </a:cubicBezTo>
                  <a:cubicBezTo>
                    <a:pt x="1631" y="1991"/>
                    <a:pt x="1666" y="1991"/>
                    <a:pt x="1700" y="1990"/>
                  </a:cubicBezTo>
                  <a:cubicBezTo>
                    <a:pt x="1752" y="1988"/>
                    <a:pt x="1792" y="1945"/>
                    <a:pt x="1791" y="1893"/>
                  </a:cubicBezTo>
                  <a:cubicBezTo>
                    <a:pt x="1789" y="1841"/>
                    <a:pt x="1746" y="1800"/>
                    <a:pt x="1694" y="1802"/>
                  </a:cubicBezTo>
                  <a:cubicBezTo>
                    <a:pt x="1662" y="1803"/>
                    <a:pt x="1629" y="1804"/>
                    <a:pt x="1597" y="1804"/>
                  </a:cubicBezTo>
                  <a:cubicBezTo>
                    <a:pt x="1458" y="1804"/>
                    <a:pt x="1321" y="1794"/>
                    <a:pt x="1189" y="1776"/>
                  </a:cubicBezTo>
                  <a:lnTo>
                    <a:pt x="1189" y="1597"/>
                  </a:lnTo>
                  <a:cubicBezTo>
                    <a:pt x="1189" y="1545"/>
                    <a:pt x="1147" y="1503"/>
                    <a:pt x="1096" y="1503"/>
                  </a:cubicBezTo>
                  <a:lnTo>
                    <a:pt x="695" y="1503"/>
                  </a:lnTo>
                  <a:cubicBezTo>
                    <a:pt x="643" y="1503"/>
                    <a:pt x="601" y="1545"/>
                    <a:pt x="601" y="1597"/>
                  </a:cubicBezTo>
                  <a:lnTo>
                    <a:pt x="601" y="1613"/>
                  </a:lnTo>
                  <a:cubicBezTo>
                    <a:pt x="340" y="1494"/>
                    <a:pt x="187" y="1335"/>
                    <a:pt x="187" y="1174"/>
                  </a:cubicBezTo>
                  <a:lnTo>
                    <a:pt x="187" y="895"/>
                  </a:lnTo>
                  <a:cubicBezTo>
                    <a:pt x="187" y="781"/>
                    <a:pt x="280" y="689"/>
                    <a:pt x="394" y="689"/>
                  </a:cubicBezTo>
                  <a:lnTo>
                    <a:pt x="2799" y="689"/>
                  </a:lnTo>
                  <a:cubicBezTo>
                    <a:pt x="2913" y="689"/>
                    <a:pt x="3006" y="781"/>
                    <a:pt x="3006" y="895"/>
                  </a:cubicBezTo>
                  <a:lnTo>
                    <a:pt x="3006" y="1174"/>
                  </a:lnTo>
                  <a:close/>
                  <a:moveTo>
                    <a:pt x="2405" y="1691"/>
                  </a:moveTo>
                  <a:lnTo>
                    <a:pt x="2405" y="1897"/>
                  </a:lnTo>
                  <a:cubicBezTo>
                    <a:pt x="2405" y="1956"/>
                    <a:pt x="2357" y="2004"/>
                    <a:pt x="2298" y="2004"/>
                  </a:cubicBezTo>
                  <a:cubicBezTo>
                    <a:pt x="2239" y="2004"/>
                    <a:pt x="2191" y="1956"/>
                    <a:pt x="2191" y="1897"/>
                  </a:cubicBezTo>
                  <a:lnTo>
                    <a:pt x="2191" y="1691"/>
                  </a:lnTo>
                  <a:lnTo>
                    <a:pt x="2405" y="1691"/>
                  </a:lnTo>
                  <a:close/>
                  <a:moveTo>
                    <a:pt x="789" y="1897"/>
                  </a:moveTo>
                  <a:lnTo>
                    <a:pt x="789" y="1691"/>
                  </a:lnTo>
                  <a:lnTo>
                    <a:pt x="1002" y="1691"/>
                  </a:lnTo>
                  <a:lnTo>
                    <a:pt x="1002" y="1897"/>
                  </a:lnTo>
                  <a:cubicBezTo>
                    <a:pt x="1002" y="1956"/>
                    <a:pt x="954" y="2004"/>
                    <a:pt x="895" y="2004"/>
                  </a:cubicBezTo>
                  <a:cubicBezTo>
                    <a:pt x="836" y="2004"/>
                    <a:pt x="789" y="1956"/>
                    <a:pt x="789" y="18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object 12">
            <a:extLst>
              <a:ext uri="{FF2B5EF4-FFF2-40B4-BE49-F238E27FC236}">
                <a16:creationId xmlns:a16="http://schemas.microsoft.com/office/drawing/2014/main" id="{23EA7C85-CD2B-4511-BBE7-D1890A605D54}"/>
              </a:ext>
            </a:extLst>
          </p:cNvPr>
          <p:cNvSpPr/>
          <p:nvPr/>
        </p:nvSpPr>
        <p:spPr>
          <a:xfrm>
            <a:off x="1845745" y="408804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7" name="Group 213">
            <a:extLst>
              <a:ext uri="{FF2B5EF4-FFF2-40B4-BE49-F238E27FC236}">
                <a16:creationId xmlns:a16="http://schemas.microsoft.com/office/drawing/2014/main" id="{42C40C4B-C610-4367-8094-2CB11C05DC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03230" y="4088049"/>
            <a:ext cx="344488" cy="641853"/>
            <a:chOff x="4987" y="3216"/>
            <a:chExt cx="212" cy="395"/>
          </a:xfrm>
          <a:solidFill>
            <a:schemeClr val="bg2">
              <a:lumMod val="25000"/>
            </a:schemeClr>
          </a:solidFill>
        </p:grpSpPr>
        <p:sp>
          <p:nvSpPr>
            <p:cNvPr id="38" name="Freeform 214">
              <a:extLst>
                <a:ext uri="{FF2B5EF4-FFF2-40B4-BE49-F238E27FC236}">
                  <a16:creationId xmlns:a16="http://schemas.microsoft.com/office/drawing/2014/main" id="{AF90C01E-6DB8-4AAF-9EAC-4F6307012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7" y="3216"/>
              <a:ext cx="212" cy="395"/>
            </a:xfrm>
            <a:custGeom>
              <a:avLst/>
              <a:gdLst>
                <a:gd name="T0" fmla="*/ 3094 w 3454"/>
                <a:gd name="T1" fmla="*/ 4997 h 6400"/>
                <a:gd name="T2" fmla="*/ 2563 w 3454"/>
                <a:gd name="T3" fmla="*/ 4583 h 6400"/>
                <a:gd name="T4" fmla="*/ 2159 w 3454"/>
                <a:gd name="T5" fmla="*/ 4005 h 6400"/>
                <a:gd name="T6" fmla="*/ 1822 w 3454"/>
                <a:gd name="T7" fmla="*/ 4583 h 6400"/>
                <a:gd name="T8" fmla="*/ 1632 w 3454"/>
                <a:gd name="T9" fmla="*/ 3612 h 6400"/>
                <a:gd name="T10" fmla="*/ 1572 w 3454"/>
                <a:gd name="T11" fmla="*/ 2471 h 6400"/>
                <a:gd name="T12" fmla="*/ 2025 w 3454"/>
                <a:gd name="T13" fmla="*/ 3671 h 6400"/>
                <a:gd name="T14" fmla="*/ 2211 w 3454"/>
                <a:gd name="T15" fmla="*/ 3649 h 6400"/>
                <a:gd name="T16" fmla="*/ 2508 w 3454"/>
                <a:gd name="T17" fmla="*/ 2799 h 6400"/>
                <a:gd name="T18" fmla="*/ 2541 w 3454"/>
                <a:gd name="T19" fmla="*/ 2806 h 6400"/>
                <a:gd name="T20" fmla="*/ 2559 w 3454"/>
                <a:gd name="T21" fmla="*/ 2806 h 6400"/>
                <a:gd name="T22" fmla="*/ 2583 w 3454"/>
                <a:gd name="T23" fmla="*/ 2803 h 6400"/>
                <a:gd name="T24" fmla="*/ 2626 w 3454"/>
                <a:gd name="T25" fmla="*/ 2784 h 6400"/>
                <a:gd name="T26" fmla="*/ 2538 w 3454"/>
                <a:gd name="T27" fmla="*/ 1801 h 6400"/>
                <a:gd name="T28" fmla="*/ 3173 w 3454"/>
                <a:gd name="T29" fmla="*/ 1178 h 6400"/>
                <a:gd name="T30" fmla="*/ 3186 w 3454"/>
                <a:gd name="T31" fmla="*/ 1152 h 6400"/>
                <a:gd name="T32" fmla="*/ 3192 w 3454"/>
                <a:gd name="T33" fmla="*/ 1133 h 6400"/>
                <a:gd name="T34" fmla="*/ 3191 w 3454"/>
                <a:gd name="T35" fmla="*/ 1067 h 6400"/>
                <a:gd name="T36" fmla="*/ 2228 w 3454"/>
                <a:gd name="T37" fmla="*/ 848 h 6400"/>
                <a:gd name="T38" fmla="*/ 1607 w 3454"/>
                <a:gd name="T39" fmla="*/ 74 h 6400"/>
                <a:gd name="T40" fmla="*/ 366 w 3454"/>
                <a:gd name="T41" fmla="*/ 973 h 6400"/>
                <a:gd name="T42" fmla="*/ 335 w 3454"/>
                <a:gd name="T43" fmla="*/ 983 h 6400"/>
                <a:gd name="T44" fmla="*/ 315 w 3454"/>
                <a:gd name="T45" fmla="*/ 994 h 6400"/>
                <a:gd name="T46" fmla="*/ 291 w 3454"/>
                <a:gd name="T47" fmla="*/ 1016 h 6400"/>
                <a:gd name="T48" fmla="*/ 265 w 3454"/>
                <a:gd name="T49" fmla="*/ 1062 h 6400"/>
                <a:gd name="T50" fmla="*/ 770 w 3454"/>
                <a:gd name="T51" fmla="*/ 2651 h 6400"/>
                <a:gd name="T52" fmla="*/ 769 w 3454"/>
                <a:gd name="T53" fmla="*/ 2677 h 6400"/>
                <a:gd name="T54" fmla="*/ 773 w 3454"/>
                <a:gd name="T55" fmla="*/ 2708 h 6400"/>
                <a:gd name="T56" fmla="*/ 789 w 3454"/>
                <a:gd name="T57" fmla="*/ 2744 h 6400"/>
                <a:gd name="T58" fmla="*/ 823 w 3454"/>
                <a:gd name="T59" fmla="*/ 2781 h 6400"/>
                <a:gd name="T60" fmla="*/ 1371 w 3454"/>
                <a:gd name="T61" fmla="*/ 2577 h 6400"/>
                <a:gd name="T62" fmla="*/ 717 w 3454"/>
                <a:gd name="T63" fmla="*/ 4731 h 6400"/>
                <a:gd name="T64" fmla="*/ 175 w 3454"/>
                <a:gd name="T65" fmla="*/ 5155 h 6400"/>
                <a:gd name="T66" fmla="*/ 194 w 3454"/>
                <a:gd name="T67" fmla="*/ 6400 h 6400"/>
                <a:gd name="T68" fmla="*/ 3445 w 3454"/>
                <a:gd name="T69" fmla="*/ 6183 h 6400"/>
                <a:gd name="T70" fmla="*/ 1082 w 3454"/>
                <a:gd name="T71" fmla="*/ 1701 h 6400"/>
                <a:gd name="T72" fmla="*/ 1372 w 3454"/>
                <a:gd name="T73" fmla="*/ 975 h 6400"/>
                <a:gd name="T74" fmla="*/ 2152 w 3454"/>
                <a:gd name="T75" fmla="*/ 1026 h 6400"/>
                <a:gd name="T76" fmla="*/ 2345 w 3454"/>
                <a:gd name="T77" fmla="*/ 1784 h 6400"/>
                <a:gd name="T78" fmla="*/ 1727 w 3454"/>
                <a:gd name="T79" fmla="*/ 2190 h 6400"/>
                <a:gd name="T80" fmla="*/ 901 w 3454"/>
                <a:gd name="T81" fmla="*/ 4770 h 6400"/>
                <a:gd name="T82" fmla="*/ 2553 w 3454"/>
                <a:gd name="T83" fmla="*/ 4770 h 6400"/>
                <a:gd name="T84" fmla="*/ 901 w 3454"/>
                <a:gd name="T85" fmla="*/ 4770 h 6400"/>
                <a:gd name="T86" fmla="*/ 360 w 3454"/>
                <a:gd name="T87" fmla="*/ 5185 h 6400"/>
                <a:gd name="T88" fmla="*/ 3260 w 3454"/>
                <a:gd name="T89" fmla="*/ 621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54" h="6400">
                  <a:moveTo>
                    <a:pt x="3445" y="6183"/>
                  </a:moveTo>
                  <a:lnTo>
                    <a:pt x="3279" y="5155"/>
                  </a:lnTo>
                  <a:cubicBezTo>
                    <a:pt x="3264" y="5063"/>
                    <a:pt x="3186" y="4997"/>
                    <a:pt x="3094" y="4997"/>
                  </a:cubicBezTo>
                  <a:lnTo>
                    <a:pt x="2779" y="4997"/>
                  </a:lnTo>
                  <a:lnTo>
                    <a:pt x="2737" y="4731"/>
                  </a:lnTo>
                  <a:cubicBezTo>
                    <a:pt x="2723" y="4645"/>
                    <a:pt x="2650" y="4583"/>
                    <a:pt x="2563" y="4583"/>
                  </a:cubicBezTo>
                  <a:lnTo>
                    <a:pt x="2322" y="4583"/>
                  </a:lnTo>
                  <a:lnTo>
                    <a:pt x="2263" y="4086"/>
                  </a:lnTo>
                  <a:cubicBezTo>
                    <a:pt x="2257" y="4035"/>
                    <a:pt x="2210" y="3998"/>
                    <a:pt x="2159" y="4005"/>
                  </a:cubicBezTo>
                  <a:cubicBezTo>
                    <a:pt x="2108" y="4011"/>
                    <a:pt x="2071" y="4057"/>
                    <a:pt x="2077" y="4109"/>
                  </a:cubicBezTo>
                  <a:lnTo>
                    <a:pt x="2134" y="4583"/>
                  </a:lnTo>
                  <a:lnTo>
                    <a:pt x="1822" y="4583"/>
                  </a:lnTo>
                  <a:lnTo>
                    <a:pt x="1822" y="3612"/>
                  </a:lnTo>
                  <a:cubicBezTo>
                    <a:pt x="1822" y="3560"/>
                    <a:pt x="1779" y="3518"/>
                    <a:pt x="1727" y="3518"/>
                  </a:cubicBezTo>
                  <a:cubicBezTo>
                    <a:pt x="1675" y="3518"/>
                    <a:pt x="1632" y="3560"/>
                    <a:pt x="1632" y="3612"/>
                  </a:cubicBezTo>
                  <a:lnTo>
                    <a:pt x="1632" y="4583"/>
                  </a:lnTo>
                  <a:lnTo>
                    <a:pt x="1320" y="4583"/>
                  </a:lnTo>
                  <a:lnTo>
                    <a:pt x="1572" y="2471"/>
                  </a:lnTo>
                  <a:lnTo>
                    <a:pt x="1727" y="2390"/>
                  </a:lnTo>
                  <a:lnTo>
                    <a:pt x="1882" y="2471"/>
                  </a:lnTo>
                  <a:lnTo>
                    <a:pt x="2025" y="3671"/>
                  </a:lnTo>
                  <a:cubicBezTo>
                    <a:pt x="2031" y="3719"/>
                    <a:pt x="2071" y="3754"/>
                    <a:pt x="2118" y="3754"/>
                  </a:cubicBezTo>
                  <a:cubicBezTo>
                    <a:pt x="2122" y="3754"/>
                    <a:pt x="2125" y="3754"/>
                    <a:pt x="2129" y="3753"/>
                  </a:cubicBezTo>
                  <a:cubicBezTo>
                    <a:pt x="2180" y="3747"/>
                    <a:pt x="2217" y="3701"/>
                    <a:pt x="2211" y="3649"/>
                  </a:cubicBezTo>
                  <a:lnTo>
                    <a:pt x="2083" y="2577"/>
                  </a:lnTo>
                  <a:lnTo>
                    <a:pt x="2490" y="2791"/>
                  </a:lnTo>
                  <a:cubicBezTo>
                    <a:pt x="2496" y="2794"/>
                    <a:pt x="2502" y="2797"/>
                    <a:pt x="2508" y="2799"/>
                  </a:cubicBezTo>
                  <a:cubicBezTo>
                    <a:pt x="2513" y="2801"/>
                    <a:pt x="2519" y="2803"/>
                    <a:pt x="2525" y="2804"/>
                  </a:cubicBezTo>
                  <a:cubicBezTo>
                    <a:pt x="2525" y="2804"/>
                    <a:pt x="2526" y="2804"/>
                    <a:pt x="2527" y="2804"/>
                  </a:cubicBezTo>
                  <a:cubicBezTo>
                    <a:pt x="2532" y="2805"/>
                    <a:pt x="2536" y="2806"/>
                    <a:pt x="2541" y="2806"/>
                  </a:cubicBezTo>
                  <a:cubicBezTo>
                    <a:pt x="2542" y="2806"/>
                    <a:pt x="2543" y="2806"/>
                    <a:pt x="2544" y="2806"/>
                  </a:cubicBezTo>
                  <a:cubicBezTo>
                    <a:pt x="2545" y="2806"/>
                    <a:pt x="2545" y="2806"/>
                    <a:pt x="2546" y="2807"/>
                  </a:cubicBezTo>
                  <a:cubicBezTo>
                    <a:pt x="2552" y="2807"/>
                    <a:pt x="2556" y="2807"/>
                    <a:pt x="2559" y="2806"/>
                  </a:cubicBezTo>
                  <a:cubicBezTo>
                    <a:pt x="2561" y="2806"/>
                    <a:pt x="2563" y="2806"/>
                    <a:pt x="2564" y="2806"/>
                  </a:cubicBezTo>
                  <a:cubicBezTo>
                    <a:pt x="2570" y="2806"/>
                    <a:pt x="2575" y="2805"/>
                    <a:pt x="2578" y="2804"/>
                  </a:cubicBezTo>
                  <a:cubicBezTo>
                    <a:pt x="2579" y="2804"/>
                    <a:pt x="2581" y="2804"/>
                    <a:pt x="2583" y="2803"/>
                  </a:cubicBezTo>
                  <a:cubicBezTo>
                    <a:pt x="2593" y="2801"/>
                    <a:pt x="2603" y="2797"/>
                    <a:pt x="2613" y="2792"/>
                  </a:cubicBezTo>
                  <a:cubicBezTo>
                    <a:pt x="2614" y="2792"/>
                    <a:pt x="2615" y="2791"/>
                    <a:pt x="2616" y="2790"/>
                  </a:cubicBezTo>
                  <a:cubicBezTo>
                    <a:pt x="2619" y="2789"/>
                    <a:pt x="2623" y="2786"/>
                    <a:pt x="2626" y="2784"/>
                  </a:cubicBezTo>
                  <a:cubicBezTo>
                    <a:pt x="2628" y="2783"/>
                    <a:pt x="2629" y="2782"/>
                    <a:pt x="2631" y="2781"/>
                  </a:cubicBezTo>
                  <a:cubicBezTo>
                    <a:pt x="2672" y="2751"/>
                    <a:pt x="2692" y="2701"/>
                    <a:pt x="2684" y="2651"/>
                  </a:cubicBezTo>
                  <a:lnTo>
                    <a:pt x="2538" y="1801"/>
                  </a:lnTo>
                  <a:lnTo>
                    <a:pt x="3155" y="1199"/>
                  </a:lnTo>
                  <a:cubicBezTo>
                    <a:pt x="3160" y="1194"/>
                    <a:pt x="3165" y="1189"/>
                    <a:pt x="3168" y="1184"/>
                  </a:cubicBezTo>
                  <a:cubicBezTo>
                    <a:pt x="3170" y="1183"/>
                    <a:pt x="3171" y="1180"/>
                    <a:pt x="3173" y="1178"/>
                  </a:cubicBezTo>
                  <a:cubicBezTo>
                    <a:pt x="3175" y="1175"/>
                    <a:pt x="3177" y="1172"/>
                    <a:pt x="3179" y="1168"/>
                  </a:cubicBezTo>
                  <a:cubicBezTo>
                    <a:pt x="3181" y="1164"/>
                    <a:pt x="3183" y="1160"/>
                    <a:pt x="3185" y="1155"/>
                  </a:cubicBezTo>
                  <a:cubicBezTo>
                    <a:pt x="3186" y="1154"/>
                    <a:pt x="3186" y="1153"/>
                    <a:pt x="3186" y="1152"/>
                  </a:cubicBezTo>
                  <a:cubicBezTo>
                    <a:pt x="3187" y="1152"/>
                    <a:pt x="3187" y="1151"/>
                    <a:pt x="3187" y="1151"/>
                  </a:cubicBezTo>
                  <a:cubicBezTo>
                    <a:pt x="3188" y="1147"/>
                    <a:pt x="3190" y="1143"/>
                    <a:pt x="3191" y="1139"/>
                  </a:cubicBezTo>
                  <a:cubicBezTo>
                    <a:pt x="3191" y="1137"/>
                    <a:pt x="3192" y="1135"/>
                    <a:pt x="3192" y="1133"/>
                  </a:cubicBezTo>
                  <a:cubicBezTo>
                    <a:pt x="3193" y="1129"/>
                    <a:pt x="3194" y="1124"/>
                    <a:pt x="3195" y="1119"/>
                  </a:cubicBezTo>
                  <a:cubicBezTo>
                    <a:pt x="3195" y="1118"/>
                    <a:pt x="3195" y="1116"/>
                    <a:pt x="3195" y="1115"/>
                  </a:cubicBezTo>
                  <a:cubicBezTo>
                    <a:pt x="3197" y="1099"/>
                    <a:pt x="3195" y="1083"/>
                    <a:pt x="3191" y="1067"/>
                  </a:cubicBezTo>
                  <a:cubicBezTo>
                    <a:pt x="3190" y="1065"/>
                    <a:pt x="3190" y="1064"/>
                    <a:pt x="3189" y="1062"/>
                  </a:cubicBezTo>
                  <a:cubicBezTo>
                    <a:pt x="3173" y="1014"/>
                    <a:pt x="3132" y="979"/>
                    <a:pt x="3082" y="972"/>
                  </a:cubicBezTo>
                  <a:lnTo>
                    <a:pt x="2228" y="848"/>
                  </a:lnTo>
                  <a:lnTo>
                    <a:pt x="1847" y="74"/>
                  </a:lnTo>
                  <a:cubicBezTo>
                    <a:pt x="1824" y="28"/>
                    <a:pt x="1778" y="0"/>
                    <a:pt x="1727" y="0"/>
                  </a:cubicBezTo>
                  <a:cubicBezTo>
                    <a:pt x="1676" y="0"/>
                    <a:pt x="1630" y="28"/>
                    <a:pt x="1607" y="74"/>
                  </a:cubicBezTo>
                  <a:lnTo>
                    <a:pt x="1226" y="848"/>
                  </a:lnTo>
                  <a:lnTo>
                    <a:pt x="372" y="972"/>
                  </a:lnTo>
                  <a:cubicBezTo>
                    <a:pt x="370" y="972"/>
                    <a:pt x="368" y="972"/>
                    <a:pt x="366" y="973"/>
                  </a:cubicBezTo>
                  <a:cubicBezTo>
                    <a:pt x="362" y="974"/>
                    <a:pt x="357" y="975"/>
                    <a:pt x="353" y="976"/>
                  </a:cubicBezTo>
                  <a:cubicBezTo>
                    <a:pt x="351" y="977"/>
                    <a:pt x="348" y="977"/>
                    <a:pt x="346" y="978"/>
                  </a:cubicBezTo>
                  <a:cubicBezTo>
                    <a:pt x="342" y="980"/>
                    <a:pt x="339" y="981"/>
                    <a:pt x="335" y="983"/>
                  </a:cubicBezTo>
                  <a:cubicBezTo>
                    <a:pt x="332" y="984"/>
                    <a:pt x="330" y="985"/>
                    <a:pt x="329" y="986"/>
                  </a:cubicBezTo>
                  <a:cubicBezTo>
                    <a:pt x="325" y="988"/>
                    <a:pt x="322" y="990"/>
                    <a:pt x="319" y="992"/>
                  </a:cubicBezTo>
                  <a:cubicBezTo>
                    <a:pt x="318" y="992"/>
                    <a:pt x="316" y="993"/>
                    <a:pt x="315" y="994"/>
                  </a:cubicBezTo>
                  <a:cubicBezTo>
                    <a:pt x="311" y="997"/>
                    <a:pt x="307" y="1000"/>
                    <a:pt x="304" y="1003"/>
                  </a:cubicBezTo>
                  <a:cubicBezTo>
                    <a:pt x="303" y="1004"/>
                    <a:pt x="302" y="1005"/>
                    <a:pt x="302" y="1005"/>
                  </a:cubicBezTo>
                  <a:cubicBezTo>
                    <a:pt x="298" y="1009"/>
                    <a:pt x="294" y="1012"/>
                    <a:pt x="291" y="1016"/>
                  </a:cubicBezTo>
                  <a:cubicBezTo>
                    <a:pt x="290" y="1017"/>
                    <a:pt x="290" y="1017"/>
                    <a:pt x="290" y="1017"/>
                  </a:cubicBezTo>
                  <a:cubicBezTo>
                    <a:pt x="289" y="1018"/>
                    <a:pt x="289" y="1018"/>
                    <a:pt x="289" y="1019"/>
                  </a:cubicBezTo>
                  <a:cubicBezTo>
                    <a:pt x="278" y="1032"/>
                    <a:pt x="270" y="1046"/>
                    <a:pt x="265" y="1062"/>
                  </a:cubicBezTo>
                  <a:cubicBezTo>
                    <a:pt x="249" y="1111"/>
                    <a:pt x="262" y="1163"/>
                    <a:pt x="299" y="1199"/>
                  </a:cubicBezTo>
                  <a:lnTo>
                    <a:pt x="916" y="1801"/>
                  </a:lnTo>
                  <a:lnTo>
                    <a:pt x="770" y="2651"/>
                  </a:lnTo>
                  <a:cubicBezTo>
                    <a:pt x="770" y="2654"/>
                    <a:pt x="769" y="2657"/>
                    <a:pt x="769" y="2660"/>
                  </a:cubicBezTo>
                  <a:cubicBezTo>
                    <a:pt x="769" y="2663"/>
                    <a:pt x="769" y="2667"/>
                    <a:pt x="768" y="2670"/>
                  </a:cubicBezTo>
                  <a:cubicBezTo>
                    <a:pt x="768" y="2673"/>
                    <a:pt x="768" y="2675"/>
                    <a:pt x="769" y="2677"/>
                  </a:cubicBezTo>
                  <a:cubicBezTo>
                    <a:pt x="769" y="2682"/>
                    <a:pt x="769" y="2686"/>
                    <a:pt x="769" y="2690"/>
                  </a:cubicBezTo>
                  <a:cubicBezTo>
                    <a:pt x="770" y="2692"/>
                    <a:pt x="770" y="2693"/>
                    <a:pt x="770" y="2695"/>
                  </a:cubicBezTo>
                  <a:cubicBezTo>
                    <a:pt x="771" y="2699"/>
                    <a:pt x="772" y="2703"/>
                    <a:pt x="773" y="2708"/>
                  </a:cubicBezTo>
                  <a:cubicBezTo>
                    <a:pt x="773" y="2710"/>
                    <a:pt x="774" y="2711"/>
                    <a:pt x="774" y="2712"/>
                  </a:cubicBezTo>
                  <a:cubicBezTo>
                    <a:pt x="777" y="2723"/>
                    <a:pt x="782" y="2733"/>
                    <a:pt x="788" y="2742"/>
                  </a:cubicBezTo>
                  <a:cubicBezTo>
                    <a:pt x="788" y="2743"/>
                    <a:pt x="788" y="2744"/>
                    <a:pt x="789" y="2744"/>
                  </a:cubicBezTo>
                  <a:cubicBezTo>
                    <a:pt x="795" y="2754"/>
                    <a:pt x="802" y="2762"/>
                    <a:pt x="810" y="2770"/>
                  </a:cubicBezTo>
                  <a:cubicBezTo>
                    <a:pt x="810" y="2770"/>
                    <a:pt x="811" y="2771"/>
                    <a:pt x="811" y="2771"/>
                  </a:cubicBezTo>
                  <a:cubicBezTo>
                    <a:pt x="815" y="2774"/>
                    <a:pt x="819" y="2778"/>
                    <a:pt x="823" y="2781"/>
                  </a:cubicBezTo>
                  <a:cubicBezTo>
                    <a:pt x="847" y="2798"/>
                    <a:pt x="874" y="2807"/>
                    <a:pt x="902" y="2807"/>
                  </a:cubicBezTo>
                  <a:cubicBezTo>
                    <a:pt x="923" y="2807"/>
                    <a:pt x="944" y="2802"/>
                    <a:pt x="964" y="2791"/>
                  </a:cubicBezTo>
                  <a:lnTo>
                    <a:pt x="1371" y="2577"/>
                  </a:lnTo>
                  <a:lnTo>
                    <a:pt x="1132" y="4583"/>
                  </a:lnTo>
                  <a:lnTo>
                    <a:pt x="891" y="4583"/>
                  </a:lnTo>
                  <a:cubicBezTo>
                    <a:pt x="804" y="4583"/>
                    <a:pt x="731" y="4645"/>
                    <a:pt x="717" y="4731"/>
                  </a:cubicBezTo>
                  <a:lnTo>
                    <a:pt x="675" y="4997"/>
                  </a:lnTo>
                  <a:lnTo>
                    <a:pt x="360" y="4997"/>
                  </a:lnTo>
                  <a:cubicBezTo>
                    <a:pt x="268" y="4997"/>
                    <a:pt x="190" y="5063"/>
                    <a:pt x="175" y="5155"/>
                  </a:cubicBezTo>
                  <a:lnTo>
                    <a:pt x="9" y="6183"/>
                  </a:lnTo>
                  <a:cubicBezTo>
                    <a:pt x="0" y="6237"/>
                    <a:pt x="15" y="6292"/>
                    <a:pt x="51" y="6334"/>
                  </a:cubicBezTo>
                  <a:cubicBezTo>
                    <a:pt x="87" y="6376"/>
                    <a:pt x="139" y="6400"/>
                    <a:pt x="194" y="6400"/>
                  </a:cubicBezTo>
                  <a:lnTo>
                    <a:pt x="3260" y="6400"/>
                  </a:lnTo>
                  <a:cubicBezTo>
                    <a:pt x="3315" y="6400"/>
                    <a:pt x="3367" y="6376"/>
                    <a:pt x="3403" y="6334"/>
                  </a:cubicBezTo>
                  <a:cubicBezTo>
                    <a:pt x="3439" y="6292"/>
                    <a:pt x="3454" y="6237"/>
                    <a:pt x="3445" y="6183"/>
                  </a:cubicBezTo>
                  <a:close/>
                  <a:moveTo>
                    <a:pt x="974" y="2574"/>
                  </a:moveTo>
                  <a:lnTo>
                    <a:pt x="1109" y="1784"/>
                  </a:lnTo>
                  <a:cubicBezTo>
                    <a:pt x="1114" y="1754"/>
                    <a:pt x="1104" y="1723"/>
                    <a:pt x="1082" y="1701"/>
                  </a:cubicBezTo>
                  <a:lnTo>
                    <a:pt x="508" y="1141"/>
                  </a:lnTo>
                  <a:lnTo>
                    <a:pt x="1302" y="1026"/>
                  </a:lnTo>
                  <a:cubicBezTo>
                    <a:pt x="1332" y="1022"/>
                    <a:pt x="1359" y="1002"/>
                    <a:pt x="1372" y="975"/>
                  </a:cubicBezTo>
                  <a:lnTo>
                    <a:pt x="1727" y="256"/>
                  </a:lnTo>
                  <a:lnTo>
                    <a:pt x="2082" y="975"/>
                  </a:lnTo>
                  <a:cubicBezTo>
                    <a:pt x="2096" y="1002"/>
                    <a:pt x="2122" y="1022"/>
                    <a:pt x="2152" y="1026"/>
                  </a:cubicBezTo>
                  <a:lnTo>
                    <a:pt x="2946" y="1141"/>
                  </a:lnTo>
                  <a:lnTo>
                    <a:pt x="2372" y="1701"/>
                  </a:lnTo>
                  <a:cubicBezTo>
                    <a:pt x="2350" y="1723"/>
                    <a:pt x="2340" y="1754"/>
                    <a:pt x="2345" y="1784"/>
                  </a:cubicBezTo>
                  <a:lnTo>
                    <a:pt x="2480" y="2574"/>
                  </a:lnTo>
                  <a:lnTo>
                    <a:pt x="1771" y="2201"/>
                  </a:lnTo>
                  <a:cubicBezTo>
                    <a:pt x="1757" y="2194"/>
                    <a:pt x="1742" y="2190"/>
                    <a:pt x="1727" y="2190"/>
                  </a:cubicBezTo>
                  <a:cubicBezTo>
                    <a:pt x="1712" y="2190"/>
                    <a:pt x="1697" y="2194"/>
                    <a:pt x="1683" y="2201"/>
                  </a:cubicBezTo>
                  <a:lnTo>
                    <a:pt x="974" y="2574"/>
                  </a:lnTo>
                  <a:close/>
                  <a:moveTo>
                    <a:pt x="901" y="4770"/>
                  </a:moveTo>
                  <a:lnTo>
                    <a:pt x="901" y="4770"/>
                  </a:lnTo>
                  <a:lnTo>
                    <a:pt x="2553" y="4770"/>
                  </a:lnTo>
                  <a:lnTo>
                    <a:pt x="2553" y="4770"/>
                  </a:lnTo>
                  <a:lnTo>
                    <a:pt x="2589" y="4997"/>
                  </a:lnTo>
                  <a:lnTo>
                    <a:pt x="865" y="4997"/>
                  </a:lnTo>
                  <a:lnTo>
                    <a:pt x="901" y="4770"/>
                  </a:lnTo>
                  <a:close/>
                  <a:moveTo>
                    <a:pt x="3260" y="6213"/>
                  </a:moveTo>
                  <a:lnTo>
                    <a:pt x="194" y="6213"/>
                  </a:lnTo>
                  <a:lnTo>
                    <a:pt x="360" y="5185"/>
                  </a:lnTo>
                  <a:lnTo>
                    <a:pt x="3094" y="5185"/>
                  </a:lnTo>
                  <a:lnTo>
                    <a:pt x="3260" y="6213"/>
                  </a:lnTo>
                  <a:cubicBezTo>
                    <a:pt x="3260" y="6213"/>
                    <a:pt x="3260" y="6213"/>
                    <a:pt x="3260" y="62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15">
              <a:extLst>
                <a:ext uri="{FF2B5EF4-FFF2-40B4-BE49-F238E27FC236}">
                  <a16:creationId xmlns:a16="http://schemas.microsoft.com/office/drawing/2014/main" id="{D7A4B166-22BA-4E77-9FCE-A1CE4E3FDF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3" y="3547"/>
              <a:ext cx="159" cy="40"/>
            </a:xfrm>
            <a:custGeom>
              <a:avLst/>
              <a:gdLst>
                <a:gd name="T0" fmla="*/ 2575 w 2582"/>
                <a:gd name="T1" fmla="*/ 484 h 650"/>
                <a:gd name="T2" fmla="*/ 2516 w 2582"/>
                <a:gd name="T3" fmla="*/ 119 h 650"/>
                <a:gd name="T4" fmla="*/ 2376 w 2582"/>
                <a:gd name="T5" fmla="*/ 0 h 650"/>
                <a:gd name="T6" fmla="*/ 206 w 2582"/>
                <a:gd name="T7" fmla="*/ 0 h 650"/>
                <a:gd name="T8" fmla="*/ 66 w 2582"/>
                <a:gd name="T9" fmla="*/ 119 h 650"/>
                <a:gd name="T10" fmla="*/ 7 w 2582"/>
                <a:gd name="T11" fmla="*/ 484 h 650"/>
                <a:gd name="T12" fmla="*/ 39 w 2582"/>
                <a:gd name="T13" fmla="*/ 599 h 650"/>
                <a:gd name="T14" fmla="*/ 147 w 2582"/>
                <a:gd name="T15" fmla="*/ 650 h 650"/>
                <a:gd name="T16" fmla="*/ 2435 w 2582"/>
                <a:gd name="T17" fmla="*/ 650 h 650"/>
                <a:gd name="T18" fmla="*/ 2543 w 2582"/>
                <a:gd name="T19" fmla="*/ 599 h 650"/>
                <a:gd name="T20" fmla="*/ 2575 w 2582"/>
                <a:gd name="T21" fmla="*/ 484 h 650"/>
                <a:gd name="T22" fmla="*/ 200 w 2582"/>
                <a:gd name="T23" fmla="*/ 462 h 650"/>
                <a:gd name="T24" fmla="*/ 245 w 2582"/>
                <a:gd name="T25" fmla="*/ 187 h 650"/>
                <a:gd name="T26" fmla="*/ 2337 w 2582"/>
                <a:gd name="T27" fmla="*/ 187 h 650"/>
                <a:gd name="T28" fmla="*/ 2382 w 2582"/>
                <a:gd name="T29" fmla="*/ 462 h 650"/>
                <a:gd name="T30" fmla="*/ 200 w 2582"/>
                <a:gd name="T31" fmla="*/ 462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82" h="650">
                  <a:moveTo>
                    <a:pt x="2575" y="484"/>
                  </a:moveTo>
                  <a:lnTo>
                    <a:pt x="2516" y="119"/>
                  </a:lnTo>
                  <a:cubicBezTo>
                    <a:pt x="2505" y="50"/>
                    <a:pt x="2446" y="0"/>
                    <a:pt x="2376" y="0"/>
                  </a:cubicBezTo>
                  <a:lnTo>
                    <a:pt x="206" y="0"/>
                  </a:lnTo>
                  <a:cubicBezTo>
                    <a:pt x="136" y="0"/>
                    <a:pt x="77" y="50"/>
                    <a:pt x="66" y="119"/>
                  </a:cubicBezTo>
                  <a:lnTo>
                    <a:pt x="7" y="484"/>
                  </a:lnTo>
                  <a:cubicBezTo>
                    <a:pt x="0" y="525"/>
                    <a:pt x="12" y="567"/>
                    <a:pt x="39" y="599"/>
                  </a:cubicBezTo>
                  <a:cubicBezTo>
                    <a:pt x="66" y="631"/>
                    <a:pt x="106" y="650"/>
                    <a:pt x="147" y="650"/>
                  </a:cubicBezTo>
                  <a:lnTo>
                    <a:pt x="2435" y="650"/>
                  </a:lnTo>
                  <a:cubicBezTo>
                    <a:pt x="2476" y="650"/>
                    <a:pt x="2516" y="631"/>
                    <a:pt x="2543" y="599"/>
                  </a:cubicBezTo>
                  <a:cubicBezTo>
                    <a:pt x="2570" y="567"/>
                    <a:pt x="2582" y="525"/>
                    <a:pt x="2575" y="484"/>
                  </a:cubicBezTo>
                  <a:close/>
                  <a:moveTo>
                    <a:pt x="200" y="462"/>
                  </a:moveTo>
                  <a:lnTo>
                    <a:pt x="245" y="187"/>
                  </a:lnTo>
                  <a:lnTo>
                    <a:pt x="2337" y="187"/>
                  </a:lnTo>
                  <a:lnTo>
                    <a:pt x="2382" y="462"/>
                  </a:lnTo>
                  <a:lnTo>
                    <a:pt x="200" y="4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object 12">
            <a:extLst>
              <a:ext uri="{FF2B5EF4-FFF2-40B4-BE49-F238E27FC236}">
                <a16:creationId xmlns:a16="http://schemas.microsoft.com/office/drawing/2014/main" id="{E7A226E0-2D62-4D44-924B-B134279033CE}"/>
              </a:ext>
            </a:extLst>
          </p:cNvPr>
          <p:cNvSpPr/>
          <p:nvPr/>
        </p:nvSpPr>
        <p:spPr>
          <a:xfrm>
            <a:off x="6333171" y="190692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6" name="object 12">
            <a:extLst>
              <a:ext uri="{FF2B5EF4-FFF2-40B4-BE49-F238E27FC236}">
                <a16:creationId xmlns:a16="http://schemas.microsoft.com/office/drawing/2014/main" id="{D4FF2A23-0F29-4976-A6EF-860EC7B0A069}"/>
              </a:ext>
            </a:extLst>
          </p:cNvPr>
          <p:cNvSpPr/>
          <p:nvPr/>
        </p:nvSpPr>
        <p:spPr>
          <a:xfrm>
            <a:off x="6333171" y="408804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3" name="Group 229">
            <a:extLst>
              <a:ext uri="{FF2B5EF4-FFF2-40B4-BE49-F238E27FC236}">
                <a16:creationId xmlns:a16="http://schemas.microsoft.com/office/drawing/2014/main" id="{B1767019-DBD2-479B-9B6F-C2CE9858824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90248" y="4142084"/>
            <a:ext cx="453688" cy="598076"/>
            <a:chOff x="4188" y="2884"/>
            <a:chExt cx="641" cy="845"/>
          </a:xfrm>
          <a:solidFill>
            <a:schemeClr val="bg2">
              <a:lumMod val="25000"/>
            </a:schemeClr>
          </a:solidFill>
        </p:grpSpPr>
        <p:sp>
          <p:nvSpPr>
            <p:cNvPr id="44" name="Freeform 230">
              <a:extLst>
                <a:ext uri="{FF2B5EF4-FFF2-40B4-BE49-F238E27FC236}">
                  <a16:creationId xmlns:a16="http://schemas.microsoft.com/office/drawing/2014/main" id="{F7450A36-9C8A-494B-AFC3-6BF90FAAC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" y="3498"/>
              <a:ext cx="43" cy="72"/>
            </a:xfrm>
            <a:custGeom>
              <a:avLst/>
              <a:gdLst>
                <a:gd name="T0" fmla="*/ 235 w 329"/>
                <a:gd name="T1" fmla="*/ 0 h 547"/>
                <a:gd name="T2" fmla="*/ 141 w 329"/>
                <a:gd name="T3" fmla="*/ 94 h 547"/>
                <a:gd name="T4" fmla="*/ 141 w 329"/>
                <a:gd name="T5" fmla="*/ 266 h 547"/>
                <a:gd name="T6" fmla="*/ 73 w 329"/>
                <a:gd name="T7" fmla="*/ 366 h 547"/>
                <a:gd name="T8" fmla="*/ 18 w 329"/>
                <a:gd name="T9" fmla="*/ 487 h 547"/>
                <a:gd name="T10" fmla="*/ 106 w 329"/>
                <a:gd name="T11" fmla="*/ 547 h 547"/>
                <a:gd name="T12" fmla="*/ 139 w 329"/>
                <a:gd name="T13" fmla="*/ 541 h 547"/>
                <a:gd name="T14" fmla="*/ 329 w 329"/>
                <a:gd name="T15" fmla="*/ 266 h 547"/>
                <a:gd name="T16" fmla="*/ 329 w 329"/>
                <a:gd name="T17" fmla="*/ 94 h 547"/>
                <a:gd name="T18" fmla="*/ 235 w 329"/>
                <a:gd name="T19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9" h="547">
                  <a:moveTo>
                    <a:pt x="235" y="0"/>
                  </a:moveTo>
                  <a:cubicBezTo>
                    <a:pt x="183" y="0"/>
                    <a:pt x="141" y="42"/>
                    <a:pt x="141" y="94"/>
                  </a:cubicBezTo>
                  <a:lnTo>
                    <a:pt x="141" y="266"/>
                  </a:lnTo>
                  <a:cubicBezTo>
                    <a:pt x="141" y="310"/>
                    <a:pt x="114" y="350"/>
                    <a:pt x="73" y="366"/>
                  </a:cubicBezTo>
                  <a:cubicBezTo>
                    <a:pt x="24" y="384"/>
                    <a:pt x="0" y="438"/>
                    <a:pt x="18" y="487"/>
                  </a:cubicBezTo>
                  <a:cubicBezTo>
                    <a:pt x="33" y="524"/>
                    <a:pt x="68" y="547"/>
                    <a:pt x="106" y="547"/>
                  </a:cubicBezTo>
                  <a:cubicBezTo>
                    <a:pt x="117" y="547"/>
                    <a:pt x="128" y="545"/>
                    <a:pt x="139" y="541"/>
                  </a:cubicBezTo>
                  <a:cubicBezTo>
                    <a:pt x="253" y="498"/>
                    <a:pt x="329" y="387"/>
                    <a:pt x="329" y="266"/>
                  </a:cubicBezTo>
                  <a:lnTo>
                    <a:pt x="329" y="94"/>
                  </a:lnTo>
                  <a:cubicBezTo>
                    <a:pt x="329" y="42"/>
                    <a:pt x="287" y="0"/>
                    <a:pt x="23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1">
              <a:extLst>
                <a:ext uri="{FF2B5EF4-FFF2-40B4-BE49-F238E27FC236}">
                  <a16:creationId xmlns:a16="http://schemas.microsoft.com/office/drawing/2014/main" id="{427FE3DA-C599-4FAF-AE20-1F00523F4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8" y="3067"/>
              <a:ext cx="230" cy="504"/>
            </a:xfrm>
            <a:custGeom>
              <a:avLst/>
              <a:gdLst>
                <a:gd name="T0" fmla="*/ 1649 w 1742"/>
                <a:gd name="T1" fmla="*/ 3631 h 3818"/>
                <a:gd name="T2" fmla="*/ 294 w 1742"/>
                <a:gd name="T3" fmla="*/ 3631 h 3818"/>
                <a:gd name="T4" fmla="*/ 187 w 1742"/>
                <a:gd name="T5" fmla="*/ 3524 h 3818"/>
                <a:gd name="T6" fmla="*/ 187 w 1742"/>
                <a:gd name="T7" fmla="*/ 93 h 3818"/>
                <a:gd name="T8" fmla="*/ 94 w 1742"/>
                <a:gd name="T9" fmla="*/ 0 h 3818"/>
                <a:gd name="T10" fmla="*/ 0 w 1742"/>
                <a:gd name="T11" fmla="*/ 93 h 3818"/>
                <a:gd name="T12" fmla="*/ 0 w 1742"/>
                <a:gd name="T13" fmla="*/ 3524 h 3818"/>
                <a:gd name="T14" fmla="*/ 294 w 1742"/>
                <a:gd name="T15" fmla="*/ 3818 h 3818"/>
                <a:gd name="T16" fmla="*/ 1649 w 1742"/>
                <a:gd name="T17" fmla="*/ 3818 h 3818"/>
                <a:gd name="T18" fmla="*/ 1742 w 1742"/>
                <a:gd name="T19" fmla="*/ 3724 h 3818"/>
                <a:gd name="T20" fmla="*/ 1649 w 1742"/>
                <a:gd name="T21" fmla="*/ 3631 h 3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42" h="3818">
                  <a:moveTo>
                    <a:pt x="1649" y="3631"/>
                  </a:moveTo>
                  <a:lnTo>
                    <a:pt x="294" y="3631"/>
                  </a:lnTo>
                  <a:cubicBezTo>
                    <a:pt x="235" y="3631"/>
                    <a:pt x="187" y="3583"/>
                    <a:pt x="187" y="3524"/>
                  </a:cubicBezTo>
                  <a:lnTo>
                    <a:pt x="187" y="93"/>
                  </a:lnTo>
                  <a:cubicBezTo>
                    <a:pt x="187" y="42"/>
                    <a:pt x="145" y="0"/>
                    <a:pt x="94" y="0"/>
                  </a:cubicBezTo>
                  <a:cubicBezTo>
                    <a:pt x="42" y="0"/>
                    <a:pt x="0" y="42"/>
                    <a:pt x="0" y="93"/>
                  </a:cubicBezTo>
                  <a:lnTo>
                    <a:pt x="0" y="3524"/>
                  </a:lnTo>
                  <a:cubicBezTo>
                    <a:pt x="0" y="3686"/>
                    <a:pt x="132" y="3818"/>
                    <a:pt x="294" y="3818"/>
                  </a:cubicBezTo>
                  <a:lnTo>
                    <a:pt x="1649" y="3818"/>
                  </a:lnTo>
                  <a:cubicBezTo>
                    <a:pt x="1700" y="3818"/>
                    <a:pt x="1742" y="3776"/>
                    <a:pt x="1742" y="3724"/>
                  </a:cubicBezTo>
                  <a:cubicBezTo>
                    <a:pt x="1742" y="3673"/>
                    <a:pt x="1700" y="3631"/>
                    <a:pt x="1649" y="36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2">
              <a:extLst>
                <a:ext uri="{FF2B5EF4-FFF2-40B4-BE49-F238E27FC236}">
                  <a16:creationId xmlns:a16="http://schemas.microsoft.com/office/drawing/2014/main" id="{272AC321-70D5-49AE-8DED-66C002CDBB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8" y="2884"/>
              <a:ext cx="460" cy="190"/>
            </a:xfrm>
            <a:custGeom>
              <a:avLst/>
              <a:gdLst>
                <a:gd name="T0" fmla="*/ 94 w 3489"/>
                <a:gd name="T1" fmla="*/ 1181 h 1437"/>
                <a:gd name="T2" fmla="*/ 187 w 3489"/>
                <a:gd name="T3" fmla="*/ 1087 h 1437"/>
                <a:gd name="T4" fmla="*/ 187 w 3489"/>
                <a:gd name="T5" fmla="*/ 829 h 1437"/>
                <a:gd name="T6" fmla="*/ 294 w 3489"/>
                <a:gd name="T7" fmla="*/ 722 h 1437"/>
                <a:gd name="T8" fmla="*/ 968 w 3489"/>
                <a:gd name="T9" fmla="*/ 722 h 1437"/>
                <a:gd name="T10" fmla="*/ 968 w 3489"/>
                <a:gd name="T11" fmla="*/ 854 h 1437"/>
                <a:gd name="T12" fmla="*/ 1153 w 3489"/>
                <a:gd name="T13" fmla="*/ 1039 h 1437"/>
                <a:gd name="T14" fmla="*/ 2336 w 3489"/>
                <a:gd name="T15" fmla="*/ 1039 h 1437"/>
                <a:gd name="T16" fmla="*/ 2520 w 3489"/>
                <a:gd name="T17" fmla="*/ 854 h 1437"/>
                <a:gd name="T18" fmla="*/ 2520 w 3489"/>
                <a:gd name="T19" fmla="*/ 722 h 1437"/>
                <a:gd name="T20" fmla="*/ 3195 w 3489"/>
                <a:gd name="T21" fmla="*/ 722 h 1437"/>
                <a:gd name="T22" fmla="*/ 3301 w 3489"/>
                <a:gd name="T23" fmla="*/ 829 h 1437"/>
                <a:gd name="T24" fmla="*/ 3301 w 3489"/>
                <a:gd name="T25" fmla="*/ 1344 h 1437"/>
                <a:gd name="T26" fmla="*/ 3395 w 3489"/>
                <a:gd name="T27" fmla="*/ 1437 h 1437"/>
                <a:gd name="T28" fmla="*/ 3489 w 3489"/>
                <a:gd name="T29" fmla="*/ 1344 h 1437"/>
                <a:gd name="T30" fmla="*/ 3489 w 3489"/>
                <a:gd name="T31" fmla="*/ 829 h 1437"/>
                <a:gd name="T32" fmla="*/ 3195 w 3489"/>
                <a:gd name="T33" fmla="*/ 535 h 1437"/>
                <a:gd name="T34" fmla="*/ 2518 w 3489"/>
                <a:gd name="T35" fmla="*/ 535 h 1437"/>
                <a:gd name="T36" fmla="*/ 2336 w 3489"/>
                <a:gd name="T37" fmla="*/ 376 h 1437"/>
                <a:gd name="T38" fmla="*/ 2205 w 3489"/>
                <a:gd name="T39" fmla="*/ 376 h 1437"/>
                <a:gd name="T40" fmla="*/ 1744 w 3489"/>
                <a:gd name="T41" fmla="*/ 0 h 1437"/>
                <a:gd name="T42" fmla="*/ 1284 w 3489"/>
                <a:gd name="T43" fmla="*/ 376 h 1437"/>
                <a:gd name="T44" fmla="*/ 1153 w 3489"/>
                <a:gd name="T45" fmla="*/ 376 h 1437"/>
                <a:gd name="T46" fmla="*/ 970 w 3489"/>
                <a:gd name="T47" fmla="*/ 535 h 1437"/>
                <a:gd name="T48" fmla="*/ 294 w 3489"/>
                <a:gd name="T49" fmla="*/ 535 h 1437"/>
                <a:gd name="T50" fmla="*/ 0 w 3489"/>
                <a:gd name="T51" fmla="*/ 829 h 1437"/>
                <a:gd name="T52" fmla="*/ 0 w 3489"/>
                <a:gd name="T53" fmla="*/ 1087 h 1437"/>
                <a:gd name="T54" fmla="*/ 94 w 3489"/>
                <a:gd name="T55" fmla="*/ 1181 h 1437"/>
                <a:gd name="T56" fmla="*/ 1744 w 3489"/>
                <a:gd name="T57" fmla="*/ 188 h 1437"/>
                <a:gd name="T58" fmla="*/ 2011 w 3489"/>
                <a:gd name="T59" fmla="*/ 376 h 1437"/>
                <a:gd name="T60" fmla="*/ 1478 w 3489"/>
                <a:gd name="T61" fmla="*/ 376 h 1437"/>
                <a:gd name="T62" fmla="*/ 1744 w 3489"/>
                <a:gd name="T63" fmla="*/ 188 h 1437"/>
                <a:gd name="T64" fmla="*/ 1156 w 3489"/>
                <a:gd name="T65" fmla="*/ 564 h 1437"/>
                <a:gd name="T66" fmla="*/ 1368 w 3489"/>
                <a:gd name="T67" fmla="*/ 564 h 1437"/>
                <a:gd name="T68" fmla="*/ 2120 w 3489"/>
                <a:gd name="T69" fmla="*/ 564 h 1437"/>
                <a:gd name="T70" fmla="*/ 2333 w 3489"/>
                <a:gd name="T71" fmla="*/ 564 h 1437"/>
                <a:gd name="T72" fmla="*/ 2333 w 3489"/>
                <a:gd name="T73" fmla="*/ 627 h 1437"/>
                <a:gd name="T74" fmla="*/ 2333 w 3489"/>
                <a:gd name="T75" fmla="*/ 628 h 1437"/>
                <a:gd name="T76" fmla="*/ 2333 w 3489"/>
                <a:gd name="T77" fmla="*/ 630 h 1437"/>
                <a:gd name="T78" fmla="*/ 2333 w 3489"/>
                <a:gd name="T79" fmla="*/ 851 h 1437"/>
                <a:gd name="T80" fmla="*/ 1156 w 3489"/>
                <a:gd name="T81" fmla="*/ 851 h 1437"/>
                <a:gd name="T82" fmla="*/ 1156 w 3489"/>
                <a:gd name="T83" fmla="*/ 564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89" h="1437">
                  <a:moveTo>
                    <a:pt x="94" y="1181"/>
                  </a:moveTo>
                  <a:cubicBezTo>
                    <a:pt x="145" y="1181"/>
                    <a:pt x="187" y="1139"/>
                    <a:pt x="187" y="1087"/>
                  </a:cubicBezTo>
                  <a:lnTo>
                    <a:pt x="187" y="829"/>
                  </a:lnTo>
                  <a:cubicBezTo>
                    <a:pt x="187" y="770"/>
                    <a:pt x="235" y="722"/>
                    <a:pt x="294" y="722"/>
                  </a:cubicBezTo>
                  <a:lnTo>
                    <a:pt x="968" y="722"/>
                  </a:lnTo>
                  <a:lnTo>
                    <a:pt x="968" y="854"/>
                  </a:lnTo>
                  <a:cubicBezTo>
                    <a:pt x="968" y="956"/>
                    <a:pt x="1051" y="1039"/>
                    <a:pt x="1153" y="1039"/>
                  </a:cubicBezTo>
                  <a:lnTo>
                    <a:pt x="2336" y="1039"/>
                  </a:lnTo>
                  <a:cubicBezTo>
                    <a:pt x="2437" y="1039"/>
                    <a:pt x="2520" y="956"/>
                    <a:pt x="2520" y="854"/>
                  </a:cubicBezTo>
                  <a:lnTo>
                    <a:pt x="2520" y="722"/>
                  </a:lnTo>
                  <a:lnTo>
                    <a:pt x="3195" y="722"/>
                  </a:lnTo>
                  <a:cubicBezTo>
                    <a:pt x="3253" y="722"/>
                    <a:pt x="3301" y="770"/>
                    <a:pt x="3301" y="829"/>
                  </a:cubicBezTo>
                  <a:lnTo>
                    <a:pt x="3301" y="1344"/>
                  </a:lnTo>
                  <a:cubicBezTo>
                    <a:pt x="3301" y="1395"/>
                    <a:pt x="3343" y="1437"/>
                    <a:pt x="3395" y="1437"/>
                  </a:cubicBezTo>
                  <a:cubicBezTo>
                    <a:pt x="3447" y="1437"/>
                    <a:pt x="3489" y="1395"/>
                    <a:pt x="3489" y="1344"/>
                  </a:cubicBezTo>
                  <a:lnTo>
                    <a:pt x="3489" y="829"/>
                  </a:lnTo>
                  <a:cubicBezTo>
                    <a:pt x="3489" y="667"/>
                    <a:pt x="3357" y="535"/>
                    <a:pt x="3195" y="535"/>
                  </a:cubicBezTo>
                  <a:lnTo>
                    <a:pt x="2518" y="535"/>
                  </a:lnTo>
                  <a:cubicBezTo>
                    <a:pt x="2506" y="445"/>
                    <a:pt x="2429" y="376"/>
                    <a:pt x="2336" y="376"/>
                  </a:cubicBezTo>
                  <a:lnTo>
                    <a:pt x="2205" y="376"/>
                  </a:lnTo>
                  <a:cubicBezTo>
                    <a:pt x="2161" y="162"/>
                    <a:pt x="1971" y="0"/>
                    <a:pt x="1744" y="0"/>
                  </a:cubicBezTo>
                  <a:cubicBezTo>
                    <a:pt x="1517" y="0"/>
                    <a:pt x="1328" y="162"/>
                    <a:pt x="1284" y="376"/>
                  </a:cubicBezTo>
                  <a:lnTo>
                    <a:pt x="1153" y="376"/>
                  </a:lnTo>
                  <a:cubicBezTo>
                    <a:pt x="1060" y="376"/>
                    <a:pt x="983" y="445"/>
                    <a:pt x="970" y="535"/>
                  </a:cubicBezTo>
                  <a:lnTo>
                    <a:pt x="294" y="535"/>
                  </a:lnTo>
                  <a:cubicBezTo>
                    <a:pt x="132" y="535"/>
                    <a:pt x="0" y="667"/>
                    <a:pt x="0" y="829"/>
                  </a:cubicBezTo>
                  <a:lnTo>
                    <a:pt x="0" y="1087"/>
                  </a:lnTo>
                  <a:cubicBezTo>
                    <a:pt x="0" y="1139"/>
                    <a:pt x="42" y="1181"/>
                    <a:pt x="94" y="1181"/>
                  </a:cubicBezTo>
                  <a:close/>
                  <a:moveTo>
                    <a:pt x="1744" y="188"/>
                  </a:moveTo>
                  <a:cubicBezTo>
                    <a:pt x="1867" y="188"/>
                    <a:pt x="1972" y="266"/>
                    <a:pt x="2011" y="376"/>
                  </a:cubicBezTo>
                  <a:lnTo>
                    <a:pt x="1478" y="376"/>
                  </a:lnTo>
                  <a:cubicBezTo>
                    <a:pt x="1517" y="266"/>
                    <a:pt x="1622" y="188"/>
                    <a:pt x="1744" y="188"/>
                  </a:cubicBezTo>
                  <a:close/>
                  <a:moveTo>
                    <a:pt x="1156" y="564"/>
                  </a:moveTo>
                  <a:lnTo>
                    <a:pt x="1368" y="564"/>
                  </a:lnTo>
                  <a:lnTo>
                    <a:pt x="2120" y="564"/>
                  </a:lnTo>
                  <a:lnTo>
                    <a:pt x="2333" y="564"/>
                  </a:lnTo>
                  <a:lnTo>
                    <a:pt x="2333" y="627"/>
                  </a:lnTo>
                  <a:cubicBezTo>
                    <a:pt x="2333" y="628"/>
                    <a:pt x="2333" y="628"/>
                    <a:pt x="2333" y="628"/>
                  </a:cubicBezTo>
                  <a:cubicBezTo>
                    <a:pt x="2333" y="629"/>
                    <a:pt x="2333" y="629"/>
                    <a:pt x="2333" y="630"/>
                  </a:cubicBezTo>
                  <a:lnTo>
                    <a:pt x="2333" y="851"/>
                  </a:lnTo>
                  <a:lnTo>
                    <a:pt x="1156" y="851"/>
                  </a:lnTo>
                  <a:lnTo>
                    <a:pt x="1156" y="5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3">
              <a:extLst>
                <a:ext uri="{FF2B5EF4-FFF2-40B4-BE49-F238E27FC236}">
                  <a16:creationId xmlns:a16="http://schemas.microsoft.com/office/drawing/2014/main" id="{7CA81FD5-EF52-4926-8689-8B9D1A7B2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3" y="3154"/>
              <a:ext cx="25" cy="65"/>
            </a:xfrm>
            <a:custGeom>
              <a:avLst/>
              <a:gdLst>
                <a:gd name="T0" fmla="*/ 188 w 188"/>
                <a:gd name="T1" fmla="*/ 401 h 494"/>
                <a:gd name="T2" fmla="*/ 188 w 188"/>
                <a:gd name="T3" fmla="*/ 93 h 494"/>
                <a:gd name="T4" fmla="*/ 94 w 188"/>
                <a:gd name="T5" fmla="*/ 0 h 494"/>
                <a:gd name="T6" fmla="*/ 0 w 188"/>
                <a:gd name="T7" fmla="*/ 93 h 494"/>
                <a:gd name="T8" fmla="*/ 0 w 188"/>
                <a:gd name="T9" fmla="*/ 401 h 494"/>
                <a:gd name="T10" fmla="*/ 94 w 188"/>
                <a:gd name="T11" fmla="*/ 494 h 494"/>
                <a:gd name="T12" fmla="*/ 188 w 188"/>
                <a:gd name="T13" fmla="*/ 401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494">
                  <a:moveTo>
                    <a:pt x="188" y="401"/>
                  </a:moveTo>
                  <a:lnTo>
                    <a:pt x="188" y="93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3"/>
                  </a:cubicBezTo>
                  <a:lnTo>
                    <a:pt x="0" y="401"/>
                  </a:lnTo>
                  <a:cubicBezTo>
                    <a:pt x="0" y="452"/>
                    <a:pt x="42" y="494"/>
                    <a:pt x="94" y="494"/>
                  </a:cubicBezTo>
                  <a:cubicBezTo>
                    <a:pt x="146" y="494"/>
                    <a:pt x="188" y="452"/>
                    <a:pt x="188" y="4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4">
              <a:extLst>
                <a:ext uri="{FF2B5EF4-FFF2-40B4-BE49-F238E27FC236}">
                  <a16:creationId xmlns:a16="http://schemas.microsoft.com/office/drawing/2014/main" id="{5188A17F-C14C-49D1-BBBE-9B61DCE16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6" y="3446"/>
              <a:ext cx="179" cy="179"/>
            </a:xfrm>
            <a:custGeom>
              <a:avLst/>
              <a:gdLst>
                <a:gd name="T0" fmla="*/ 679 w 1358"/>
                <a:gd name="T1" fmla="*/ 0 h 1358"/>
                <a:gd name="T2" fmla="*/ 0 w 1358"/>
                <a:gd name="T3" fmla="*/ 679 h 1358"/>
                <a:gd name="T4" fmla="*/ 679 w 1358"/>
                <a:gd name="T5" fmla="*/ 1358 h 1358"/>
                <a:gd name="T6" fmla="*/ 1358 w 1358"/>
                <a:gd name="T7" fmla="*/ 679 h 1358"/>
                <a:gd name="T8" fmla="*/ 679 w 1358"/>
                <a:gd name="T9" fmla="*/ 0 h 1358"/>
                <a:gd name="T10" fmla="*/ 679 w 1358"/>
                <a:gd name="T11" fmla="*/ 1171 h 1358"/>
                <a:gd name="T12" fmla="*/ 187 w 1358"/>
                <a:gd name="T13" fmla="*/ 679 h 1358"/>
                <a:gd name="T14" fmla="*/ 679 w 1358"/>
                <a:gd name="T15" fmla="*/ 187 h 1358"/>
                <a:gd name="T16" fmla="*/ 1171 w 1358"/>
                <a:gd name="T17" fmla="*/ 679 h 1358"/>
                <a:gd name="T18" fmla="*/ 679 w 1358"/>
                <a:gd name="T19" fmla="*/ 1171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8" h="1358">
                  <a:moveTo>
                    <a:pt x="679" y="0"/>
                  </a:moveTo>
                  <a:cubicBezTo>
                    <a:pt x="305" y="0"/>
                    <a:pt x="0" y="304"/>
                    <a:pt x="0" y="679"/>
                  </a:cubicBezTo>
                  <a:cubicBezTo>
                    <a:pt x="0" y="1053"/>
                    <a:pt x="305" y="1358"/>
                    <a:pt x="679" y="1358"/>
                  </a:cubicBezTo>
                  <a:cubicBezTo>
                    <a:pt x="1054" y="1358"/>
                    <a:pt x="1358" y="1053"/>
                    <a:pt x="1358" y="679"/>
                  </a:cubicBezTo>
                  <a:cubicBezTo>
                    <a:pt x="1358" y="304"/>
                    <a:pt x="1054" y="0"/>
                    <a:pt x="679" y="0"/>
                  </a:cubicBezTo>
                  <a:close/>
                  <a:moveTo>
                    <a:pt x="679" y="1171"/>
                  </a:moveTo>
                  <a:cubicBezTo>
                    <a:pt x="408" y="1171"/>
                    <a:pt x="187" y="950"/>
                    <a:pt x="187" y="679"/>
                  </a:cubicBezTo>
                  <a:cubicBezTo>
                    <a:pt x="187" y="408"/>
                    <a:pt x="408" y="187"/>
                    <a:pt x="679" y="187"/>
                  </a:cubicBezTo>
                  <a:cubicBezTo>
                    <a:pt x="950" y="187"/>
                    <a:pt x="1171" y="408"/>
                    <a:pt x="1171" y="679"/>
                  </a:cubicBezTo>
                  <a:cubicBezTo>
                    <a:pt x="1171" y="950"/>
                    <a:pt x="950" y="1171"/>
                    <a:pt x="679" y="117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5">
              <a:extLst>
                <a:ext uri="{FF2B5EF4-FFF2-40B4-BE49-F238E27FC236}">
                  <a16:creationId xmlns:a16="http://schemas.microsoft.com/office/drawing/2014/main" id="{65F1DE07-2A42-49CC-BF45-1523317EA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" y="3299"/>
              <a:ext cx="386" cy="430"/>
            </a:xfrm>
            <a:custGeom>
              <a:avLst/>
              <a:gdLst>
                <a:gd name="T0" fmla="*/ 2585 w 2926"/>
                <a:gd name="T1" fmla="*/ 1412 h 3259"/>
                <a:gd name="T2" fmla="*/ 2685 w 2926"/>
                <a:gd name="T3" fmla="*/ 1061 h 3259"/>
                <a:gd name="T4" fmla="*/ 2642 w 2926"/>
                <a:gd name="T5" fmla="*/ 906 h 3259"/>
                <a:gd name="T6" fmla="*/ 2490 w 2926"/>
                <a:gd name="T7" fmla="*/ 1010 h 3259"/>
                <a:gd name="T8" fmla="*/ 2336 w 2926"/>
                <a:gd name="T9" fmla="*/ 1311 h 3259"/>
                <a:gd name="T10" fmla="*/ 2499 w 2926"/>
                <a:gd name="T11" fmla="*/ 1589 h 3259"/>
                <a:gd name="T12" fmla="*/ 2739 w 2926"/>
                <a:gd name="T13" fmla="*/ 1967 h 3259"/>
                <a:gd name="T14" fmla="*/ 2423 w 2926"/>
                <a:gd name="T15" fmla="*/ 2070 h 3259"/>
                <a:gd name="T16" fmla="*/ 2342 w 2926"/>
                <a:gd name="T17" fmla="*/ 2382 h 3259"/>
                <a:gd name="T18" fmla="*/ 2244 w 2926"/>
                <a:gd name="T19" fmla="*/ 2819 h 3259"/>
                <a:gd name="T20" fmla="*/ 1948 w 2926"/>
                <a:gd name="T21" fmla="*/ 2669 h 3259"/>
                <a:gd name="T22" fmla="*/ 1671 w 2926"/>
                <a:gd name="T23" fmla="*/ 2832 h 3259"/>
                <a:gd name="T24" fmla="*/ 1292 w 2926"/>
                <a:gd name="T25" fmla="*/ 3072 h 3259"/>
                <a:gd name="T26" fmla="*/ 1189 w 2926"/>
                <a:gd name="T27" fmla="*/ 2756 h 3259"/>
                <a:gd name="T28" fmla="*/ 877 w 2926"/>
                <a:gd name="T29" fmla="*/ 2675 h 3259"/>
                <a:gd name="T30" fmla="*/ 440 w 2926"/>
                <a:gd name="T31" fmla="*/ 2577 h 3259"/>
                <a:gd name="T32" fmla="*/ 590 w 2926"/>
                <a:gd name="T33" fmla="*/ 2281 h 3259"/>
                <a:gd name="T34" fmla="*/ 427 w 2926"/>
                <a:gd name="T35" fmla="*/ 2003 h 3259"/>
                <a:gd name="T36" fmla="*/ 188 w 2926"/>
                <a:gd name="T37" fmla="*/ 1625 h 3259"/>
                <a:gd name="T38" fmla="*/ 503 w 2926"/>
                <a:gd name="T39" fmla="*/ 1522 h 3259"/>
                <a:gd name="T40" fmla="*/ 584 w 2926"/>
                <a:gd name="T41" fmla="*/ 1210 h 3259"/>
                <a:gd name="T42" fmla="*/ 682 w 2926"/>
                <a:gd name="T43" fmla="*/ 773 h 3259"/>
                <a:gd name="T44" fmla="*/ 978 w 2926"/>
                <a:gd name="T45" fmla="*/ 923 h 3259"/>
                <a:gd name="T46" fmla="*/ 1256 w 2926"/>
                <a:gd name="T47" fmla="*/ 760 h 3259"/>
                <a:gd name="T48" fmla="*/ 1634 w 2926"/>
                <a:gd name="T49" fmla="*/ 520 h 3259"/>
                <a:gd name="T50" fmla="*/ 1737 w 2926"/>
                <a:gd name="T51" fmla="*/ 836 h 3259"/>
                <a:gd name="T52" fmla="*/ 2049 w 2926"/>
                <a:gd name="T53" fmla="*/ 917 h 3259"/>
                <a:gd name="T54" fmla="*/ 2376 w 2926"/>
                <a:gd name="T55" fmla="*/ 772 h 3259"/>
                <a:gd name="T56" fmla="*/ 2320 w 2926"/>
                <a:gd name="T57" fmla="*/ 584 h 3259"/>
                <a:gd name="T58" fmla="*/ 1985 w 2926"/>
                <a:gd name="T59" fmla="*/ 731 h 3259"/>
                <a:gd name="T60" fmla="*/ 1807 w 2926"/>
                <a:gd name="T61" fmla="*/ 413 h 3259"/>
                <a:gd name="T62" fmla="*/ 1557 w 2926"/>
                <a:gd name="T63" fmla="*/ 333 h 3259"/>
                <a:gd name="T64" fmla="*/ 1463 w 2926"/>
                <a:gd name="T65" fmla="*/ 0 h 3259"/>
                <a:gd name="T66" fmla="*/ 1369 w 2926"/>
                <a:gd name="T67" fmla="*/ 333 h 3259"/>
                <a:gd name="T68" fmla="*/ 1119 w 2926"/>
                <a:gd name="T69" fmla="*/ 413 h 3259"/>
                <a:gd name="T70" fmla="*/ 941 w 2926"/>
                <a:gd name="T71" fmla="*/ 731 h 3259"/>
                <a:gd name="T72" fmla="*/ 606 w 2926"/>
                <a:gd name="T73" fmla="*/ 584 h 3259"/>
                <a:gd name="T74" fmla="*/ 242 w 2926"/>
                <a:gd name="T75" fmla="*/ 1061 h 3259"/>
                <a:gd name="T76" fmla="*/ 341 w 2926"/>
                <a:gd name="T77" fmla="*/ 1412 h 3259"/>
                <a:gd name="T78" fmla="*/ 0 w 2926"/>
                <a:gd name="T79" fmla="*/ 1545 h 3259"/>
                <a:gd name="T80" fmla="*/ 80 w 2926"/>
                <a:gd name="T81" fmla="*/ 2140 h 3259"/>
                <a:gd name="T82" fmla="*/ 398 w 2926"/>
                <a:gd name="T83" fmla="*/ 2318 h 3259"/>
                <a:gd name="T84" fmla="*/ 251 w 2926"/>
                <a:gd name="T85" fmla="*/ 2653 h 3259"/>
                <a:gd name="T86" fmla="*/ 728 w 2926"/>
                <a:gd name="T87" fmla="*/ 3017 h 3259"/>
                <a:gd name="T88" fmla="*/ 1079 w 2926"/>
                <a:gd name="T89" fmla="*/ 2918 h 3259"/>
                <a:gd name="T90" fmla="*/ 1212 w 2926"/>
                <a:gd name="T91" fmla="*/ 3259 h 3259"/>
                <a:gd name="T92" fmla="*/ 1807 w 2926"/>
                <a:gd name="T93" fmla="*/ 3179 h 3259"/>
                <a:gd name="T94" fmla="*/ 1985 w 2926"/>
                <a:gd name="T95" fmla="*/ 2861 h 3259"/>
                <a:gd name="T96" fmla="*/ 2320 w 2926"/>
                <a:gd name="T97" fmla="*/ 3008 h 3259"/>
                <a:gd name="T98" fmla="*/ 2685 w 2926"/>
                <a:gd name="T99" fmla="*/ 2531 h 3259"/>
                <a:gd name="T100" fmla="*/ 2585 w 2926"/>
                <a:gd name="T101" fmla="*/ 2180 h 3259"/>
                <a:gd name="T102" fmla="*/ 2926 w 2926"/>
                <a:gd name="T103" fmla="*/ 2047 h 3259"/>
                <a:gd name="T104" fmla="*/ 2847 w 2926"/>
                <a:gd name="T105" fmla="*/ 1452 h 3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26" h="3259">
                  <a:moveTo>
                    <a:pt x="2847" y="1452"/>
                  </a:moveTo>
                  <a:lnTo>
                    <a:pt x="2585" y="1412"/>
                  </a:lnTo>
                  <a:cubicBezTo>
                    <a:pt x="2569" y="1365"/>
                    <a:pt x="2550" y="1319"/>
                    <a:pt x="2528" y="1274"/>
                  </a:cubicBezTo>
                  <a:lnTo>
                    <a:pt x="2685" y="1061"/>
                  </a:lnTo>
                  <a:cubicBezTo>
                    <a:pt x="2712" y="1024"/>
                    <a:pt x="2708" y="972"/>
                    <a:pt x="2675" y="939"/>
                  </a:cubicBezTo>
                  <a:lnTo>
                    <a:pt x="2642" y="906"/>
                  </a:lnTo>
                  <a:cubicBezTo>
                    <a:pt x="2605" y="869"/>
                    <a:pt x="2546" y="869"/>
                    <a:pt x="2509" y="906"/>
                  </a:cubicBezTo>
                  <a:cubicBezTo>
                    <a:pt x="2481" y="934"/>
                    <a:pt x="2475" y="975"/>
                    <a:pt x="2490" y="1010"/>
                  </a:cubicBezTo>
                  <a:lnTo>
                    <a:pt x="2342" y="1210"/>
                  </a:lnTo>
                  <a:cubicBezTo>
                    <a:pt x="2321" y="1240"/>
                    <a:pt x="2318" y="1279"/>
                    <a:pt x="2336" y="1311"/>
                  </a:cubicBezTo>
                  <a:cubicBezTo>
                    <a:pt x="2373" y="1377"/>
                    <a:pt x="2402" y="1448"/>
                    <a:pt x="2423" y="1522"/>
                  </a:cubicBezTo>
                  <a:cubicBezTo>
                    <a:pt x="2433" y="1557"/>
                    <a:pt x="2463" y="1583"/>
                    <a:pt x="2499" y="1589"/>
                  </a:cubicBezTo>
                  <a:lnTo>
                    <a:pt x="2739" y="1625"/>
                  </a:lnTo>
                  <a:lnTo>
                    <a:pt x="2739" y="1967"/>
                  </a:lnTo>
                  <a:lnTo>
                    <a:pt x="2499" y="2003"/>
                  </a:lnTo>
                  <a:cubicBezTo>
                    <a:pt x="2463" y="2009"/>
                    <a:pt x="2433" y="2035"/>
                    <a:pt x="2423" y="2070"/>
                  </a:cubicBezTo>
                  <a:cubicBezTo>
                    <a:pt x="2402" y="2144"/>
                    <a:pt x="2373" y="2215"/>
                    <a:pt x="2336" y="2281"/>
                  </a:cubicBezTo>
                  <a:cubicBezTo>
                    <a:pt x="2318" y="2313"/>
                    <a:pt x="2321" y="2352"/>
                    <a:pt x="2342" y="2382"/>
                  </a:cubicBezTo>
                  <a:lnTo>
                    <a:pt x="2486" y="2577"/>
                  </a:lnTo>
                  <a:lnTo>
                    <a:pt x="2244" y="2819"/>
                  </a:lnTo>
                  <a:lnTo>
                    <a:pt x="2049" y="2675"/>
                  </a:lnTo>
                  <a:cubicBezTo>
                    <a:pt x="2020" y="2654"/>
                    <a:pt x="1980" y="2651"/>
                    <a:pt x="1948" y="2669"/>
                  </a:cubicBezTo>
                  <a:cubicBezTo>
                    <a:pt x="1882" y="2706"/>
                    <a:pt x="1811" y="2735"/>
                    <a:pt x="1738" y="2756"/>
                  </a:cubicBezTo>
                  <a:cubicBezTo>
                    <a:pt x="1702" y="2766"/>
                    <a:pt x="1676" y="2796"/>
                    <a:pt x="1671" y="2832"/>
                  </a:cubicBezTo>
                  <a:lnTo>
                    <a:pt x="1634" y="3072"/>
                  </a:lnTo>
                  <a:lnTo>
                    <a:pt x="1292" y="3072"/>
                  </a:lnTo>
                  <a:lnTo>
                    <a:pt x="1256" y="2832"/>
                  </a:lnTo>
                  <a:cubicBezTo>
                    <a:pt x="1250" y="2796"/>
                    <a:pt x="1224" y="2766"/>
                    <a:pt x="1189" y="2756"/>
                  </a:cubicBezTo>
                  <a:cubicBezTo>
                    <a:pt x="1115" y="2735"/>
                    <a:pt x="1044" y="2706"/>
                    <a:pt x="978" y="2669"/>
                  </a:cubicBezTo>
                  <a:cubicBezTo>
                    <a:pt x="946" y="2651"/>
                    <a:pt x="907" y="2654"/>
                    <a:pt x="877" y="2675"/>
                  </a:cubicBezTo>
                  <a:lnTo>
                    <a:pt x="682" y="2819"/>
                  </a:lnTo>
                  <a:lnTo>
                    <a:pt x="440" y="2577"/>
                  </a:lnTo>
                  <a:lnTo>
                    <a:pt x="584" y="2382"/>
                  </a:lnTo>
                  <a:cubicBezTo>
                    <a:pt x="605" y="2352"/>
                    <a:pt x="608" y="2313"/>
                    <a:pt x="590" y="2281"/>
                  </a:cubicBezTo>
                  <a:cubicBezTo>
                    <a:pt x="553" y="2215"/>
                    <a:pt x="524" y="2144"/>
                    <a:pt x="503" y="2070"/>
                  </a:cubicBezTo>
                  <a:cubicBezTo>
                    <a:pt x="493" y="2035"/>
                    <a:pt x="463" y="2009"/>
                    <a:pt x="427" y="2003"/>
                  </a:cubicBezTo>
                  <a:lnTo>
                    <a:pt x="188" y="1967"/>
                  </a:lnTo>
                  <a:lnTo>
                    <a:pt x="188" y="1625"/>
                  </a:lnTo>
                  <a:lnTo>
                    <a:pt x="427" y="1589"/>
                  </a:lnTo>
                  <a:cubicBezTo>
                    <a:pt x="463" y="1583"/>
                    <a:pt x="493" y="1557"/>
                    <a:pt x="503" y="1522"/>
                  </a:cubicBezTo>
                  <a:cubicBezTo>
                    <a:pt x="524" y="1448"/>
                    <a:pt x="553" y="1377"/>
                    <a:pt x="590" y="1311"/>
                  </a:cubicBezTo>
                  <a:cubicBezTo>
                    <a:pt x="608" y="1279"/>
                    <a:pt x="605" y="1240"/>
                    <a:pt x="584" y="1210"/>
                  </a:cubicBezTo>
                  <a:lnTo>
                    <a:pt x="440" y="1015"/>
                  </a:lnTo>
                  <a:lnTo>
                    <a:pt x="682" y="773"/>
                  </a:lnTo>
                  <a:lnTo>
                    <a:pt x="877" y="917"/>
                  </a:lnTo>
                  <a:cubicBezTo>
                    <a:pt x="907" y="938"/>
                    <a:pt x="946" y="941"/>
                    <a:pt x="978" y="923"/>
                  </a:cubicBezTo>
                  <a:cubicBezTo>
                    <a:pt x="1044" y="886"/>
                    <a:pt x="1115" y="857"/>
                    <a:pt x="1189" y="836"/>
                  </a:cubicBezTo>
                  <a:cubicBezTo>
                    <a:pt x="1224" y="826"/>
                    <a:pt x="1250" y="796"/>
                    <a:pt x="1256" y="760"/>
                  </a:cubicBezTo>
                  <a:lnTo>
                    <a:pt x="1292" y="520"/>
                  </a:lnTo>
                  <a:lnTo>
                    <a:pt x="1634" y="520"/>
                  </a:lnTo>
                  <a:lnTo>
                    <a:pt x="1671" y="760"/>
                  </a:lnTo>
                  <a:cubicBezTo>
                    <a:pt x="1676" y="796"/>
                    <a:pt x="1702" y="826"/>
                    <a:pt x="1737" y="836"/>
                  </a:cubicBezTo>
                  <a:cubicBezTo>
                    <a:pt x="1811" y="857"/>
                    <a:pt x="1882" y="886"/>
                    <a:pt x="1948" y="923"/>
                  </a:cubicBezTo>
                  <a:cubicBezTo>
                    <a:pt x="1980" y="941"/>
                    <a:pt x="2020" y="938"/>
                    <a:pt x="2049" y="917"/>
                  </a:cubicBezTo>
                  <a:lnTo>
                    <a:pt x="2244" y="773"/>
                  </a:lnTo>
                  <a:cubicBezTo>
                    <a:pt x="2281" y="809"/>
                    <a:pt x="2340" y="808"/>
                    <a:pt x="2376" y="772"/>
                  </a:cubicBezTo>
                  <a:cubicBezTo>
                    <a:pt x="2412" y="736"/>
                    <a:pt x="2412" y="676"/>
                    <a:pt x="2376" y="640"/>
                  </a:cubicBezTo>
                  <a:lnTo>
                    <a:pt x="2320" y="584"/>
                  </a:lnTo>
                  <a:cubicBezTo>
                    <a:pt x="2287" y="551"/>
                    <a:pt x="2235" y="547"/>
                    <a:pt x="2198" y="574"/>
                  </a:cubicBezTo>
                  <a:lnTo>
                    <a:pt x="1985" y="731"/>
                  </a:lnTo>
                  <a:cubicBezTo>
                    <a:pt x="1940" y="709"/>
                    <a:pt x="1894" y="690"/>
                    <a:pt x="1847" y="674"/>
                  </a:cubicBezTo>
                  <a:lnTo>
                    <a:pt x="1807" y="413"/>
                  </a:lnTo>
                  <a:cubicBezTo>
                    <a:pt x="1800" y="367"/>
                    <a:pt x="1761" y="333"/>
                    <a:pt x="1714" y="333"/>
                  </a:cubicBezTo>
                  <a:lnTo>
                    <a:pt x="1557" y="333"/>
                  </a:lnTo>
                  <a:lnTo>
                    <a:pt x="1557" y="94"/>
                  </a:lnTo>
                  <a:cubicBezTo>
                    <a:pt x="1557" y="42"/>
                    <a:pt x="1515" y="0"/>
                    <a:pt x="1463" y="0"/>
                  </a:cubicBezTo>
                  <a:cubicBezTo>
                    <a:pt x="1411" y="0"/>
                    <a:pt x="1369" y="42"/>
                    <a:pt x="1369" y="94"/>
                  </a:cubicBezTo>
                  <a:lnTo>
                    <a:pt x="1369" y="333"/>
                  </a:lnTo>
                  <a:lnTo>
                    <a:pt x="1212" y="333"/>
                  </a:lnTo>
                  <a:cubicBezTo>
                    <a:pt x="1165" y="333"/>
                    <a:pt x="1126" y="367"/>
                    <a:pt x="1119" y="413"/>
                  </a:cubicBezTo>
                  <a:lnTo>
                    <a:pt x="1079" y="674"/>
                  </a:lnTo>
                  <a:cubicBezTo>
                    <a:pt x="1032" y="690"/>
                    <a:pt x="986" y="709"/>
                    <a:pt x="941" y="731"/>
                  </a:cubicBezTo>
                  <a:lnTo>
                    <a:pt x="728" y="574"/>
                  </a:lnTo>
                  <a:cubicBezTo>
                    <a:pt x="691" y="547"/>
                    <a:pt x="639" y="551"/>
                    <a:pt x="606" y="584"/>
                  </a:cubicBezTo>
                  <a:lnTo>
                    <a:pt x="251" y="939"/>
                  </a:lnTo>
                  <a:cubicBezTo>
                    <a:pt x="218" y="972"/>
                    <a:pt x="214" y="1024"/>
                    <a:pt x="242" y="1061"/>
                  </a:cubicBezTo>
                  <a:lnTo>
                    <a:pt x="398" y="1274"/>
                  </a:lnTo>
                  <a:cubicBezTo>
                    <a:pt x="376" y="1319"/>
                    <a:pt x="357" y="1365"/>
                    <a:pt x="341" y="1412"/>
                  </a:cubicBezTo>
                  <a:lnTo>
                    <a:pt x="80" y="1452"/>
                  </a:lnTo>
                  <a:cubicBezTo>
                    <a:pt x="34" y="1459"/>
                    <a:pt x="0" y="1498"/>
                    <a:pt x="0" y="1545"/>
                  </a:cubicBezTo>
                  <a:lnTo>
                    <a:pt x="0" y="2047"/>
                  </a:lnTo>
                  <a:cubicBezTo>
                    <a:pt x="0" y="2094"/>
                    <a:pt x="34" y="2133"/>
                    <a:pt x="80" y="2140"/>
                  </a:cubicBezTo>
                  <a:lnTo>
                    <a:pt x="341" y="2180"/>
                  </a:lnTo>
                  <a:cubicBezTo>
                    <a:pt x="357" y="2227"/>
                    <a:pt x="376" y="2273"/>
                    <a:pt x="398" y="2318"/>
                  </a:cubicBezTo>
                  <a:lnTo>
                    <a:pt x="242" y="2531"/>
                  </a:lnTo>
                  <a:cubicBezTo>
                    <a:pt x="214" y="2568"/>
                    <a:pt x="218" y="2620"/>
                    <a:pt x="251" y="2653"/>
                  </a:cubicBezTo>
                  <a:lnTo>
                    <a:pt x="606" y="3008"/>
                  </a:lnTo>
                  <a:cubicBezTo>
                    <a:pt x="639" y="3041"/>
                    <a:pt x="691" y="3045"/>
                    <a:pt x="728" y="3017"/>
                  </a:cubicBezTo>
                  <a:lnTo>
                    <a:pt x="941" y="2861"/>
                  </a:lnTo>
                  <a:cubicBezTo>
                    <a:pt x="986" y="2883"/>
                    <a:pt x="1032" y="2902"/>
                    <a:pt x="1079" y="2918"/>
                  </a:cubicBezTo>
                  <a:lnTo>
                    <a:pt x="1119" y="3179"/>
                  </a:lnTo>
                  <a:cubicBezTo>
                    <a:pt x="1126" y="3225"/>
                    <a:pt x="1165" y="3259"/>
                    <a:pt x="1212" y="3259"/>
                  </a:cubicBezTo>
                  <a:lnTo>
                    <a:pt x="1714" y="3259"/>
                  </a:lnTo>
                  <a:cubicBezTo>
                    <a:pt x="1761" y="3259"/>
                    <a:pt x="1800" y="3225"/>
                    <a:pt x="1807" y="3179"/>
                  </a:cubicBezTo>
                  <a:lnTo>
                    <a:pt x="1847" y="2918"/>
                  </a:lnTo>
                  <a:cubicBezTo>
                    <a:pt x="1894" y="2902"/>
                    <a:pt x="1940" y="2883"/>
                    <a:pt x="1985" y="2861"/>
                  </a:cubicBezTo>
                  <a:lnTo>
                    <a:pt x="2198" y="3017"/>
                  </a:lnTo>
                  <a:cubicBezTo>
                    <a:pt x="2235" y="3045"/>
                    <a:pt x="2287" y="3041"/>
                    <a:pt x="2320" y="3008"/>
                  </a:cubicBezTo>
                  <a:lnTo>
                    <a:pt x="2675" y="2653"/>
                  </a:lnTo>
                  <a:cubicBezTo>
                    <a:pt x="2708" y="2620"/>
                    <a:pt x="2712" y="2568"/>
                    <a:pt x="2685" y="2531"/>
                  </a:cubicBezTo>
                  <a:lnTo>
                    <a:pt x="2528" y="2318"/>
                  </a:lnTo>
                  <a:cubicBezTo>
                    <a:pt x="2550" y="2273"/>
                    <a:pt x="2569" y="2227"/>
                    <a:pt x="2585" y="2180"/>
                  </a:cubicBezTo>
                  <a:lnTo>
                    <a:pt x="2847" y="2140"/>
                  </a:lnTo>
                  <a:cubicBezTo>
                    <a:pt x="2892" y="2133"/>
                    <a:pt x="2926" y="2094"/>
                    <a:pt x="2926" y="2047"/>
                  </a:cubicBezTo>
                  <a:lnTo>
                    <a:pt x="2926" y="1545"/>
                  </a:lnTo>
                  <a:cubicBezTo>
                    <a:pt x="2926" y="1498"/>
                    <a:pt x="2892" y="1459"/>
                    <a:pt x="2847" y="14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6">
              <a:extLst>
                <a:ext uri="{FF2B5EF4-FFF2-40B4-BE49-F238E27FC236}">
                  <a16:creationId xmlns:a16="http://schemas.microsoft.com/office/drawing/2014/main" id="{BB1EF336-A6AD-4CD1-9F9E-9A84BD8445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5" y="3065"/>
              <a:ext cx="145" cy="174"/>
            </a:xfrm>
            <a:custGeom>
              <a:avLst/>
              <a:gdLst>
                <a:gd name="T0" fmla="*/ 1090 w 1098"/>
                <a:gd name="T1" fmla="*/ 455 h 1317"/>
                <a:gd name="T2" fmla="*/ 1077 w 1098"/>
                <a:gd name="T3" fmla="*/ 398 h 1317"/>
                <a:gd name="T4" fmla="*/ 1058 w 1098"/>
                <a:gd name="T5" fmla="*/ 343 h 1317"/>
                <a:gd name="T6" fmla="*/ 1034 w 1098"/>
                <a:gd name="T7" fmla="*/ 291 h 1317"/>
                <a:gd name="T8" fmla="*/ 956 w 1098"/>
                <a:gd name="T9" fmla="*/ 181 h 1317"/>
                <a:gd name="T10" fmla="*/ 922 w 1098"/>
                <a:gd name="T11" fmla="*/ 147 h 1317"/>
                <a:gd name="T12" fmla="*/ 903 w 1098"/>
                <a:gd name="T13" fmla="*/ 130 h 1317"/>
                <a:gd name="T14" fmla="*/ 878 w 1098"/>
                <a:gd name="T15" fmla="*/ 109 h 1317"/>
                <a:gd name="T16" fmla="*/ 846 w 1098"/>
                <a:gd name="T17" fmla="*/ 87 h 1317"/>
                <a:gd name="T18" fmla="*/ 834 w 1098"/>
                <a:gd name="T19" fmla="*/ 80 h 1317"/>
                <a:gd name="T20" fmla="*/ 810 w 1098"/>
                <a:gd name="T21" fmla="*/ 66 h 1317"/>
                <a:gd name="T22" fmla="*/ 774 w 1098"/>
                <a:gd name="T23" fmla="*/ 48 h 1317"/>
                <a:gd name="T24" fmla="*/ 618 w 1098"/>
                <a:gd name="T25" fmla="*/ 4 h 1317"/>
                <a:gd name="T26" fmla="*/ 549 w 1098"/>
                <a:gd name="T27" fmla="*/ 0 h 1317"/>
                <a:gd name="T28" fmla="*/ 549 w 1098"/>
                <a:gd name="T29" fmla="*/ 1317 h 1317"/>
                <a:gd name="T30" fmla="*/ 1098 w 1098"/>
                <a:gd name="T31" fmla="*/ 520 h 1317"/>
                <a:gd name="T32" fmla="*/ 577 w 1098"/>
                <a:gd name="T33" fmla="*/ 189 h 1317"/>
                <a:gd name="T34" fmla="*/ 619 w 1098"/>
                <a:gd name="T35" fmla="*/ 194 h 1317"/>
                <a:gd name="T36" fmla="*/ 656 w 1098"/>
                <a:gd name="T37" fmla="*/ 204 h 1317"/>
                <a:gd name="T38" fmla="*/ 697 w 1098"/>
                <a:gd name="T39" fmla="*/ 219 h 1317"/>
                <a:gd name="T40" fmla="*/ 735 w 1098"/>
                <a:gd name="T41" fmla="*/ 239 h 1317"/>
                <a:gd name="T42" fmla="*/ 750 w 1098"/>
                <a:gd name="T43" fmla="*/ 249 h 1317"/>
                <a:gd name="T44" fmla="*/ 777 w 1098"/>
                <a:gd name="T45" fmla="*/ 268 h 1317"/>
                <a:gd name="T46" fmla="*/ 801 w 1098"/>
                <a:gd name="T47" fmla="*/ 290 h 1317"/>
                <a:gd name="T48" fmla="*/ 826 w 1098"/>
                <a:gd name="T49" fmla="*/ 316 h 1317"/>
                <a:gd name="T50" fmla="*/ 846 w 1098"/>
                <a:gd name="T51" fmla="*/ 343 h 1317"/>
                <a:gd name="T52" fmla="*/ 864 w 1098"/>
                <a:gd name="T53" fmla="*/ 371 h 1317"/>
                <a:gd name="T54" fmla="*/ 879 w 1098"/>
                <a:gd name="T55" fmla="*/ 400 h 1317"/>
                <a:gd name="T56" fmla="*/ 890 w 1098"/>
                <a:gd name="T57" fmla="*/ 429 h 1317"/>
                <a:gd name="T58" fmla="*/ 724 w 1098"/>
                <a:gd name="T59" fmla="*/ 364 h 1317"/>
                <a:gd name="T60" fmla="*/ 189 w 1098"/>
                <a:gd name="T61" fmla="*/ 519 h 1317"/>
                <a:gd name="T62" fmla="*/ 194 w 1098"/>
                <a:gd name="T63" fmla="*/ 483 h 1317"/>
                <a:gd name="T64" fmla="*/ 202 w 1098"/>
                <a:gd name="T65" fmla="*/ 448 h 1317"/>
                <a:gd name="T66" fmla="*/ 216 w 1098"/>
                <a:gd name="T67" fmla="*/ 409 h 1317"/>
                <a:gd name="T68" fmla="*/ 231 w 1098"/>
                <a:gd name="T69" fmla="*/ 378 h 1317"/>
                <a:gd name="T70" fmla="*/ 249 w 1098"/>
                <a:gd name="T71" fmla="*/ 348 h 1317"/>
                <a:gd name="T72" fmla="*/ 269 w 1098"/>
                <a:gd name="T73" fmla="*/ 321 h 1317"/>
                <a:gd name="T74" fmla="*/ 292 w 1098"/>
                <a:gd name="T75" fmla="*/ 296 h 1317"/>
                <a:gd name="T76" fmla="*/ 317 w 1098"/>
                <a:gd name="T77" fmla="*/ 272 h 1317"/>
                <a:gd name="T78" fmla="*/ 344 w 1098"/>
                <a:gd name="T79" fmla="*/ 252 h 1317"/>
                <a:gd name="T80" fmla="*/ 373 w 1098"/>
                <a:gd name="T81" fmla="*/ 234 h 1317"/>
                <a:gd name="T82" fmla="*/ 404 w 1098"/>
                <a:gd name="T83" fmla="*/ 218 h 1317"/>
                <a:gd name="T84" fmla="*/ 436 w 1098"/>
                <a:gd name="T85" fmla="*/ 206 h 1317"/>
                <a:gd name="T86" fmla="*/ 470 w 1098"/>
                <a:gd name="T87" fmla="*/ 196 h 1317"/>
                <a:gd name="T88" fmla="*/ 506 w 1098"/>
                <a:gd name="T89" fmla="*/ 190 h 1317"/>
                <a:gd name="T90" fmla="*/ 549 w 1098"/>
                <a:gd name="T91" fmla="*/ 187 h 1317"/>
                <a:gd name="T92" fmla="*/ 188 w 1098"/>
                <a:gd name="T93" fmla="*/ 718 h 1317"/>
                <a:gd name="T94" fmla="*/ 911 w 1098"/>
                <a:gd name="T95" fmla="*/ 768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8" h="1317">
                  <a:moveTo>
                    <a:pt x="1095" y="491"/>
                  </a:moveTo>
                  <a:cubicBezTo>
                    <a:pt x="1095" y="489"/>
                    <a:pt x="1095" y="486"/>
                    <a:pt x="1094" y="484"/>
                  </a:cubicBezTo>
                  <a:cubicBezTo>
                    <a:pt x="1094" y="477"/>
                    <a:pt x="1093" y="469"/>
                    <a:pt x="1091" y="462"/>
                  </a:cubicBezTo>
                  <a:cubicBezTo>
                    <a:pt x="1091" y="460"/>
                    <a:pt x="1091" y="457"/>
                    <a:pt x="1090" y="455"/>
                  </a:cubicBezTo>
                  <a:cubicBezTo>
                    <a:pt x="1089" y="448"/>
                    <a:pt x="1088" y="441"/>
                    <a:pt x="1086" y="434"/>
                  </a:cubicBezTo>
                  <a:cubicBezTo>
                    <a:pt x="1086" y="431"/>
                    <a:pt x="1085" y="429"/>
                    <a:pt x="1084" y="427"/>
                  </a:cubicBezTo>
                  <a:cubicBezTo>
                    <a:pt x="1083" y="420"/>
                    <a:pt x="1081" y="413"/>
                    <a:pt x="1079" y="406"/>
                  </a:cubicBezTo>
                  <a:cubicBezTo>
                    <a:pt x="1079" y="403"/>
                    <a:pt x="1078" y="401"/>
                    <a:pt x="1077" y="398"/>
                  </a:cubicBezTo>
                  <a:cubicBezTo>
                    <a:pt x="1075" y="392"/>
                    <a:pt x="1073" y="385"/>
                    <a:pt x="1071" y="379"/>
                  </a:cubicBezTo>
                  <a:cubicBezTo>
                    <a:pt x="1070" y="376"/>
                    <a:pt x="1069" y="373"/>
                    <a:pt x="1068" y="370"/>
                  </a:cubicBezTo>
                  <a:cubicBezTo>
                    <a:pt x="1066" y="364"/>
                    <a:pt x="1064" y="359"/>
                    <a:pt x="1062" y="353"/>
                  </a:cubicBezTo>
                  <a:cubicBezTo>
                    <a:pt x="1061" y="350"/>
                    <a:pt x="1059" y="346"/>
                    <a:pt x="1058" y="343"/>
                  </a:cubicBezTo>
                  <a:cubicBezTo>
                    <a:pt x="1056" y="338"/>
                    <a:pt x="1054" y="333"/>
                    <a:pt x="1052" y="328"/>
                  </a:cubicBezTo>
                  <a:cubicBezTo>
                    <a:pt x="1050" y="324"/>
                    <a:pt x="1048" y="320"/>
                    <a:pt x="1046" y="316"/>
                  </a:cubicBezTo>
                  <a:cubicBezTo>
                    <a:pt x="1044" y="312"/>
                    <a:pt x="1042" y="308"/>
                    <a:pt x="1040" y="303"/>
                  </a:cubicBezTo>
                  <a:cubicBezTo>
                    <a:pt x="1038" y="299"/>
                    <a:pt x="1036" y="295"/>
                    <a:pt x="1034" y="291"/>
                  </a:cubicBezTo>
                  <a:cubicBezTo>
                    <a:pt x="1032" y="287"/>
                    <a:pt x="1030" y="284"/>
                    <a:pt x="1028" y="280"/>
                  </a:cubicBezTo>
                  <a:cubicBezTo>
                    <a:pt x="1025" y="275"/>
                    <a:pt x="1022" y="271"/>
                    <a:pt x="1020" y="266"/>
                  </a:cubicBezTo>
                  <a:cubicBezTo>
                    <a:pt x="1018" y="264"/>
                    <a:pt x="1017" y="261"/>
                    <a:pt x="1015" y="259"/>
                  </a:cubicBezTo>
                  <a:cubicBezTo>
                    <a:pt x="998" y="231"/>
                    <a:pt x="978" y="205"/>
                    <a:pt x="956" y="181"/>
                  </a:cubicBezTo>
                  <a:cubicBezTo>
                    <a:pt x="956" y="181"/>
                    <a:pt x="956" y="180"/>
                    <a:pt x="955" y="180"/>
                  </a:cubicBezTo>
                  <a:cubicBezTo>
                    <a:pt x="951" y="175"/>
                    <a:pt x="946" y="169"/>
                    <a:pt x="941" y="164"/>
                  </a:cubicBezTo>
                  <a:cubicBezTo>
                    <a:pt x="939" y="163"/>
                    <a:pt x="938" y="161"/>
                    <a:pt x="936" y="160"/>
                  </a:cubicBezTo>
                  <a:cubicBezTo>
                    <a:pt x="932" y="155"/>
                    <a:pt x="927" y="151"/>
                    <a:pt x="922" y="147"/>
                  </a:cubicBezTo>
                  <a:cubicBezTo>
                    <a:pt x="920" y="144"/>
                    <a:pt x="918" y="142"/>
                    <a:pt x="915" y="140"/>
                  </a:cubicBezTo>
                  <a:cubicBezTo>
                    <a:pt x="913" y="138"/>
                    <a:pt x="911" y="136"/>
                    <a:pt x="909" y="135"/>
                  </a:cubicBezTo>
                  <a:cubicBezTo>
                    <a:pt x="908" y="134"/>
                    <a:pt x="907" y="133"/>
                    <a:pt x="907" y="132"/>
                  </a:cubicBezTo>
                  <a:cubicBezTo>
                    <a:pt x="905" y="131"/>
                    <a:pt x="904" y="130"/>
                    <a:pt x="903" y="130"/>
                  </a:cubicBezTo>
                  <a:cubicBezTo>
                    <a:pt x="899" y="126"/>
                    <a:pt x="895" y="123"/>
                    <a:pt x="891" y="119"/>
                  </a:cubicBezTo>
                  <a:cubicBezTo>
                    <a:pt x="889" y="118"/>
                    <a:pt x="887" y="116"/>
                    <a:pt x="885" y="115"/>
                  </a:cubicBezTo>
                  <a:cubicBezTo>
                    <a:pt x="882" y="113"/>
                    <a:pt x="880" y="111"/>
                    <a:pt x="878" y="109"/>
                  </a:cubicBezTo>
                  <a:cubicBezTo>
                    <a:pt x="878" y="109"/>
                    <a:pt x="878" y="109"/>
                    <a:pt x="878" y="109"/>
                  </a:cubicBezTo>
                  <a:cubicBezTo>
                    <a:pt x="876" y="108"/>
                    <a:pt x="874" y="107"/>
                    <a:pt x="873" y="106"/>
                  </a:cubicBezTo>
                  <a:cubicBezTo>
                    <a:pt x="871" y="104"/>
                    <a:pt x="868" y="102"/>
                    <a:pt x="866" y="101"/>
                  </a:cubicBezTo>
                  <a:cubicBezTo>
                    <a:pt x="862" y="98"/>
                    <a:pt x="858" y="95"/>
                    <a:pt x="854" y="93"/>
                  </a:cubicBezTo>
                  <a:lnTo>
                    <a:pt x="846" y="87"/>
                  </a:lnTo>
                  <a:cubicBezTo>
                    <a:pt x="843" y="85"/>
                    <a:pt x="840" y="83"/>
                    <a:pt x="836" y="81"/>
                  </a:cubicBezTo>
                  <a:cubicBezTo>
                    <a:pt x="836" y="81"/>
                    <a:pt x="835" y="80"/>
                    <a:pt x="835" y="80"/>
                  </a:cubicBezTo>
                  <a:cubicBezTo>
                    <a:pt x="835" y="80"/>
                    <a:pt x="834" y="80"/>
                    <a:pt x="834" y="80"/>
                  </a:cubicBezTo>
                  <a:cubicBezTo>
                    <a:pt x="834" y="80"/>
                    <a:pt x="834" y="80"/>
                    <a:pt x="834" y="80"/>
                  </a:cubicBezTo>
                  <a:cubicBezTo>
                    <a:pt x="831" y="78"/>
                    <a:pt x="829" y="77"/>
                    <a:pt x="826" y="75"/>
                  </a:cubicBezTo>
                  <a:cubicBezTo>
                    <a:pt x="823" y="73"/>
                    <a:pt x="820" y="72"/>
                    <a:pt x="818" y="70"/>
                  </a:cubicBezTo>
                  <a:cubicBezTo>
                    <a:pt x="816" y="69"/>
                    <a:pt x="814" y="68"/>
                    <a:pt x="813" y="67"/>
                  </a:cubicBezTo>
                  <a:cubicBezTo>
                    <a:pt x="812" y="67"/>
                    <a:pt x="811" y="66"/>
                    <a:pt x="810" y="66"/>
                  </a:cubicBezTo>
                  <a:cubicBezTo>
                    <a:pt x="808" y="65"/>
                    <a:pt x="807" y="64"/>
                    <a:pt x="806" y="63"/>
                  </a:cubicBezTo>
                  <a:lnTo>
                    <a:pt x="800" y="61"/>
                  </a:lnTo>
                  <a:cubicBezTo>
                    <a:pt x="799" y="60"/>
                    <a:pt x="797" y="59"/>
                    <a:pt x="796" y="59"/>
                  </a:cubicBezTo>
                  <a:cubicBezTo>
                    <a:pt x="789" y="55"/>
                    <a:pt x="781" y="51"/>
                    <a:pt x="774" y="48"/>
                  </a:cubicBezTo>
                  <a:cubicBezTo>
                    <a:pt x="772" y="47"/>
                    <a:pt x="771" y="47"/>
                    <a:pt x="769" y="46"/>
                  </a:cubicBezTo>
                  <a:cubicBezTo>
                    <a:pt x="731" y="29"/>
                    <a:pt x="690" y="17"/>
                    <a:pt x="648" y="9"/>
                  </a:cubicBezTo>
                  <a:cubicBezTo>
                    <a:pt x="647" y="9"/>
                    <a:pt x="646" y="9"/>
                    <a:pt x="645" y="8"/>
                  </a:cubicBezTo>
                  <a:cubicBezTo>
                    <a:pt x="636" y="7"/>
                    <a:pt x="627" y="6"/>
                    <a:pt x="618" y="4"/>
                  </a:cubicBezTo>
                  <a:cubicBezTo>
                    <a:pt x="616" y="4"/>
                    <a:pt x="614" y="4"/>
                    <a:pt x="612" y="4"/>
                  </a:cubicBezTo>
                  <a:cubicBezTo>
                    <a:pt x="604" y="3"/>
                    <a:pt x="595" y="2"/>
                    <a:pt x="587" y="1"/>
                  </a:cubicBezTo>
                  <a:cubicBezTo>
                    <a:pt x="585" y="1"/>
                    <a:pt x="583" y="1"/>
                    <a:pt x="580" y="1"/>
                  </a:cubicBezTo>
                  <a:cubicBezTo>
                    <a:pt x="570" y="0"/>
                    <a:pt x="560" y="0"/>
                    <a:pt x="549" y="0"/>
                  </a:cubicBezTo>
                  <a:cubicBezTo>
                    <a:pt x="247" y="0"/>
                    <a:pt x="0" y="246"/>
                    <a:pt x="0" y="549"/>
                  </a:cubicBezTo>
                  <a:lnTo>
                    <a:pt x="0" y="591"/>
                  </a:lnTo>
                  <a:lnTo>
                    <a:pt x="0" y="768"/>
                  </a:lnTo>
                  <a:cubicBezTo>
                    <a:pt x="0" y="1071"/>
                    <a:pt x="247" y="1317"/>
                    <a:pt x="549" y="1317"/>
                  </a:cubicBezTo>
                  <a:cubicBezTo>
                    <a:pt x="852" y="1317"/>
                    <a:pt x="1098" y="1071"/>
                    <a:pt x="1098" y="768"/>
                  </a:cubicBezTo>
                  <a:lnTo>
                    <a:pt x="1098" y="635"/>
                  </a:lnTo>
                  <a:lnTo>
                    <a:pt x="1098" y="549"/>
                  </a:lnTo>
                  <a:cubicBezTo>
                    <a:pt x="1098" y="539"/>
                    <a:pt x="1098" y="529"/>
                    <a:pt x="1098" y="520"/>
                  </a:cubicBezTo>
                  <a:cubicBezTo>
                    <a:pt x="1097" y="518"/>
                    <a:pt x="1097" y="516"/>
                    <a:pt x="1097" y="513"/>
                  </a:cubicBezTo>
                  <a:cubicBezTo>
                    <a:pt x="1097" y="506"/>
                    <a:pt x="1096" y="498"/>
                    <a:pt x="1095" y="491"/>
                  </a:cubicBezTo>
                  <a:close/>
                  <a:moveTo>
                    <a:pt x="569" y="188"/>
                  </a:moveTo>
                  <a:cubicBezTo>
                    <a:pt x="572" y="188"/>
                    <a:pt x="575" y="188"/>
                    <a:pt x="577" y="189"/>
                  </a:cubicBezTo>
                  <a:cubicBezTo>
                    <a:pt x="581" y="189"/>
                    <a:pt x="585" y="189"/>
                    <a:pt x="589" y="190"/>
                  </a:cubicBezTo>
                  <a:cubicBezTo>
                    <a:pt x="592" y="190"/>
                    <a:pt x="595" y="191"/>
                    <a:pt x="599" y="191"/>
                  </a:cubicBezTo>
                  <a:cubicBezTo>
                    <a:pt x="602" y="191"/>
                    <a:pt x="605" y="192"/>
                    <a:pt x="608" y="192"/>
                  </a:cubicBezTo>
                  <a:cubicBezTo>
                    <a:pt x="612" y="193"/>
                    <a:pt x="615" y="194"/>
                    <a:pt x="619" y="194"/>
                  </a:cubicBezTo>
                  <a:cubicBezTo>
                    <a:pt x="621" y="195"/>
                    <a:pt x="624" y="195"/>
                    <a:pt x="627" y="196"/>
                  </a:cubicBezTo>
                  <a:cubicBezTo>
                    <a:pt x="631" y="197"/>
                    <a:pt x="634" y="198"/>
                    <a:pt x="638" y="198"/>
                  </a:cubicBezTo>
                  <a:cubicBezTo>
                    <a:pt x="641" y="199"/>
                    <a:pt x="644" y="200"/>
                    <a:pt x="648" y="201"/>
                  </a:cubicBezTo>
                  <a:cubicBezTo>
                    <a:pt x="650" y="202"/>
                    <a:pt x="653" y="203"/>
                    <a:pt x="656" y="204"/>
                  </a:cubicBezTo>
                  <a:cubicBezTo>
                    <a:pt x="662" y="205"/>
                    <a:pt x="668" y="208"/>
                    <a:pt x="674" y="210"/>
                  </a:cubicBezTo>
                  <a:cubicBezTo>
                    <a:pt x="675" y="210"/>
                    <a:pt x="676" y="210"/>
                    <a:pt x="677" y="211"/>
                  </a:cubicBezTo>
                  <a:cubicBezTo>
                    <a:pt x="682" y="213"/>
                    <a:pt x="688" y="215"/>
                    <a:pt x="693" y="218"/>
                  </a:cubicBezTo>
                  <a:cubicBezTo>
                    <a:pt x="695" y="218"/>
                    <a:pt x="696" y="218"/>
                    <a:pt x="697" y="219"/>
                  </a:cubicBezTo>
                  <a:cubicBezTo>
                    <a:pt x="702" y="221"/>
                    <a:pt x="707" y="224"/>
                    <a:pt x="713" y="227"/>
                  </a:cubicBezTo>
                  <a:cubicBezTo>
                    <a:pt x="715" y="228"/>
                    <a:pt x="718" y="229"/>
                    <a:pt x="720" y="231"/>
                  </a:cubicBezTo>
                  <a:cubicBezTo>
                    <a:pt x="722" y="231"/>
                    <a:pt x="723" y="232"/>
                    <a:pt x="724" y="233"/>
                  </a:cubicBezTo>
                  <a:cubicBezTo>
                    <a:pt x="728" y="235"/>
                    <a:pt x="731" y="237"/>
                    <a:pt x="735" y="239"/>
                  </a:cubicBezTo>
                  <a:lnTo>
                    <a:pt x="738" y="241"/>
                  </a:lnTo>
                  <a:cubicBezTo>
                    <a:pt x="738" y="241"/>
                    <a:pt x="738" y="241"/>
                    <a:pt x="739" y="241"/>
                  </a:cubicBezTo>
                  <a:cubicBezTo>
                    <a:pt x="743" y="244"/>
                    <a:pt x="746" y="246"/>
                    <a:pt x="750" y="248"/>
                  </a:cubicBezTo>
                  <a:lnTo>
                    <a:pt x="750" y="249"/>
                  </a:lnTo>
                  <a:cubicBezTo>
                    <a:pt x="751" y="249"/>
                    <a:pt x="753" y="250"/>
                    <a:pt x="754" y="251"/>
                  </a:cubicBezTo>
                  <a:cubicBezTo>
                    <a:pt x="757" y="253"/>
                    <a:pt x="761" y="256"/>
                    <a:pt x="764" y="258"/>
                  </a:cubicBezTo>
                  <a:cubicBezTo>
                    <a:pt x="765" y="259"/>
                    <a:pt x="766" y="260"/>
                    <a:pt x="768" y="261"/>
                  </a:cubicBezTo>
                  <a:cubicBezTo>
                    <a:pt x="771" y="264"/>
                    <a:pt x="774" y="266"/>
                    <a:pt x="777" y="268"/>
                  </a:cubicBezTo>
                  <a:cubicBezTo>
                    <a:pt x="778" y="270"/>
                    <a:pt x="780" y="271"/>
                    <a:pt x="781" y="272"/>
                  </a:cubicBezTo>
                  <a:cubicBezTo>
                    <a:pt x="783" y="274"/>
                    <a:pt x="786" y="276"/>
                    <a:pt x="788" y="278"/>
                  </a:cubicBezTo>
                  <a:cubicBezTo>
                    <a:pt x="790" y="280"/>
                    <a:pt x="793" y="282"/>
                    <a:pt x="795" y="284"/>
                  </a:cubicBezTo>
                  <a:cubicBezTo>
                    <a:pt x="797" y="286"/>
                    <a:pt x="799" y="288"/>
                    <a:pt x="801" y="290"/>
                  </a:cubicBezTo>
                  <a:cubicBezTo>
                    <a:pt x="803" y="292"/>
                    <a:pt x="805" y="294"/>
                    <a:pt x="807" y="296"/>
                  </a:cubicBezTo>
                  <a:cubicBezTo>
                    <a:pt x="809" y="298"/>
                    <a:pt x="812" y="300"/>
                    <a:pt x="814" y="303"/>
                  </a:cubicBezTo>
                  <a:cubicBezTo>
                    <a:pt x="815" y="305"/>
                    <a:pt x="817" y="306"/>
                    <a:pt x="819" y="308"/>
                  </a:cubicBezTo>
                  <a:cubicBezTo>
                    <a:pt x="821" y="311"/>
                    <a:pt x="823" y="313"/>
                    <a:pt x="826" y="316"/>
                  </a:cubicBezTo>
                  <a:cubicBezTo>
                    <a:pt x="827" y="318"/>
                    <a:pt x="828" y="319"/>
                    <a:pt x="830" y="321"/>
                  </a:cubicBezTo>
                  <a:cubicBezTo>
                    <a:pt x="832" y="324"/>
                    <a:pt x="834" y="327"/>
                    <a:pt x="836" y="329"/>
                  </a:cubicBezTo>
                  <a:cubicBezTo>
                    <a:pt x="838" y="331"/>
                    <a:pt x="839" y="333"/>
                    <a:pt x="840" y="335"/>
                  </a:cubicBezTo>
                  <a:cubicBezTo>
                    <a:pt x="842" y="338"/>
                    <a:pt x="844" y="340"/>
                    <a:pt x="846" y="343"/>
                  </a:cubicBezTo>
                  <a:cubicBezTo>
                    <a:pt x="848" y="345"/>
                    <a:pt x="849" y="347"/>
                    <a:pt x="850" y="349"/>
                  </a:cubicBezTo>
                  <a:cubicBezTo>
                    <a:pt x="852" y="352"/>
                    <a:pt x="854" y="354"/>
                    <a:pt x="856" y="357"/>
                  </a:cubicBezTo>
                  <a:cubicBezTo>
                    <a:pt x="857" y="359"/>
                    <a:pt x="858" y="362"/>
                    <a:pt x="860" y="364"/>
                  </a:cubicBezTo>
                  <a:cubicBezTo>
                    <a:pt x="861" y="366"/>
                    <a:pt x="863" y="369"/>
                    <a:pt x="864" y="371"/>
                  </a:cubicBezTo>
                  <a:cubicBezTo>
                    <a:pt x="866" y="374"/>
                    <a:pt x="867" y="376"/>
                    <a:pt x="868" y="379"/>
                  </a:cubicBezTo>
                  <a:cubicBezTo>
                    <a:pt x="870" y="381"/>
                    <a:pt x="871" y="384"/>
                    <a:pt x="872" y="386"/>
                  </a:cubicBezTo>
                  <a:cubicBezTo>
                    <a:pt x="873" y="389"/>
                    <a:pt x="875" y="392"/>
                    <a:pt x="876" y="395"/>
                  </a:cubicBezTo>
                  <a:cubicBezTo>
                    <a:pt x="877" y="397"/>
                    <a:pt x="878" y="398"/>
                    <a:pt x="879" y="400"/>
                  </a:cubicBezTo>
                  <a:cubicBezTo>
                    <a:pt x="880" y="404"/>
                    <a:pt x="882" y="407"/>
                    <a:pt x="883" y="411"/>
                  </a:cubicBezTo>
                  <a:cubicBezTo>
                    <a:pt x="884" y="412"/>
                    <a:pt x="884" y="413"/>
                    <a:pt x="885" y="415"/>
                  </a:cubicBezTo>
                  <a:cubicBezTo>
                    <a:pt x="887" y="419"/>
                    <a:pt x="888" y="423"/>
                    <a:pt x="890" y="427"/>
                  </a:cubicBezTo>
                  <a:cubicBezTo>
                    <a:pt x="890" y="428"/>
                    <a:pt x="890" y="428"/>
                    <a:pt x="890" y="429"/>
                  </a:cubicBezTo>
                  <a:cubicBezTo>
                    <a:pt x="899" y="453"/>
                    <a:pt x="905" y="478"/>
                    <a:pt x="908" y="503"/>
                  </a:cubicBezTo>
                  <a:cubicBezTo>
                    <a:pt x="908" y="505"/>
                    <a:pt x="908" y="508"/>
                    <a:pt x="909" y="510"/>
                  </a:cubicBezTo>
                  <a:cubicBezTo>
                    <a:pt x="863" y="486"/>
                    <a:pt x="824" y="451"/>
                    <a:pt x="795" y="407"/>
                  </a:cubicBezTo>
                  <a:cubicBezTo>
                    <a:pt x="779" y="382"/>
                    <a:pt x="753" y="366"/>
                    <a:pt x="724" y="364"/>
                  </a:cubicBezTo>
                  <a:cubicBezTo>
                    <a:pt x="695" y="362"/>
                    <a:pt x="667" y="373"/>
                    <a:pt x="647" y="395"/>
                  </a:cubicBezTo>
                  <a:cubicBezTo>
                    <a:pt x="562" y="489"/>
                    <a:pt x="440" y="543"/>
                    <a:pt x="313" y="543"/>
                  </a:cubicBezTo>
                  <a:cubicBezTo>
                    <a:pt x="271" y="543"/>
                    <a:pt x="229" y="538"/>
                    <a:pt x="189" y="526"/>
                  </a:cubicBezTo>
                  <a:cubicBezTo>
                    <a:pt x="189" y="523"/>
                    <a:pt x="189" y="521"/>
                    <a:pt x="189" y="519"/>
                  </a:cubicBezTo>
                  <a:cubicBezTo>
                    <a:pt x="190" y="516"/>
                    <a:pt x="190" y="513"/>
                    <a:pt x="190" y="510"/>
                  </a:cubicBezTo>
                  <a:cubicBezTo>
                    <a:pt x="190" y="507"/>
                    <a:pt x="191" y="504"/>
                    <a:pt x="191" y="501"/>
                  </a:cubicBezTo>
                  <a:cubicBezTo>
                    <a:pt x="192" y="498"/>
                    <a:pt x="192" y="495"/>
                    <a:pt x="192" y="492"/>
                  </a:cubicBezTo>
                  <a:cubicBezTo>
                    <a:pt x="193" y="489"/>
                    <a:pt x="193" y="486"/>
                    <a:pt x="194" y="483"/>
                  </a:cubicBezTo>
                  <a:cubicBezTo>
                    <a:pt x="195" y="480"/>
                    <a:pt x="195" y="478"/>
                    <a:pt x="196" y="475"/>
                  </a:cubicBezTo>
                  <a:cubicBezTo>
                    <a:pt x="196" y="472"/>
                    <a:pt x="197" y="469"/>
                    <a:pt x="198" y="465"/>
                  </a:cubicBezTo>
                  <a:cubicBezTo>
                    <a:pt x="198" y="463"/>
                    <a:pt x="199" y="460"/>
                    <a:pt x="200" y="458"/>
                  </a:cubicBezTo>
                  <a:cubicBezTo>
                    <a:pt x="200" y="455"/>
                    <a:pt x="201" y="451"/>
                    <a:pt x="202" y="448"/>
                  </a:cubicBezTo>
                  <a:cubicBezTo>
                    <a:pt x="203" y="446"/>
                    <a:pt x="204" y="443"/>
                    <a:pt x="204" y="441"/>
                  </a:cubicBezTo>
                  <a:cubicBezTo>
                    <a:pt x="206" y="437"/>
                    <a:pt x="207" y="433"/>
                    <a:pt x="208" y="429"/>
                  </a:cubicBezTo>
                  <a:cubicBezTo>
                    <a:pt x="209" y="428"/>
                    <a:pt x="209" y="426"/>
                    <a:pt x="210" y="425"/>
                  </a:cubicBezTo>
                  <a:cubicBezTo>
                    <a:pt x="212" y="419"/>
                    <a:pt x="214" y="414"/>
                    <a:pt x="216" y="409"/>
                  </a:cubicBezTo>
                  <a:cubicBezTo>
                    <a:pt x="217" y="407"/>
                    <a:pt x="218" y="405"/>
                    <a:pt x="219" y="404"/>
                  </a:cubicBezTo>
                  <a:cubicBezTo>
                    <a:pt x="220" y="400"/>
                    <a:pt x="222" y="396"/>
                    <a:pt x="223" y="393"/>
                  </a:cubicBezTo>
                  <a:cubicBezTo>
                    <a:pt x="224" y="391"/>
                    <a:pt x="226" y="389"/>
                    <a:pt x="227" y="387"/>
                  </a:cubicBezTo>
                  <a:cubicBezTo>
                    <a:pt x="228" y="384"/>
                    <a:pt x="230" y="381"/>
                    <a:pt x="231" y="378"/>
                  </a:cubicBezTo>
                  <a:cubicBezTo>
                    <a:pt x="232" y="375"/>
                    <a:pt x="234" y="373"/>
                    <a:pt x="235" y="371"/>
                  </a:cubicBezTo>
                  <a:cubicBezTo>
                    <a:pt x="236" y="368"/>
                    <a:pt x="238" y="366"/>
                    <a:pt x="240" y="363"/>
                  </a:cubicBezTo>
                  <a:cubicBezTo>
                    <a:pt x="241" y="361"/>
                    <a:pt x="242" y="358"/>
                    <a:pt x="244" y="356"/>
                  </a:cubicBezTo>
                  <a:cubicBezTo>
                    <a:pt x="245" y="354"/>
                    <a:pt x="247" y="351"/>
                    <a:pt x="249" y="348"/>
                  </a:cubicBezTo>
                  <a:cubicBezTo>
                    <a:pt x="250" y="346"/>
                    <a:pt x="252" y="344"/>
                    <a:pt x="253" y="342"/>
                  </a:cubicBezTo>
                  <a:cubicBezTo>
                    <a:pt x="255" y="339"/>
                    <a:pt x="257" y="337"/>
                    <a:pt x="259" y="334"/>
                  </a:cubicBezTo>
                  <a:cubicBezTo>
                    <a:pt x="260" y="332"/>
                    <a:pt x="262" y="330"/>
                    <a:pt x="264" y="328"/>
                  </a:cubicBezTo>
                  <a:cubicBezTo>
                    <a:pt x="265" y="326"/>
                    <a:pt x="267" y="323"/>
                    <a:pt x="269" y="321"/>
                  </a:cubicBezTo>
                  <a:cubicBezTo>
                    <a:pt x="271" y="319"/>
                    <a:pt x="273" y="317"/>
                    <a:pt x="274" y="315"/>
                  </a:cubicBezTo>
                  <a:cubicBezTo>
                    <a:pt x="276" y="313"/>
                    <a:pt x="278" y="310"/>
                    <a:pt x="280" y="308"/>
                  </a:cubicBezTo>
                  <a:cubicBezTo>
                    <a:pt x="282" y="306"/>
                    <a:pt x="284" y="304"/>
                    <a:pt x="286" y="302"/>
                  </a:cubicBezTo>
                  <a:cubicBezTo>
                    <a:pt x="288" y="300"/>
                    <a:pt x="290" y="298"/>
                    <a:pt x="292" y="296"/>
                  </a:cubicBezTo>
                  <a:cubicBezTo>
                    <a:pt x="294" y="294"/>
                    <a:pt x="296" y="292"/>
                    <a:pt x="298" y="290"/>
                  </a:cubicBezTo>
                  <a:cubicBezTo>
                    <a:pt x="300" y="288"/>
                    <a:pt x="302" y="286"/>
                    <a:pt x="304" y="284"/>
                  </a:cubicBezTo>
                  <a:cubicBezTo>
                    <a:pt x="306" y="282"/>
                    <a:pt x="308" y="280"/>
                    <a:pt x="310" y="278"/>
                  </a:cubicBezTo>
                  <a:cubicBezTo>
                    <a:pt x="312" y="276"/>
                    <a:pt x="315" y="274"/>
                    <a:pt x="317" y="272"/>
                  </a:cubicBezTo>
                  <a:cubicBezTo>
                    <a:pt x="319" y="271"/>
                    <a:pt x="321" y="269"/>
                    <a:pt x="323" y="267"/>
                  </a:cubicBezTo>
                  <a:cubicBezTo>
                    <a:pt x="326" y="265"/>
                    <a:pt x="328" y="264"/>
                    <a:pt x="330" y="262"/>
                  </a:cubicBezTo>
                  <a:cubicBezTo>
                    <a:pt x="332" y="260"/>
                    <a:pt x="335" y="259"/>
                    <a:pt x="337" y="257"/>
                  </a:cubicBezTo>
                  <a:cubicBezTo>
                    <a:pt x="339" y="255"/>
                    <a:pt x="342" y="253"/>
                    <a:pt x="344" y="252"/>
                  </a:cubicBezTo>
                  <a:cubicBezTo>
                    <a:pt x="346" y="250"/>
                    <a:pt x="348" y="249"/>
                    <a:pt x="351" y="247"/>
                  </a:cubicBezTo>
                  <a:cubicBezTo>
                    <a:pt x="353" y="246"/>
                    <a:pt x="356" y="244"/>
                    <a:pt x="358" y="242"/>
                  </a:cubicBezTo>
                  <a:cubicBezTo>
                    <a:pt x="361" y="241"/>
                    <a:pt x="363" y="239"/>
                    <a:pt x="365" y="238"/>
                  </a:cubicBezTo>
                  <a:cubicBezTo>
                    <a:pt x="368" y="237"/>
                    <a:pt x="370" y="235"/>
                    <a:pt x="373" y="234"/>
                  </a:cubicBezTo>
                  <a:cubicBezTo>
                    <a:pt x="375" y="232"/>
                    <a:pt x="378" y="231"/>
                    <a:pt x="380" y="230"/>
                  </a:cubicBezTo>
                  <a:cubicBezTo>
                    <a:pt x="383" y="228"/>
                    <a:pt x="386" y="227"/>
                    <a:pt x="388" y="226"/>
                  </a:cubicBezTo>
                  <a:cubicBezTo>
                    <a:pt x="391" y="224"/>
                    <a:pt x="393" y="223"/>
                    <a:pt x="396" y="222"/>
                  </a:cubicBezTo>
                  <a:cubicBezTo>
                    <a:pt x="398" y="221"/>
                    <a:pt x="401" y="219"/>
                    <a:pt x="404" y="218"/>
                  </a:cubicBezTo>
                  <a:cubicBezTo>
                    <a:pt x="406" y="217"/>
                    <a:pt x="409" y="216"/>
                    <a:pt x="411" y="215"/>
                  </a:cubicBezTo>
                  <a:cubicBezTo>
                    <a:pt x="414" y="214"/>
                    <a:pt x="417" y="213"/>
                    <a:pt x="420" y="212"/>
                  </a:cubicBezTo>
                  <a:cubicBezTo>
                    <a:pt x="422" y="211"/>
                    <a:pt x="425" y="210"/>
                    <a:pt x="427" y="209"/>
                  </a:cubicBezTo>
                  <a:cubicBezTo>
                    <a:pt x="430" y="208"/>
                    <a:pt x="433" y="207"/>
                    <a:pt x="436" y="206"/>
                  </a:cubicBezTo>
                  <a:cubicBezTo>
                    <a:pt x="439" y="205"/>
                    <a:pt x="441" y="204"/>
                    <a:pt x="444" y="203"/>
                  </a:cubicBezTo>
                  <a:cubicBezTo>
                    <a:pt x="447" y="202"/>
                    <a:pt x="450" y="201"/>
                    <a:pt x="453" y="201"/>
                  </a:cubicBezTo>
                  <a:cubicBezTo>
                    <a:pt x="456" y="200"/>
                    <a:pt x="458" y="199"/>
                    <a:pt x="461" y="199"/>
                  </a:cubicBezTo>
                  <a:cubicBezTo>
                    <a:pt x="464" y="198"/>
                    <a:pt x="467" y="197"/>
                    <a:pt x="470" y="196"/>
                  </a:cubicBezTo>
                  <a:cubicBezTo>
                    <a:pt x="473" y="196"/>
                    <a:pt x="475" y="195"/>
                    <a:pt x="478" y="195"/>
                  </a:cubicBezTo>
                  <a:cubicBezTo>
                    <a:pt x="481" y="194"/>
                    <a:pt x="485" y="193"/>
                    <a:pt x="488" y="193"/>
                  </a:cubicBezTo>
                  <a:cubicBezTo>
                    <a:pt x="490" y="192"/>
                    <a:pt x="493" y="192"/>
                    <a:pt x="495" y="192"/>
                  </a:cubicBezTo>
                  <a:cubicBezTo>
                    <a:pt x="499" y="191"/>
                    <a:pt x="503" y="191"/>
                    <a:pt x="506" y="190"/>
                  </a:cubicBezTo>
                  <a:cubicBezTo>
                    <a:pt x="508" y="190"/>
                    <a:pt x="511" y="190"/>
                    <a:pt x="513" y="189"/>
                  </a:cubicBezTo>
                  <a:cubicBezTo>
                    <a:pt x="517" y="189"/>
                    <a:pt x="521" y="189"/>
                    <a:pt x="525" y="188"/>
                  </a:cubicBezTo>
                  <a:cubicBezTo>
                    <a:pt x="527" y="188"/>
                    <a:pt x="529" y="188"/>
                    <a:pt x="531" y="188"/>
                  </a:cubicBezTo>
                  <a:cubicBezTo>
                    <a:pt x="537" y="188"/>
                    <a:pt x="543" y="187"/>
                    <a:pt x="549" y="187"/>
                  </a:cubicBezTo>
                  <a:cubicBezTo>
                    <a:pt x="556" y="188"/>
                    <a:pt x="563" y="188"/>
                    <a:pt x="569" y="188"/>
                  </a:cubicBezTo>
                  <a:close/>
                  <a:moveTo>
                    <a:pt x="549" y="1130"/>
                  </a:moveTo>
                  <a:cubicBezTo>
                    <a:pt x="350" y="1130"/>
                    <a:pt x="188" y="968"/>
                    <a:pt x="188" y="768"/>
                  </a:cubicBezTo>
                  <a:lnTo>
                    <a:pt x="188" y="718"/>
                  </a:lnTo>
                  <a:cubicBezTo>
                    <a:pt x="229" y="727"/>
                    <a:pt x="271" y="731"/>
                    <a:pt x="313" y="731"/>
                  </a:cubicBezTo>
                  <a:cubicBezTo>
                    <a:pt x="457" y="731"/>
                    <a:pt x="596" y="682"/>
                    <a:pt x="708" y="594"/>
                  </a:cubicBezTo>
                  <a:cubicBezTo>
                    <a:pt x="765" y="649"/>
                    <a:pt x="834" y="690"/>
                    <a:pt x="911" y="712"/>
                  </a:cubicBezTo>
                  <a:lnTo>
                    <a:pt x="911" y="768"/>
                  </a:lnTo>
                  <a:cubicBezTo>
                    <a:pt x="911" y="968"/>
                    <a:pt x="749" y="1130"/>
                    <a:pt x="549" y="11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37">
              <a:extLst>
                <a:ext uri="{FF2B5EF4-FFF2-40B4-BE49-F238E27FC236}">
                  <a16:creationId xmlns:a16="http://schemas.microsoft.com/office/drawing/2014/main" id="{FE52D31D-6D9D-462A-A53E-F57D2FA6EC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6" y="3254"/>
              <a:ext cx="204" cy="109"/>
            </a:xfrm>
            <a:custGeom>
              <a:avLst/>
              <a:gdLst>
                <a:gd name="T0" fmla="*/ 1157 w 1543"/>
                <a:gd name="T1" fmla="*/ 32 h 820"/>
                <a:gd name="T2" fmla="*/ 1128 w 1543"/>
                <a:gd name="T3" fmla="*/ 23 h 820"/>
                <a:gd name="T4" fmla="*/ 1122 w 1543"/>
                <a:gd name="T5" fmla="*/ 21 h 820"/>
                <a:gd name="T6" fmla="*/ 1085 w 1543"/>
                <a:gd name="T7" fmla="*/ 12 h 820"/>
                <a:gd name="T8" fmla="*/ 1060 w 1543"/>
                <a:gd name="T9" fmla="*/ 7 h 820"/>
                <a:gd name="T10" fmla="*/ 1035 w 1543"/>
                <a:gd name="T11" fmla="*/ 4 h 820"/>
                <a:gd name="T12" fmla="*/ 995 w 1543"/>
                <a:gd name="T13" fmla="*/ 0 h 820"/>
                <a:gd name="T14" fmla="*/ 966 w 1543"/>
                <a:gd name="T15" fmla="*/ 0 h 820"/>
                <a:gd name="T16" fmla="*/ 557 w 1543"/>
                <a:gd name="T17" fmla="*/ 0 h 820"/>
                <a:gd name="T18" fmla="*/ 530 w 1543"/>
                <a:gd name="T19" fmla="*/ 2 h 820"/>
                <a:gd name="T20" fmla="*/ 504 w 1543"/>
                <a:gd name="T21" fmla="*/ 4 h 820"/>
                <a:gd name="T22" fmla="*/ 461 w 1543"/>
                <a:gd name="T23" fmla="*/ 11 h 820"/>
                <a:gd name="T24" fmla="*/ 437 w 1543"/>
                <a:gd name="T25" fmla="*/ 17 h 820"/>
                <a:gd name="T26" fmla="*/ 417 w 1543"/>
                <a:gd name="T27" fmla="*/ 22 h 820"/>
                <a:gd name="T28" fmla="*/ 394 w 1543"/>
                <a:gd name="T29" fmla="*/ 29 h 820"/>
                <a:gd name="T30" fmla="*/ 4 w 1543"/>
                <a:gd name="T31" fmla="*/ 509 h 820"/>
                <a:gd name="T32" fmla="*/ 771 w 1543"/>
                <a:gd name="T33" fmla="*/ 820 h 820"/>
                <a:gd name="T34" fmla="*/ 1538 w 1543"/>
                <a:gd name="T35" fmla="*/ 509 h 820"/>
                <a:gd name="T36" fmla="*/ 201 w 1543"/>
                <a:gd name="T37" fmla="*/ 475 h 820"/>
                <a:gd name="T38" fmla="*/ 460 w 1543"/>
                <a:gd name="T39" fmla="*/ 205 h 820"/>
                <a:gd name="T40" fmla="*/ 470 w 1543"/>
                <a:gd name="T41" fmla="*/ 202 h 820"/>
                <a:gd name="T42" fmla="*/ 483 w 1543"/>
                <a:gd name="T43" fmla="*/ 198 h 820"/>
                <a:gd name="T44" fmla="*/ 501 w 1543"/>
                <a:gd name="T45" fmla="*/ 195 h 820"/>
                <a:gd name="T46" fmla="*/ 515 w 1543"/>
                <a:gd name="T47" fmla="*/ 192 h 820"/>
                <a:gd name="T48" fmla="*/ 530 w 1543"/>
                <a:gd name="T49" fmla="*/ 190 h 820"/>
                <a:gd name="T50" fmla="*/ 557 w 1543"/>
                <a:gd name="T51" fmla="*/ 188 h 820"/>
                <a:gd name="T52" fmla="*/ 564 w 1543"/>
                <a:gd name="T53" fmla="*/ 187 h 820"/>
                <a:gd name="T54" fmla="*/ 966 w 1543"/>
                <a:gd name="T55" fmla="*/ 187 h 820"/>
                <a:gd name="T56" fmla="*/ 983 w 1543"/>
                <a:gd name="T57" fmla="*/ 187 h 820"/>
                <a:gd name="T58" fmla="*/ 998 w 1543"/>
                <a:gd name="T59" fmla="*/ 188 h 820"/>
                <a:gd name="T60" fmla="*/ 1015 w 1543"/>
                <a:gd name="T61" fmla="*/ 190 h 820"/>
                <a:gd name="T62" fmla="*/ 1030 w 1543"/>
                <a:gd name="T63" fmla="*/ 192 h 820"/>
                <a:gd name="T64" fmla="*/ 1045 w 1543"/>
                <a:gd name="T65" fmla="*/ 195 h 820"/>
                <a:gd name="T66" fmla="*/ 1072 w 1543"/>
                <a:gd name="T67" fmla="*/ 202 h 820"/>
                <a:gd name="T68" fmla="*/ 1075 w 1543"/>
                <a:gd name="T69" fmla="*/ 203 h 820"/>
                <a:gd name="T70" fmla="*/ 1089 w 1543"/>
                <a:gd name="T71" fmla="*/ 207 h 820"/>
                <a:gd name="T72" fmla="*/ 771 w 1543"/>
                <a:gd name="T73" fmla="*/ 633 h 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3" h="820">
                  <a:moveTo>
                    <a:pt x="1538" y="509"/>
                  </a:moveTo>
                  <a:cubicBezTo>
                    <a:pt x="1513" y="291"/>
                    <a:pt x="1364" y="105"/>
                    <a:pt x="1157" y="32"/>
                  </a:cubicBezTo>
                  <a:cubicBezTo>
                    <a:pt x="1154" y="31"/>
                    <a:pt x="1151" y="30"/>
                    <a:pt x="1149" y="29"/>
                  </a:cubicBezTo>
                  <a:cubicBezTo>
                    <a:pt x="1142" y="27"/>
                    <a:pt x="1135" y="25"/>
                    <a:pt x="1128" y="23"/>
                  </a:cubicBezTo>
                  <a:cubicBezTo>
                    <a:pt x="1128" y="23"/>
                    <a:pt x="1127" y="23"/>
                    <a:pt x="1126" y="22"/>
                  </a:cubicBezTo>
                  <a:cubicBezTo>
                    <a:pt x="1125" y="22"/>
                    <a:pt x="1123" y="21"/>
                    <a:pt x="1122" y="21"/>
                  </a:cubicBezTo>
                  <a:lnTo>
                    <a:pt x="1105" y="17"/>
                  </a:lnTo>
                  <a:cubicBezTo>
                    <a:pt x="1098" y="15"/>
                    <a:pt x="1092" y="13"/>
                    <a:pt x="1085" y="12"/>
                  </a:cubicBezTo>
                  <a:cubicBezTo>
                    <a:pt x="1084" y="12"/>
                    <a:pt x="1083" y="12"/>
                    <a:pt x="1082" y="11"/>
                  </a:cubicBezTo>
                  <a:cubicBezTo>
                    <a:pt x="1074" y="10"/>
                    <a:pt x="1067" y="9"/>
                    <a:pt x="1060" y="7"/>
                  </a:cubicBezTo>
                  <a:cubicBezTo>
                    <a:pt x="1053" y="6"/>
                    <a:pt x="1046" y="5"/>
                    <a:pt x="1039" y="4"/>
                  </a:cubicBezTo>
                  <a:lnTo>
                    <a:pt x="1035" y="4"/>
                  </a:lnTo>
                  <a:cubicBezTo>
                    <a:pt x="1028" y="3"/>
                    <a:pt x="1020" y="2"/>
                    <a:pt x="1012" y="1"/>
                  </a:cubicBezTo>
                  <a:cubicBezTo>
                    <a:pt x="1007" y="1"/>
                    <a:pt x="1001" y="1"/>
                    <a:pt x="995" y="0"/>
                  </a:cubicBezTo>
                  <a:cubicBezTo>
                    <a:pt x="992" y="0"/>
                    <a:pt x="989" y="0"/>
                    <a:pt x="985" y="0"/>
                  </a:cubicBezTo>
                  <a:cubicBezTo>
                    <a:pt x="979" y="0"/>
                    <a:pt x="972" y="0"/>
                    <a:pt x="966" y="0"/>
                  </a:cubicBezTo>
                  <a:lnTo>
                    <a:pt x="577" y="0"/>
                  </a:lnTo>
                  <a:cubicBezTo>
                    <a:pt x="571" y="0"/>
                    <a:pt x="564" y="0"/>
                    <a:pt x="557" y="0"/>
                  </a:cubicBezTo>
                  <a:cubicBezTo>
                    <a:pt x="554" y="0"/>
                    <a:pt x="551" y="0"/>
                    <a:pt x="548" y="0"/>
                  </a:cubicBezTo>
                  <a:cubicBezTo>
                    <a:pt x="542" y="1"/>
                    <a:pt x="536" y="1"/>
                    <a:pt x="530" y="2"/>
                  </a:cubicBezTo>
                  <a:cubicBezTo>
                    <a:pt x="522" y="2"/>
                    <a:pt x="515" y="3"/>
                    <a:pt x="507" y="4"/>
                  </a:cubicBezTo>
                  <a:lnTo>
                    <a:pt x="504" y="4"/>
                  </a:lnTo>
                  <a:cubicBezTo>
                    <a:pt x="497" y="5"/>
                    <a:pt x="490" y="6"/>
                    <a:pt x="483" y="7"/>
                  </a:cubicBezTo>
                  <a:cubicBezTo>
                    <a:pt x="476" y="9"/>
                    <a:pt x="468" y="10"/>
                    <a:pt x="461" y="11"/>
                  </a:cubicBezTo>
                  <a:cubicBezTo>
                    <a:pt x="460" y="12"/>
                    <a:pt x="459" y="12"/>
                    <a:pt x="458" y="12"/>
                  </a:cubicBezTo>
                  <a:cubicBezTo>
                    <a:pt x="451" y="13"/>
                    <a:pt x="444" y="15"/>
                    <a:pt x="437" y="17"/>
                  </a:cubicBezTo>
                  <a:lnTo>
                    <a:pt x="421" y="21"/>
                  </a:lnTo>
                  <a:cubicBezTo>
                    <a:pt x="419" y="21"/>
                    <a:pt x="418" y="22"/>
                    <a:pt x="417" y="22"/>
                  </a:cubicBezTo>
                  <a:cubicBezTo>
                    <a:pt x="416" y="23"/>
                    <a:pt x="415" y="23"/>
                    <a:pt x="414" y="23"/>
                  </a:cubicBezTo>
                  <a:cubicBezTo>
                    <a:pt x="408" y="25"/>
                    <a:pt x="401" y="27"/>
                    <a:pt x="394" y="29"/>
                  </a:cubicBezTo>
                  <a:cubicBezTo>
                    <a:pt x="391" y="30"/>
                    <a:pt x="389" y="31"/>
                    <a:pt x="386" y="32"/>
                  </a:cubicBezTo>
                  <a:cubicBezTo>
                    <a:pt x="179" y="105"/>
                    <a:pt x="30" y="291"/>
                    <a:pt x="4" y="509"/>
                  </a:cubicBezTo>
                  <a:cubicBezTo>
                    <a:pt x="0" y="544"/>
                    <a:pt x="16" y="578"/>
                    <a:pt x="45" y="597"/>
                  </a:cubicBezTo>
                  <a:cubicBezTo>
                    <a:pt x="259" y="743"/>
                    <a:pt x="511" y="820"/>
                    <a:pt x="771" y="820"/>
                  </a:cubicBezTo>
                  <a:cubicBezTo>
                    <a:pt x="1032" y="820"/>
                    <a:pt x="1283" y="743"/>
                    <a:pt x="1498" y="597"/>
                  </a:cubicBezTo>
                  <a:cubicBezTo>
                    <a:pt x="1527" y="578"/>
                    <a:pt x="1543" y="544"/>
                    <a:pt x="1538" y="509"/>
                  </a:cubicBezTo>
                  <a:close/>
                  <a:moveTo>
                    <a:pt x="771" y="633"/>
                  </a:moveTo>
                  <a:cubicBezTo>
                    <a:pt x="569" y="633"/>
                    <a:pt x="373" y="578"/>
                    <a:pt x="201" y="475"/>
                  </a:cubicBezTo>
                  <a:cubicBezTo>
                    <a:pt x="235" y="351"/>
                    <a:pt x="329" y="249"/>
                    <a:pt x="454" y="207"/>
                  </a:cubicBezTo>
                  <a:cubicBezTo>
                    <a:pt x="456" y="207"/>
                    <a:pt x="458" y="206"/>
                    <a:pt x="460" y="205"/>
                  </a:cubicBezTo>
                  <a:cubicBezTo>
                    <a:pt x="463" y="204"/>
                    <a:pt x="465" y="203"/>
                    <a:pt x="468" y="203"/>
                  </a:cubicBezTo>
                  <a:cubicBezTo>
                    <a:pt x="469" y="202"/>
                    <a:pt x="469" y="202"/>
                    <a:pt x="470" y="202"/>
                  </a:cubicBezTo>
                  <a:cubicBezTo>
                    <a:pt x="470" y="202"/>
                    <a:pt x="471" y="202"/>
                    <a:pt x="471" y="202"/>
                  </a:cubicBezTo>
                  <a:lnTo>
                    <a:pt x="483" y="198"/>
                  </a:lnTo>
                  <a:cubicBezTo>
                    <a:pt x="488" y="197"/>
                    <a:pt x="493" y="196"/>
                    <a:pt x="498" y="195"/>
                  </a:cubicBezTo>
                  <a:cubicBezTo>
                    <a:pt x="499" y="195"/>
                    <a:pt x="500" y="195"/>
                    <a:pt x="501" y="195"/>
                  </a:cubicBezTo>
                  <a:cubicBezTo>
                    <a:pt x="505" y="194"/>
                    <a:pt x="509" y="193"/>
                    <a:pt x="513" y="192"/>
                  </a:cubicBezTo>
                  <a:cubicBezTo>
                    <a:pt x="514" y="192"/>
                    <a:pt x="514" y="192"/>
                    <a:pt x="515" y="192"/>
                  </a:cubicBezTo>
                  <a:cubicBezTo>
                    <a:pt x="519" y="191"/>
                    <a:pt x="523" y="191"/>
                    <a:pt x="529" y="190"/>
                  </a:cubicBezTo>
                  <a:lnTo>
                    <a:pt x="530" y="190"/>
                  </a:lnTo>
                  <a:cubicBezTo>
                    <a:pt x="535" y="189"/>
                    <a:pt x="540" y="189"/>
                    <a:pt x="544" y="188"/>
                  </a:cubicBezTo>
                  <a:cubicBezTo>
                    <a:pt x="549" y="188"/>
                    <a:pt x="553" y="188"/>
                    <a:pt x="557" y="188"/>
                  </a:cubicBezTo>
                  <a:lnTo>
                    <a:pt x="560" y="187"/>
                  </a:lnTo>
                  <a:cubicBezTo>
                    <a:pt x="561" y="187"/>
                    <a:pt x="563" y="187"/>
                    <a:pt x="564" y="187"/>
                  </a:cubicBezTo>
                  <a:cubicBezTo>
                    <a:pt x="568" y="187"/>
                    <a:pt x="573" y="187"/>
                    <a:pt x="577" y="187"/>
                  </a:cubicBezTo>
                  <a:lnTo>
                    <a:pt x="966" y="187"/>
                  </a:lnTo>
                  <a:cubicBezTo>
                    <a:pt x="970" y="187"/>
                    <a:pt x="975" y="187"/>
                    <a:pt x="979" y="187"/>
                  </a:cubicBezTo>
                  <a:cubicBezTo>
                    <a:pt x="980" y="187"/>
                    <a:pt x="981" y="187"/>
                    <a:pt x="983" y="187"/>
                  </a:cubicBezTo>
                  <a:lnTo>
                    <a:pt x="986" y="188"/>
                  </a:lnTo>
                  <a:cubicBezTo>
                    <a:pt x="990" y="188"/>
                    <a:pt x="994" y="188"/>
                    <a:pt x="998" y="188"/>
                  </a:cubicBezTo>
                  <a:cubicBezTo>
                    <a:pt x="1003" y="189"/>
                    <a:pt x="1008" y="189"/>
                    <a:pt x="1014" y="190"/>
                  </a:cubicBezTo>
                  <a:cubicBezTo>
                    <a:pt x="1014" y="190"/>
                    <a:pt x="1015" y="190"/>
                    <a:pt x="1015" y="190"/>
                  </a:cubicBezTo>
                  <a:cubicBezTo>
                    <a:pt x="1020" y="191"/>
                    <a:pt x="1024" y="191"/>
                    <a:pt x="1028" y="192"/>
                  </a:cubicBezTo>
                  <a:cubicBezTo>
                    <a:pt x="1028" y="192"/>
                    <a:pt x="1029" y="192"/>
                    <a:pt x="1030" y="192"/>
                  </a:cubicBezTo>
                  <a:cubicBezTo>
                    <a:pt x="1034" y="193"/>
                    <a:pt x="1038" y="194"/>
                    <a:pt x="1042" y="195"/>
                  </a:cubicBezTo>
                  <a:cubicBezTo>
                    <a:pt x="1043" y="195"/>
                    <a:pt x="1044" y="195"/>
                    <a:pt x="1045" y="195"/>
                  </a:cubicBezTo>
                  <a:cubicBezTo>
                    <a:pt x="1050" y="196"/>
                    <a:pt x="1055" y="197"/>
                    <a:pt x="1059" y="198"/>
                  </a:cubicBezTo>
                  <a:lnTo>
                    <a:pt x="1072" y="202"/>
                  </a:lnTo>
                  <a:lnTo>
                    <a:pt x="1073" y="202"/>
                  </a:lnTo>
                  <a:cubicBezTo>
                    <a:pt x="1073" y="202"/>
                    <a:pt x="1074" y="202"/>
                    <a:pt x="1075" y="203"/>
                  </a:cubicBezTo>
                  <a:cubicBezTo>
                    <a:pt x="1077" y="203"/>
                    <a:pt x="1080" y="204"/>
                    <a:pt x="1083" y="205"/>
                  </a:cubicBezTo>
                  <a:cubicBezTo>
                    <a:pt x="1085" y="206"/>
                    <a:pt x="1087" y="207"/>
                    <a:pt x="1089" y="207"/>
                  </a:cubicBezTo>
                  <a:cubicBezTo>
                    <a:pt x="1213" y="249"/>
                    <a:pt x="1308" y="351"/>
                    <a:pt x="1342" y="475"/>
                  </a:cubicBezTo>
                  <a:cubicBezTo>
                    <a:pt x="1170" y="578"/>
                    <a:pt x="974" y="633"/>
                    <a:pt x="771" y="63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38">
              <a:extLst>
                <a:ext uri="{FF2B5EF4-FFF2-40B4-BE49-F238E27FC236}">
                  <a16:creationId xmlns:a16="http://schemas.microsoft.com/office/drawing/2014/main" id="{631B5E01-61DA-4602-A7F4-DB7E8CF33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8" y="3069"/>
              <a:ext cx="230" cy="89"/>
            </a:xfrm>
            <a:custGeom>
              <a:avLst/>
              <a:gdLst>
                <a:gd name="T0" fmla="*/ 94 w 1738"/>
                <a:gd name="T1" fmla="*/ 241 h 669"/>
                <a:gd name="T2" fmla="*/ 0 w 1738"/>
                <a:gd name="T3" fmla="*/ 334 h 669"/>
                <a:gd name="T4" fmla="*/ 94 w 1738"/>
                <a:gd name="T5" fmla="*/ 428 h 669"/>
                <a:gd name="T6" fmla="*/ 1082 w 1738"/>
                <a:gd name="T7" fmla="*/ 428 h 669"/>
                <a:gd name="T8" fmla="*/ 1403 w 1738"/>
                <a:gd name="T9" fmla="*/ 669 h 669"/>
                <a:gd name="T10" fmla="*/ 1738 w 1738"/>
                <a:gd name="T11" fmla="*/ 334 h 669"/>
                <a:gd name="T12" fmla="*/ 1403 w 1738"/>
                <a:gd name="T13" fmla="*/ 0 h 669"/>
                <a:gd name="T14" fmla="*/ 1082 w 1738"/>
                <a:gd name="T15" fmla="*/ 241 h 669"/>
                <a:gd name="T16" fmla="*/ 94 w 1738"/>
                <a:gd name="T17" fmla="*/ 241 h 669"/>
                <a:gd name="T18" fmla="*/ 1403 w 1738"/>
                <a:gd name="T19" fmla="*/ 187 h 669"/>
                <a:gd name="T20" fmla="*/ 1550 w 1738"/>
                <a:gd name="T21" fmla="*/ 334 h 669"/>
                <a:gd name="T22" fmla="*/ 1403 w 1738"/>
                <a:gd name="T23" fmla="*/ 482 h 669"/>
                <a:gd name="T24" fmla="*/ 1256 w 1738"/>
                <a:gd name="T25" fmla="*/ 334 h 669"/>
                <a:gd name="T26" fmla="*/ 1403 w 1738"/>
                <a:gd name="T27" fmla="*/ 187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669">
                  <a:moveTo>
                    <a:pt x="94" y="241"/>
                  </a:moveTo>
                  <a:cubicBezTo>
                    <a:pt x="42" y="241"/>
                    <a:pt x="0" y="283"/>
                    <a:pt x="0" y="334"/>
                  </a:cubicBezTo>
                  <a:cubicBezTo>
                    <a:pt x="0" y="386"/>
                    <a:pt x="42" y="428"/>
                    <a:pt x="94" y="428"/>
                  </a:cubicBezTo>
                  <a:lnTo>
                    <a:pt x="1082" y="428"/>
                  </a:lnTo>
                  <a:cubicBezTo>
                    <a:pt x="1123" y="567"/>
                    <a:pt x="1251" y="669"/>
                    <a:pt x="1403" y="669"/>
                  </a:cubicBezTo>
                  <a:cubicBezTo>
                    <a:pt x="1588" y="669"/>
                    <a:pt x="1738" y="519"/>
                    <a:pt x="1738" y="334"/>
                  </a:cubicBezTo>
                  <a:cubicBezTo>
                    <a:pt x="1738" y="150"/>
                    <a:pt x="1588" y="0"/>
                    <a:pt x="1403" y="0"/>
                  </a:cubicBezTo>
                  <a:cubicBezTo>
                    <a:pt x="1251" y="0"/>
                    <a:pt x="1123" y="102"/>
                    <a:pt x="1082" y="241"/>
                  </a:cubicBezTo>
                  <a:lnTo>
                    <a:pt x="94" y="241"/>
                  </a:lnTo>
                  <a:close/>
                  <a:moveTo>
                    <a:pt x="1403" y="187"/>
                  </a:moveTo>
                  <a:cubicBezTo>
                    <a:pt x="1484" y="187"/>
                    <a:pt x="1550" y="253"/>
                    <a:pt x="1550" y="334"/>
                  </a:cubicBezTo>
                  <a:cubicBezTo>
                    <a:pt x="1550" y="416"/>
                    <a:pt x="1484" y="482"/>
                    <a:pt x="1403" y="482"/>
                  </a:cubicBezTo>
                  <a:cubicBezTo>
                    <a:pt x="1322" y="482"/>
                    <a:pt x="1256" y="416"/>
                    <a:pt x="1256" y="334"/>
                  </a:cubicBezTo>
                  <a:cubicBezTo>
                    <a:pt x="1256" y="253"/>
                    <a:pt x="1322" y="187"/>
                    <a:pt x="1403" y="1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9">
              <a:extLst>
                <a:ext uri="{FF2B5EF4-FFF2-40B4-BE49-F238E27FC236}">
                  <a16:creationId xmlns:a16="http://schemas.microsoft.com/office/drawing/2014/main" id="{0F2E5D08-657D-4C74-8436-E6E970645A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8" y="3215"/>
              <a:ext cx="230" cy="88"/>
            </a:xfrm>
            <a:custGeom>
              <a:avLst/>
              <a:gdLst>
                <a:gd name="T0" fmla="*/ 0 w 1738"/>
                <a:gd name="T1" fmla="*/ 335 h 669"/>
                <a:gd name="T2" fmla="*/ 94 w 1738"/>
                <a:gd name="T3" fmla="*/ 428 h 669"/>
                <a:gd name="T4" fmla="*/ 1082 w 1738"/>
                <a:gd name="T5" fmla="*/ 428 h 669"/>
                <a:gd name="T6" fmla="*/ 1403 w 1738"/>
                <a:gd name="T7" fmla="*/ 669 h 669"/>
                <a:gd name="T8" fmla="*/ 1738 w 1738"/>
                <a:gd name="T9" fmla="*/ 335 h 669"/>
                <a:gd name="T10" fmla="*/ 1403 w 1738"/>
                <a:gd name="T11" fmla="*/ 0 h 669"/>
                <a:gd name="T12" fmla="*/ 1082 w 1738"/>
                <a:gd name="T13" fmla="*/ 241 h 669"/>
                <a:gd name="T14" fmla="*/ 94 w 1738"/>
                <a:gd name="T15" fmla="*/ 241 h 669"/>
                <a:gd name="T16" fmla="*/ 0 w 1738"/>
                <a:gd name="T17" fmla="*/ 335 h 669"/>
                <a:gd name="T18" fmla="*/ 1403 w 1738"/>
                <a:gd name="T19" fmla="*/ 187 h 669"/>
                <a:gd name="T20" fmla="*/ 1550 w 1738"/>
                <a:gd name="T21" fmla="*/ 335 h 669"/>
                <a:gd name="T22" fmla="*/ 1403 w 1738"/>
                <a:gd name="T23" fmla="*/ 482 h 669"/>
                <a:gd name="T24" fmla="*/ 1256 w 1738"/>
                <a:gd name="T25" fmla="*/ 335 h 669"/>
                <a:gd name="T26" fmla="*/ 1403 w 1738"/>
                <a:gd name="T27" fmla="*/ 187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38" h="669">
                  <a:moveTo>
                    <a:pt x="0" y="335"/>
                  </a:moveTo>
                  <a:cubicBezTo>
                    <a:pt x="0" y="386"/>
                    <a:pt x="42" y="428"/>
                    <a:pt x="94" y="428"/>
                  </a:cubicBezTo>
                  <a:lnTo>
                    <a:pt x="1082" y="428"/>
                  </a:lnTo>
                  <a:cubicBezTo>
                    <a:pt x="1123" y="567"/>
                    <a:pt x="1251" y="669"/>
                    <a:pt x="1403" y="669"/>
                  </a:cubicBezTo>
                  <a:cubicBezTo>
                    <a:pt x="1588" y="669"/>
                    <a:pt x="1738" y="519"/>
                    <a:pt x="1738" y="335"/>
                  </a:cubicBezTo>
                  <a:cubicBezTo>
                    <a:pt x="1738" y="150"/>
                    <a:pt x="1588" y="0"/>
                    <a:pt x="1403" y="0"/>
                  </a:cubicBezTo>
                  <a:cubicBezTo>
                    <a:pt x="1251" y="0"/>
                    <a:pt x="1123" y="102"/>
                    <a:pt x="1082" y="241"/>
                  </a:cubicBezTo>
                  <a:lnTo>
                    <a:pt x="94" y="241"/>
                  </a:lnTo>
                  <a:cubicBezTo>
                    <a:pt x="42" y="241"/>
                    <a:pt x="0" y="283"/>
                    <a:pt x="0" y="335"/>
                  </a:cubicBezTo>
                  <a:close/>
                  <a:moveTo>
                    <a:pt x="1403" y="187"/>
                  </a:moveTo>
                  <a:cubicBezTo>
                    <a:pt x="1484" y="187"/>
                    <a:pt x="1550" y="253"/>
                    <a:pt x="1550" y="335"/>
                  </a:cubicBezTo>
                  <a:cubicBezTo>
                    <a:pt x="1550" y="416"/>
                    <a:pt x="1484" y="482"/>
                    <a:pt x="1403" y="482"/>
                  </a:cubicBezTo>
                  <a:cubicBezTo>
                    <a:pt x="1322" y="482"/>
                    <a:pt x="1256" y="416"/>
                    <a:pt x="1256" y="335"/>
                  </a:cubicBezTo>
                  <a:cubicBezTo>
                    <a:pt x="1256" y="253"/>
                    <a:pt x="1322" y="187"/>
                    <a:pt x="1403" y="1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1" name="Freeform 69">
            <a:extLst>
              <a:ext uri="{FF2B5EF4-FFF2-40B4-BE49-F238E27FC236}">
                <a16:creationId xmlns:a16="http://schemas.microsoft.com/office/drawing/2014/main" id="{2C3924D6-1ADD-4F33-8C38-D2EEBC581FE2}"/>
              </a:ext>
            </a:extLst>
          </p:cNvPr>
          <p:cNvSpPr>
            <a:spLocks noEditPoints="1"/>
          </p:cNvSpPr>
          <p:nvPr/>
        </p:nvSpPr>
        <p:spPr bwMode="auto">
          <a:xfrm>
            <a:off x="6412374" y="1985094"/>
            <a:ext cx="516734" cy="455096"/>
          </a:xfrm>
          <a:custGeom>
            <a:avLst/>
            <a:gdLst>
              <a:gd name="T0" fmla="*/ 3164 w 4650"/>
              <a:gd name="T1" fmla="*/ 687 h 4086"/>
              <a:gd name="T2" fmla="*/ 2964 w 4650"/>
              <a:gd name="T3" fmla="*/ 0 h 4086"/>
              <a:gd name="T4" fmla="*/ 1485 w 4650"/>
              <a:gd name="T5" fmla="*/ 200 h 4086"/>
              <a:gd name="T6" fmla="*/ 650 w 4650"/>
              <a:gd name="T7" fmla="*/ 687 h 4086"/>
              <a:gd name="T8" fmla="*/ 0 w 4650"/>
              <a:gd name="T9" fmla="*/ 3460 h 4086"/>
              <a:gd name="T10" fmla="*/ 4000 w 4650"/>
              <a:gd name="T11" fmla="*/ 4086 h 4086"/>
              <a:gd name="T12" fmla="*/ 4650 w 4650"/>
              <a:gd name="T13" fmla="*/ 1314 h 4086"/>
              <a:gd name="T14" fmla="*/ 1686 w 4650"/>
              <a:gd name="T15" fmla="*/ 201 h 4086"/>
              <a:gd name="T16" fmla="*/ 2964 w 4650"/>
              <a:gd name="T17" fmla="*/ 687 h 4086"/>
              <a:gd name="T18" fmla="*/ 1686 w 4650"/>
              <a:gd name="T19" fmla="*/ 201 h 4086"/>
              <a:gd name="T20" fmla="*/ 650 w 4650"/>
              <a:gd name="T21" fmla="*/ 3886 h 4086"/>
              <a:gd name="T22" fmla="*/ 200 w 4650"/>
              <a:gd name="T23" fmla="*/ 2754 h 4086"/>
              <a:gd name="T24" fmla="*/ 1700 w 4650"/>
              <a:gd name="T25" fmla="*/ 2776 h 4086"/>
              <a:gd name="T26" fmla="*/ 1922 w 4650"/>
              <a:gd name="T27" fmla="*/ 3307 h 4086"/>
              <a:gd name="T28" fmla="*/ 2225 w 4650"/>
              <a:gd name="T29" fmla="*/ 3307 h 4086"/>
              <a:gd name="T30" fmla="*/ 2325 w 4650"/>
              <a:gd name="T31" fmla="*/ 3607 h 4086"/>
              <a:gd name="T32" fmla="*/ 2425 w 4650"/>
              <a:gd name="T33" fmla="*/ 3307 h 4086"/>
              <a:gd name="T34" fmla="*/ 2947 w 4650"/>
              <a:gd name="T35" fmla="*/ 3085 h 4086"/>
              <a:gd name="T36" fmla="*/ 2947 w 4650"/>
              <a:gd name="T37" fmla="*/ 2776 h 4086"/>
              <a:gd name="T38" fmla="*/ 4447 w 4650"/>
              <a:gd name="T39" fmla="*/ 2754 h 4086"/>
              <a:gd name="T40" fmla="*/ 4000 w 4650"/>
              <a:gd name="T41" fmla="*/ 3886 h 4086"/>
              <a:gd name="T42" fmla="*/ 2225 w 4650"/>
              <a:gd name="T43" fmla="*/ 2931 h 4086"/>
              <a:gd name="T44" fmla="*/ 1925 w 4650"/>
              <a:gd name="T45" fmla="*/ 3107 h 4086"/>
              <a:gd name="T46" fmla="*/ 1903 w 4650"/>
              <a:gd name="T47" fmla="*/ 2776 h 4086"/>
              <a:gd name="T48" fmla="*/ 2725 w 4650"/>
              <a:gd name="T49" fmla="*/ 2754 h 4086"/>
              <a:gd name="T50" fmla="*/ 2747 w 4650"/>
              <a:gd name="T51" fmla="*/ 2776 h 4086"/>
              <a:gd name="T52" fmla="*/ 2725 w 4650"/>
              <a:gd name="T53" fmla="*/ 3107 h 4086"/>
              <a:gd name="T54" fmla="*/ 2425 w 4650"/>
              <a:gd name="T55" fmla="*/ 3107 h 4086"/>
              <a:gd name="T56" fmla="*/ 2325 w 4650"/>
              <a:gd name="T57" fmla="*/ 2831 h 4086"/>
              <a:gd name="T58" fmla="*/ 200 w 4650"/>
              <a:gd name="T59" fmla="*/ 2554 h 4086"/>
              <a:gd name="T60" fmla="*/ 650 w 4650"/>
              <a:gd name="T61" fmla="*/ 888 h 4086"/>
              <a:gd name="T62" fmla="*/ 4450 w 4650"/>
              <a:gd name="T63" fmla="*/ 1314 h 40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650" h="4086">
                <a:moveTo>
                  <a:pt x="4000" y="687"/>
                </a:moveTo>
                <a:lnTo>
                  <a:pt x="3164" y="687"/>
                </a:lnTo>
                <a:lnTo>
                  <a:pt x="3164" y="200"/>
                </a:lnTo>
                <a:cubicBezTo>
                  <a:pt x="3164" y="89"/>
                  <a:pt x="3074" y="0"/>
                  <a:pt x="2964" y="0"/>
                </a:cubicBezTo>
                <a:lnTo>
                  <a:pt x="1685" y="0"/>
                </a:lnTo>
                <a:cubicBezTo>
                  <a:pt x="1575" y="0"/>
                  <a:pt x="1485" y="89"/>
                  <a:pt x="1485" y="200"/>
                </a:cubicBezTo>
                <a:lnTo>
                  <a:pt x="1485" y="687"/>
                </a:lnTo>
                <a:lnTo>
                  <a:pt x="650" y="687"/>
                </a:lnTo>
                <a:cubicBezTo>
                  <a:pt x="350" y="687"/>
                  <a:pt x="0" y="851"/>
                  <a:pt x="0" y="1313"/>
                </a:cubicBezTo>
                <a:lnTo>
                  <a:pt x="0" y="3460"/>
                </a:lnTo>
                <a:cubicBezTo>
                  <a:pt x="0" y="3922"/>
                  <a:pt x="350" y="4086"/>
                  <a:pt x="650" y="4086"/>
                </a:cubicBezTo>
                <a:lnTo>
                  <a:pt x="4000" y="4086"/>
                </a:lnTo>
                <a:cubicBezTo>
                  <a:pt x="4480" y="4086"/>
                  <a:pt x="4650" y="3750"/>
                  <a:pt x="4650" y="3460"/>
                </a:cubicBezTo>
                <a:lnTo>
                  <a:pt x="4650" y="1314"/>
                </a:lnTo>
                <a:cubicBezTo>
                  <a:pt x="4650" y="851"/>
                  <a:pt x="4300" y="687"/>
                  <a:pt x="4000" y="687"/>
                </a:cubicBezTo>
                <a:close/>
                <a:moveTo>
                  <a:pt x="1686" y="201"/>
                </a:moveTo>
                <a:lnTo>
                  <a:pt x="2964" y="200"/>
                </a:lnTo>
                <a:lnTo>
                  <a:pt x="2964" y="687"/>
                </a:lnTo>
                <a:lnTo>
                  <a:pt x="1686" y="687"/>
                </a:lnTo>
                <a:lnTo>
                  <a:pt x="1686" y="201"/>
                </a:lnTo>
                <a:close/>
                <a:moveTo>
                  <a:pt x="4000" y="3886"/>
                </a:moveTo>
                <a:lnTo>
                  <a:pt x="650" y="3886"/>
                </a:lnTo>
                <a:cubicBezTo>
                  <a:pt x="515" y="3886"/>
                  <a:pt x="200" y="3844"/>
                  <a:pt x="200" y="3460"/>
                </a:cubicBezTo>
                <a:lnTo>
                  <a:pt x="200" y="2754"/>
                </a:lnTo>
                <a:lnTo>
                  <a:pt x="1700" y="2754"/>
                </a:lnTo>
                <a:cubicBezTo>
                  <a:pt x="1700" y="2761"/>
                  <a:pt x="1700" y="2768"/>
                  <a:pt x="1700" y="2776"/>
                </a:cubicBezTo>
                <a:lnTo>
                  <a:pt x="1700" y="3085"/>
                </a:lnTo>
                <a:cubicBezTo>
                  <a:pt x="1700" y="3207"/>
                  <a:pt x="1799" y="3307"/>
                  <a:pt x="1922" y="3307"/>
                </a:cubicBezTo>
                <a:cubicBezTo>
                  <a:pt x="1923" y="3307"/>
                  <a:pt x="1924" y="3307"/>
                  <a:pt x="1925" y="3307"/>
                </a:cubicBezTo>
                <a:lnTo>
                  <a:pt x="2225" y="3307"/>
                </a:lnTo>
                <a:lnTo>
                  <a:pt x="2225" y="3507"/>
                </a:lnTo>
                <a:cubicBezTo>
                  <a:pt x="2225" y="3562"/>
                  <a:pt x="2270" y="3607"/>
                  <a:pt x="2325" y="3607"/>
                </a:cubicBezTo>
                <a:cubicBezTo>
                  <a:pt x="2380" y="3607"/>
                  <a:pt x="2425" y="3562"/>
                  <a:pt x="2425" y="3507"/>
                </a:cubicBezTo>
                <a:lnTo>
                  <a:pt x="2425" y="3307"/>
                </a:lnTo>
                <a:lnTo>
                  <a:pt x="2725" y="3307"/>
                </a:lnTo>
                <a:cubicBezTo>
                  <a:pt x="2848" y="3307"/>
                  <a:pt x="2947" y="3207"/>
                  <a:pt x="2947" y="3085"/>
                </a:cubicBezTo>
                <a:lnTo>
                  <a:pt x="2947" y="3085"/>
                </a:lnTo>
                <a:lnTo>
                  <a:pt x="2947" y="2776"/>
                </a:lnTo>
                <a:cubicBezTo>
                  <a:pt x="2947" y="2768"/>
                  <a:pt x="2947" y="2761"/>
                  <a:pt x="2947" y="2754"/>
                </a:cubicBezTo>
                <a:lnTo>
                  <a:pt x="4447" y="2754"/>
                </a:lnTo>
                <a:lnTo>
                  <a:pt x="4450" y="3460"/>
                </a:lnTo>
                <a:cubicBezTo>
                  <a:pt x="4450" y="3588"/>
                  <a:pt x="4406" y="3886"/>
                  <a:pt x="4000" y="3886"/>
                </a:cubicBezTo>
                <a:close/>
                <a:moveTo>
                  <a:pt x="2325" y="2831"/>
                </a:moveTo>
                <a:cubicBezTo>
                  <a:pt x="2270" y="2831"/>
                  <a:pt x="2225" y="2875"/>
                  <a:pt x="2225" y="2931"/>
                </a:cubicBezTo>
                <a:lnTo>
                  <a:pt x="2225" y="3107"/>
                </a:lnTo>
                <a:lnTo>
                  <a:pt x="1925" y="3107"/>
                </a:lnTo>
                <a:cubicBezTo>
                  <a:pt x="1913" y="3107"/>
                  <a:pt x="1903" y="3097"/>
                  <a:pt x="1903" y="3085"/>
                </a:cubicBezTo>
                <a:lnTo>
                  <a:pt x="1903" y="2776"/>
                </a:lnTo>
                <a:cubicBezTo>
                  <a:pt x="1903" y="2763"/>
                  <a:pt x="1913" y="2754"/>
                  <a:pt x="1925" y="2754"/>
                </a:cubicBezTo>
                <a:lnTo>
                  <a:pt x="2725" y="2754"/>
                </a:lnTo>
                <a:cubicBezTo>
                  <a:pt x="2737" y="2754"/>
                  <a:pt x="2747" y="2763"/>
                  <a:pt x="2747" y="2776"/>
                </a:cubicBezTo>
                <a:lnTo>
                  <a:pt x="2747" y="2776"/>
                </a:lnTo>
                <a:lnTo>
                  <a:pt x="2747" y="3085"/>
                </a:lnTo>
                <a:cubicBezTo>
                  <a:pt x="2747" y="3097"/>
                  <a:pt x="2737" y="3107"/>
                  <a:pt x="2725" y="3107"/>
                </a:cubicBezTo>
                <a:lnTo>
                  <a:pt x="2725" y="3107"/>
                </a:lnTo>
                <a:lnTo>
                  <a:pt x="2425" y="3107"/>
                </a:lnTo>
                <a:lnTo>
                  <a:pt x="2425" y="2931"/>
                </a:lnTo>
                <a:cubicBezTo>
                  <a:pt x="2425" y="2875"/>
                  <a:pt x="2380" y="2831"/>
                  <a:pt x="2325" y="2831"/>
                </a:cubicBezTo>
                <a:close/>
                <a:moveTo>
                  <a:pt x="4450" y="2554"/>
                </a:moveTo>
                <a:lnTo>
                  <a:pt x="200" y="2554"/>
                </a:lnTo>
                <a:lnTo>
                  <a:pt x="200" y="1314"/>
                </a:lnTo>
                <a:cubicBezTo>
                  <a:pt x="200" y="929"/>
                  <a:pt x="515" y="888"/>
                  <a:pt x="650" y="888"/>
                </a:cubicBezTo>
                <a:lnTo>
                  <a:pt x="4000" y="888"/>
                </a:lnTo>
                <a:cubicBezTo>
                  <a:pt x="4135" y="888"/>
                  <a:pt x="4450" y="929"/>
                  <a:pt x="4450" y="1314"/>
                </a:cubicBezTo>
                <a:lnTo>
                  <a:pt x="4450" y="2554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279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40">
            <a:extLst>
              <a:ext uri="{FF2B5EF4-FFF2-40B4-BE49-F238E27FC236}">
                <a16:creationId xmlns:a16="http://schemas.microsoft.com/office/drawing/2014/main" id="{00FB21F6-4C5A-40CB-BF39-4D035F07C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</a:t>
            </a:r>
            <a:br>
              <a:rPr lang="en-US" dirty="0"/>
            </a:br>
            <a:r>
              <a:rPr lang="ru-RU" dirty="0"/>
              <a:t>ISO 37001:2016 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лари</a:t>
            </a:r>
            <a:r>
              <a:rPr lang="ru-RU" dirty="0"/>
              <a:t>» (3/10)</a:t>
            </a:r>
            <a:endParaRPr lang="en-US" dirty="0"/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43B85007-E310-4B99-8C65-2B7AA9F3D98A}"/>
              </a:ext>
            </a:extLst>
          </p:cNvPr>
          <p:cNvSpPr txBox="1">
            <a:spLocks/>
          </p:cNvSpPr>
          <p:nvPr/>
        </p:nvSpPr>
        <p:spPr>
          <a:xfrm>
            <a:off x="816680" y="1973835"/>
            <a:ext cx="5207883" cy="13086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 err="1">
                <a:solidFill>
                  <a:srgbClr val="3A07DF"/>
                </a:solidFill>
              </a:rPr>
              <a:t>Муҳокама</a:t>
            </a:r>
            <a:r>
              <a:rPr lang="ru-RU" sz="2400" dirty="0">
                <a:solidFill>
                  <a:srgbClr val="3A07DF"/>
                </a:solidFill>
              </a:rPr>
              <a:t> </a:t>
            </a:r>
            <a:r>
              <a:rPr lang="ru-RU" sz="2400" dirty="0" err="1">
                <a:solidFill>
                  <a:srgbClr val="3A07DF"/>
                </a:solidFill>
              </a:rPr>
              <a:t>учун</a:t>
            </a:r>
            <a:r>
              <a:rPr lang="ru-RU" sz="2400" dirty="0">
                <a:solidFill>
                  <a:srgbClr val="3A07DF"/>
                </a:solidFill>
              </a:rPr>
              <a:t> </a:t>
            </a:r>
            <a:r>
              <a:rPr lang="ru-RU" sz="2400" dirty="0" err="1">
                <a:solidFill>
                  <a:srgbClr val="3A07DF"/>
                </a:solidFill>
              </a:rPr>
              <a:t>савол</a:t>
            </a:r>
            <a:r>
              <a:rPr lang="ru-RU" sz="2400" dirty="0">
                <a:solidFill>
                  <a:srgbClr val="3A07DF"/>
                </a:solidFill>
              </a:rPr>
              <a:t>: </a:t>
            </a:r>
            <a:r>
              <a:rPr lang="ru-RU" sz="2400" dirty="0" err="1">
                <a:solidFill>
                  <a:srgbClr val="3A07DF"/>
                </a:solidFill>
              </a:rPr>
              <a:t>Компетенциялар</a:t>
            </a:r>
            <a:endParaRPr lang="ru-RU" sz="2400" b="0" dirty="0">
              <a:solidFill>
                <a:srgbClr val="3A07DF"/>
              </a:solidFill>
            </a:endParaRPr>
          </a:p>
        </p:txBody>
      </p:sp>
      <p:sp>
        <p:nvSpPr>
          <p:cNvPr id="14" name="Freeform 83">
            <a:extLst>
              <a:ext uri="{FF2B5EF4-FFF2-40B4-BE49-F238E27FC236}">
                <a16:creationId xmlns:a16="http://schemas.microsoft.com/office/drawing/2014/main" id="{929F2D2B-56C7-4FC0-AC6D-C44AE19C2BA2}"/>
              </a:ext>
            </a:extLst>
          </p:cNvPr>
          <p:cNvSpPr/>
          <p:nvPr/>
        </p:nvSpPr>
        <p:spPr>
          <a:xfrm>
            <a:off x="441831" y="1819034"/>
            <a:ext cx="1211122" cy="1614182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 err="1">
              <a:solidFill>
                <a:srgbClr val="1BD7D3"/>
              </a:solidFill>
              <a:latin typeface="Gotham Light" pitchFamily="50" charset="0"/>
            </a:endParaRPr>
          </a:p>
        </p:txBody>
      </p:sp>
      <p:sp>
        <p:nvSpPr>
          <p:cNvPr id="39" name="Объект 2">
            <a:extLst>
              <a:ext uri="{FF2B5EF4-FFF2-40B4-BE49-F238E27FC236}">
                <a16:creationId xmlns:a16="http://schemas.microsoft.com/office/drawing/2014/main" id="{59528330-A058-4884-9E9A-72178D31440D}"/>
              </a:ext>
            </a:extLst>
          </p:cNvPr>
          <p:cNvSpPr txBox="1">
            <a:spLocks/>
          </p:cNvSpPr>
          <p:nvPr/>
        </p:nvSpPr>
        <p:spPr>
          <a:xfrm>
            <a:off x="441831" y="3671933"/>
            <a:ext cx="6505621" cy="13086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Сизнинг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нуқта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назарингизд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комплаенс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ўйич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масъул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шахс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қандай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маълумот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иш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тажрибасиг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эг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ўлиш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керак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?</a:t>
            </a:r>
            <a:br>
              <a:rPr lang="ru-RU" sz="20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2000" b="0" dirty="0">
                <a:solidFill>
                  <a:schemeClr val="bg2">
                    <a:lumMod val="25000"/>
                  </a:schemeClr>
                </a:solidFill>
              </a:rPr>
              <a:t>(</a:t>
            </a:r>
            <a:r>
              <a:rPr lang="ru-RU" sz="2000" b="0" dirty="0" err="1">
                <a:solidFill>
                  <a:schemeClr val="bg2">
                    <a:lumMod val="25000"/>
                  </a:schemeClr>
                </a:solidFill>
              </a:rPr>
              <a:t>олдинги</a:t>
            </a:r>
            <a:r>
              <a:rPr lang="ru-RU" sz="2000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b="0" dirty="0" err="1">
                <a:solidFill>
                  <a:schemeClr val="bg2">
                    <a:lumMod val="25000"/>
                  </a:schemeClr>
                </a:solidFill>
              </a:rPr>
              <a:t>иш</a:t>
            </a:r>
            <a:r>
              <a:rPr lang="ru-RU" sz="2000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b="0" dirty="0" err="1">
                <a:solidFill>
                  <a:schemeClr val="bg2">
                    <a:lumMod val="25000"/>
                  </a:schemeClr>
                </a:solidFill>
              </a:rPr>
              <a:t>тажрибангиз</a:t>
            </a:r>
            <a:r>
              <a:rPr lang="ru-RU" sz="2000" b="0" dirty="0">
                <a:solidFill>
                  <a:schemeClr val="bg2">
                    <a:lumMod val="25000"/>
                  </a:schemeClr>
                </a:solidFill>
              </a:rPr>
              <a:t> / </a:t>
            </a:r>
            <a:r>
              <a:rPr lang="ru-RU" sz="2000" b="0" dirty="0" err="1">
                <a:solidFill>
                  <a:schemeClr val="bg2">
                    <a:lumMod val="25000"/>
                  </a:schemeClr>
                </a:solidFill>
              </a:rPr>
              <a:t>маълумотингиз</a:t>
            </a:r>
            <a:r>
              <a:rPr lang="ru-RU" sz="2000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b="0" dirty="0" err="1">
                <a:solidFill>
                  <a:schemeClr val="bg2">
                    <a:lumMod val="25000"/>
                  </a:schemeClr>
                </a:solidFill>
              </a:rPr>
              <a:t>ҳақида</a:t>
            </a:r>
            <a:r>
              <a:rPr lang="ru-RU" sz="2000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b="0" dirty="0" err="1">
                <a:solidFill>
                  <a:schemeClr val="bg2">
                    <a:lumMod val="25000"/>
                  </a:schemeClr>
                </a:solidFill>
              </a:rPr>
              <a:t>маълумот</a:t>
            </a:r>
            <a:r>
              <a:rPr lang="ru-RU" sz="2000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b="0" dirty="0" err="1">
                <a:solidFill>
                  <a:schemeClr val="bg2">
                    <a:lumMod val="25000"/>
                  </a:schemeClr>
                </a:solidFill>
              </a:rPr>
              <a:t>берсангиз</a:t>
            </a:r>
            <a:r>
              <a:rPr lang="ru-RU" sz="2000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b="0" dirty="0" err="1">
                <a:solidFill>
                  <a:schemeClr val="bg2">
                    <a:lumMod val="25000"/>
                  </a:schemeClr>
                </a:solidFill>
              </a:rPr>
              <a:t>бўлади</a:t>
            </a:r>
            <a:r>
              <a:rPr lang="ru-RU" sz="2000" b="0" dirty="0">
                <a:solidFill>
                  <a:schemeClr val="bg2">
                    <a:lumMod val="25000"/>
                  </a:schemeClr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205132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F2987B0-E390-4DA7-B54A-C7050F464497}"/>
              </a:ext>
            </a:extLst>
          </p:cNvPr>
          <p:cNvSpPr txBox="1"/>
          <p:nvPr/>
        </p:nvSpPr>
        <p:spPr>
          <a:xfrm>
            <a:off x="1245056" y="1856213"/>
            <a:ext cx="2044243" cy="246221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т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рупцияга қарши комплаенс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съу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гишл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лумо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йёргар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жриба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унингде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оли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блар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ади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билият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зимлиг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глатад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768F354-F7CD-4E8A-95CE-91C6C94EF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</a:t>
            </a:r>
            <a:br>
              <a:rPr lang="ru-RU" dirty="0"/>
            </a:br>
            <a:r>
              <a:rPr lang="ru-RU" dirty="0"/>
              <a:t>ISO 37001:2016 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лари</a:t>
            </a:r>
            <a:r>
              <a:rPr lang="ru-RU" dirty="0"/>
              <a:t>» (4/10)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C7EC20B-4C02-45C0-9945-47F5091A76E7}"/>
              </a:ext>
            </a:extLst>
          </p:cNvPr>
          <p:cNvGrpSpPr/>
          <p:nvPr/>
        </p:nvGrpSpPr>
        <p:grpSpPr>
          <a:xfrm>
            <a:off x="431998" y="1282699"/>
            <a:ext cx="2899635" cy="514305"/>
            <a:chOff x="431998" y="1497505"/>
            <a:chExt cx="7093540" cy="589416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BCA60C1-36B6-4A4B-8FF5-C4FAF1CEBF67}"/>
                </a:ext>
              </a:extLst>
            </p:cNvPr>
            <p:cNvSpPr/>
            <p:nvPr/>
          </p:nvSpPr>
          <p:spPr>
            <a:xfrm>
              <a:off x="603459" y="1565361"/>
              <a:ext cx="6922079" cy="5215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3B21EA2-5896-41AC-BF42-23EB82358555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мпетентлик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0338172-2568-4FEA-9AFB-4F930D947DB1}"/>
              </a:ext>
            </a:extLst>
          </p:cNvPr>
          <p:cNvCxnSpPr>
            <a:cxnSpLocks/>
          </p:cNvCxnSpPr>
          <p:nvPr/>
        </p:nvCxnSpPr>
        <p:spPr>
          <a:xfrm>
            <a:off x="3784798" y="2029071"/>
            <a:ext cx="7964290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59D202D-68CE-4AE7-AFD2-32219A17A62A}"/>
              </a:ext>
            </a:extLst>
          </p:cNvPr>
          <p:cNvSpPr/>
          <p:nvPr/>
        </p:nvSpPr>
        <p:spPr>
          <a:xfrm>
            <a:off x="3784798" y="1605410"/>
            <a:ext cx="7272000" cy="338554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ISO 370016:2016ни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жорий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эт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ўйич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ўлланм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E83248-D1BB-474B-B06D-323153417B72}"/>
              </a:ext>
            </a:extLst>
          </p:cNvPr>
          <p:cNvSpPr/>
          <p:nvPr/>
        </p:nvSpPr>
        <p:spPr>
          <a:xfrm>
            <a:off x="3794630" y="2099264"/>
            <a:ext cx="7954458" cy="3139321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Қо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йич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ташкилотдаги</a:t>
            </a:r>
            <a:r>
              <a:rPr lang="ru-RU" sz="1400" dirty="0">
                <a:solidFill>
                  <a:schemeClr val="tx2"/>
                </a:solidFill>
              </a:rPr>
              <a:t> коррупцияга қарши курашиш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асб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жрибас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уқуқ</a:t>
            </a:r>
            <a:r>
              <a:rPr lang="ru-RU" sz="1400" dirty="0">
                <a:solidFill>
                  <a:schemeClr val="tx2"/>
                </a:solidFill>
              </a:rPr>
              <a:t>, аудит</a:t>
            </a: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олия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ғли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ади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  <a:r>
              <a:rPr lang="ru-RU" sz="1400" dirty="0" err="1">
                <a:solidFill>
                  <a:schemeClr val="tx2"/>
                </a:solidFill>
              </a:rPr>
              <a:t>Леки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жриб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ълумот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тъ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азар</a:t>
            </a:r>
            <a:r>
              <a:rPr lang="ru-RU" sz="1400" dirty="0">
                <a:solidFill>
                  <a:schemeClr val="tx2"/>
                </a:solidFill>
              </a:rPr>
              <a:t>, доимо </a:t>
            </a:r>
            <a:r>
              <a:rPr lang="ru-RU" sz="1400" dirty="0" err="1">
                <a:solidFill>
                  <a:schemeClr val="tx2"/>
                </a:solidFill>
              </a:rPr>
              <a:t>ҳалол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коррупцияга қарши курашиш </a:t>
            </a:r>
            <a:r>
              <a:rPr lang="ru-RU" sz="1400" dirty="0" err="1">
                <a:solidFill>
                  <a:schemeClr val="tx2"/>
                </a:solidFill>
              </a:rPr>
              <a:t>вазифал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диқ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аб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азилат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омзод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стун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рила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Кўп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рмоқ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жрибас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мнуния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б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над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чун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аолият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яхширо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ушуниш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орахў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оз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ой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ниқлаш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мко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ради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Коррупцияга қарши курашиш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, агар улар </a:t>
            </a:r>
            <a:r>
              <a:rPr lang="ru-RU" sz="1400" dirty="0" err="1">
                <a:solidFill>
                  <a:schemeClr val="tx2"/>
                </a:solidFill>
              </a:rPr>
              <a:t>илг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тма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са</a:t>
            </a:r>
            <a:r>
              <a:rPr lang="ru-RU" sz="1400" dirty="0">
                <a:solidFill>
                  <a:schemeClr val="tx2"/>
                </a:solidFill>
              </a:rPr>
              <a:t>, коррупцияга қарши курашиш </a:t>
            </a:r>
            <a:r>
              <a:rPr lang="ru-RU" sz="1400" dirty="0" err="1">
                <a:solidFill>
                  <a:schemeClr val="tx2"/>
                </a:solidFill>
              </a:rPr>
              <a:t>махсус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қу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с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таш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лозим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Коррупцияга қарши курашиш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съу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рч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аражалар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одим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мара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лоқ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аро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лоқ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билият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ш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лозим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F9DF1EE-343B-4688-9D4C-FF41AE962E6F}"/>
              </a:ext>
            </a:extLst>
          </p:cNvPr>
          <p:cNvSpPr txBox="1">
            <a:spLocks/>
          </p:cNvSpPr>
          <p:nvPr/>
        </p:nvSpPr>
        <p:spPr>
          <a:xfrm>
            <a:off x="4733282" y="5465154"/>
            <a:ext cx="7015806" cy="565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600" b="1" dirty="0">
                <a:solidFill>
                  <a:srgbClr val="3A07DF"/>
                </a:solidFill>
              </a:rPr>
              <a:t>Давлат </a:t>
            </a:r>
            <a:r>
              <a:rPr lang="ru-RU" sz="1600" b="1" dirty="0" err="1">
                <a:solidFill>
                  <a:srgbClr val="3A07DF"/>
                </a:solidFill>
              </a:rPr>
              <a:t>ташкилотлари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ўз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хоҳишига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кўра</a:t>
            </a:r>
            <a:r>
              <a:rPr lang="ru-RU" sz="1600" b="1" dirty="0">
                <a:solidFill>
                  <a:srgbClr val="3A07DF"/>
                </a:solidFill>
              </a:rPr>
              <a:t> коррупцияга қарши курашиш </a:t>
            </a:r>
            <a:r>
              <a:rPr lang="ru-RU" sz="1600" b="1" dirty="0" err="1">
                <a:solidFill>
                  <a:srgbClr val="3A07DF"/>
                </a:solidFill>
              </a:rPr>
              <a:t>учун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масъул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шахсларнинг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махсус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маълумотига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оид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талабларни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белгилайдилар</a:t>
            </a:r>
            <a:r>
              <a:rPr lang="ru-RU" sz="1600" b="1" dirty="0">
                <a:solidFill>
                  <a:srgbClr val="3A07DF"/>
                </a:solidFill>
              </a:rPr>
              <a:t>.</a:t>
            </a: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79FA77F4-604D-4CAA-96E1-46575AB00AF4}"/>
              </a:ext>
            </a:extLst>
          </p:cNvPr>
          <p:cNvSpPr/>
          <p:nvPr/>
        </p:nvSpPr>
        <p:spPr>
          <a:xfrm>
            <a:off x="443225" y="18562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1" name="Group 978">
            <a:extLst>
              <a:ext uri="{FF2B5EF4-FFF2-40B4-BE49-F238E27FC236}">
                <a16:creationId xmlns:a16="http://schemas.microsoft.com/office/drawing/2014/main" id="{8A73F894-9633-4A2F-B8B8-88AE8BBD97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1915422"/>
            <a:ext cx="527050" cy="584486"/>
            <a:chOff x="1683" y="2579"/>
            <a:chExt cx="156" cy="173"/>
          </a:xfrm>
          <a:solidFill>
            <a:schemeClr val="bg2">
              <a:lumMod val="25000"/>
            </a:schemeClr>
          </a:solidFill>
        </p:grpSpPr>
        <p:sp>
          <p:nvSpPr>
            <p:cNvPr id="42" name="Freeform 979">
              <a:extLst>
                <a:ext uri="{FF2B5EF4-FFF2-40B4-BE49-F238E27FC236}">
                  <a16:creationId xmlns:a16="http://schemas.microsoft.com/office/drawing/2014/main" id="{878E9DC8-C5D6-45B6-A91E-AC1FB9AB8D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3" y="2579"/>
              <a:ext cx="99" cy="160"/>
            </a:xfrm>
            <a:custGeom>
              <a:avLst/>
              <a:gdLst>
                <a:gd name="T0" fmla="*/ 2842 w 3666"/>
                <a:gd name="T1" fmla="*/ 2815 h 5920"/>
                <a:gd name="T2" fmla="*/ 3036 w 3666"/>
                <a:gd name="T3" fmla="*/ 2054 h 5920"/>
                <a:gd name="T4" fmla="*/ 3330 w 3666"/>
                <a:gd name="T5" fmla="*/ 1764 h 5920"/>
                <a:gd name="T6" fmla="*/ 3037 w 3666"/>
                <a:gd name="T7" fmla="*/ 367 h 5920"/>
                <a:gd name="T8" fmla="*/ 840 w 3666"/>
                <a:gd name="T9" fmla="*/ 855 h 5920"/>
                <a:gd name="T10" fmla="*/ 748 w 3666"/>
                <a:gd name="T11" fmla="*/ 1764 h 5920"/>
                <a:gd name="T12" fmla="*/ 1042 w 3666"/>
                <a:gd name="T13" fmla="*/ 2054 h 5920"/>
                <a:gd name="T14" fmla="*/ 1236 w 3666"/>
                <a:gd name="T15" fmla="*/ 2815 h 5920"/>
                <a:gd name="T16" fmla="*/ 11 w 3666"/>
                <a:gd name="T17" fmla="*/ 3925 h 5920"/>
                <a:gd name="T18" fmla="*/ 185 w 3666"/>
                <a:gd name="T19" fmla="*/ 5920 h 5920"/>
                <a:gd name="T20" fmla="*/ 217 w 3666"/>
                <a:gd name="T21" fmla="*/ 3771 h 5920"/>
                <a:gd name="T22" fmla="*/ 655 w 3666"/>
                <a:gd name="T23" fmla="*/ 5826 h 5920"/>
                <a:gd name="T24" fmla="*/ 843 w 3666"/>
                <a:gd name="T25" fmla="*/ 4400 h 5920"/>
                <a:gd name="T26" fmla="*/ 492 w 3666"/>
                <a:gd name="T27" fmla="*/ 3471 h 5920"/>
                <a:gd name="T28" fmla="*/ 1580 w 3666"/>
                <a:gd name="T29" fmla="*/ 3974 h 5920"/>
                <a:gd name="T30" fmla="*/ 1669 w 3666"/>
                <a:gd name="T31" fmla="*/ 5822 h 5920"/>
                <a:gd name="T32" fmla="*/ 1856 w 3666"/>
                <a:gd name="T33" fmla="*/ 5830 h 5920"/>
                <a:gd name="T34" fmla="*/ 2222 w 3666"/>
                <a:gd name="T35" fmla="*/ 5830 h 5920"/>
                <a:gd name="T36" fmla="*/ 2409 w 3666"/>
                <a:gd name="T37" fmla="*/ 5822 h 5920"/>
                <a:gd name="T38" fmla="*/ 2498 w 3666"/>
                <a:gd name="T39" fmla="*/ 3974 h 5920"/>
                <a:gd name="T40" fmla="*/ 3526 w 3666"/>
                <a:gd name="T41" fmla="*/ 3448 h 5920"/>
                <a:gd name="T42" fmla="*/ 3594 w 3666"/>
                <a:gd name="T43" fmla="*/ 3273 h 5920"/>
                <a:gd name="T44" fmla="*/ 1007 w 3666"/>
                <a:gd name="T45" fmla="*/ 1864 h 5920"/>
                <a:gd name="T46" fmla="*/ 1008 w 3666"/>
                <a:gd name="T47" fmla="*/ 1595 h 5920"/>
                <a:gd name="T48" fmla="*/ 1280 w 3666"/>
                <a:gd name="T49" fmla="*/ 1657 h 5920"/>
                <a:gd name="T50" fmla="*/ 1313 w 3666"/>
                <a:gd name="T51" fmla="*/ 1354 h 5920"/>
                <a:gd name="T52" fmla="*/ 1027 w 3666"/>
                <a:gd name="T53" fmla="*/ 855 h 5920"/>
                <a:gd name="T54" fmla="*/ 1382 w 3666"/>
                <a:gd name="T55" fmla="*/ 462 h 5920"/>
                <a:gd name="T56" fmla="*/ 3066 w 3666"/>
                <a:gd name="T57" fmla="*/ 1406 h 5920"/>
                <a:gd name="T58" fmla="*/ 2771 w 3666"/>
                <a:gd name="T59" fmla="*/ 1132 h 5920"/>
                <a:gd name="T60" fmla="*/ 1321 w 3666"/>
                <a:gd name="T61" fmla="*/ 1006 h 5920"/>
                <a:gd name="T62" fmla="*/ 2993 w 3666"/>
                <a:gd name="T63" fmla="*/ 1600 h 5920"/>
                <a:gd name="T64" fmla="*/ 3143 w 3666"/>
                <a:gd name="T65" fmla="*/ 1764 h 5920"/>
                <a:gd name="T66" fmla="*/ 2852 w 3666"/>
                <a:gd name="T67" fmla="*/ 2018 h 5920"/>
                <a:gd name="T68" fmla="*/ 1671 w 3666"/>
                <a:gd name="T69" fmla="*/ 3762 h 5920"/>
                <a:gd name="T70" fmla="*/ 1146 w 3666"/>
                <a:gd name="T71" fmla="*/ 3170 h 5920"/>
                <a:gd name="T72" fmla="*/ 1671 w 3666"/>
                <a:gd name="T73" fmla="*/ 3762 h 5920"/>
                <a:gd name="T74" fmla="*/ 2039 w 3666"/>
                <a:gd name="T75" fmla="*/ 3659 h 5920"/>
                <a:gd name="T76" fmla="*/ 1941 w 3666"/>
                <a:gd name="T77" fmla="*/ 3893 h 5920"/>
                <a:gd name="T78" fmla="*/ 1488 w 3666"/>
                <a:gd name="T79" fmla="*/ 2720 h 5920"/>
                <a:gd name="T80" fmla="*/ 2590 w 3666"/>
                <a:gd name="T81" fmla="*/ 2919 h 5920"/>
                <a:gd name="T82" fmla="*/ 2480 w 3666"/>
                <a:gd name="T83" fmla="*/ 3788 h 5920"/>
                <a:gd name="T84" fmla="*/ 2772 w 3666"/>
                <a:gd name="T85" fmla="*/ 3010 h 5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66" h="5920">
                  <a:moveTo>
                    <a:pt x="3594" y="3273"/>
                  </a:moveTo>
                  <a:lnTo>
                    <a:pt x="3116" y="3089"/>
                  </a:lnTo>
                  <a:lnTo>
                    <a:pt x="2842" y="2815"/>
                  </a:lnTo>
                  <a:cubicBezTo>
                    <a:pt x="2824" y="2797"/>
                    <a:pt x="2801" y="2788"/>
                    <a:pt x="2777" y="2788"/>
                  </a:cubicBezTo>
                  <a:lnTo>
                    <a:pt x="2777" y="2564"/>
                  </a:lnTo>
                  <a:cubicBezTo>
                    <a:pt x="2907" y="2426"/>
                    <a:pt x="2999" y="2251"/>
                    <a:pt x="3036" y="2054"/>
                  </a:cubicBezTo>
                  <a:cubicBezTo>
                    <a:pt x="3036" y="2053"/>
                    <a:pt x="3036" y="2053"/>
                    <a:pt x="3036" y="2053"/>
                  </a:cubicBezTo>
                  <a:cubicBezTo>
                    <a:pt x="3060" y="2055"/>
                    <a:pt x="3084" y="2053"/>
                    <a:pt x="3108" y="2048"/>
                  </a:cubicBezTo>
                  <a:cubicBezTo>
                    <a:pt x="3237" y="2022"/>
                    <a:pt x="3330" y="1902"/>
                    <a:pt x="3330" y="1764"/>
                  </a:cubicBezTo>
                  <a:lnTo>
                    <a:pt x="3330" y="1692"/>
                  </a:lnTo>
                  <a:cubicBezTo>
                    <a:pt x="3330" y="1611"/>
                    <a:pt x="3297" y="1536"/>
                    <a:pt x="3243" y="1484"/>
                  </a:cubicBezTo>
                  <a:cubicBezTo>
                    <a:pt x="3331" y="1010"/>
                    <a:pt x="3260" y="625"/>
                    <a:pt x="3037" y="367"/>
                  </a:cubicBezTo>
                  <a:cubicBezTo>
                    <a:pt x="2822" y="119"/>
                    <a:pt x="2475" y="0"/>
                    <a:pt x="2034" y="24"/>
                  </a:cubicBezTo>
                  <a:cubicBezTo>
                    <a:pt x="1623" y="46"/>
                    <a:pt x="1359" y="236"/>
                    <a:pt x="1278" y="303"/>
                  </a:cubicBezTo>
                  <a:cubicBezTo>
                    <a:pt x="1165" y="318"/>
                    <a:pt x="840" y="400"/>
                    <a:pt x="840" y="855"/>
                  </a:cubicBezTo>
                  <a:cubicBezTo>
                    <a:pt x="840" y="1106"/>
                    <a:pt x="881" y="1315"/>
                    <a:pt x="909" y="1431"/>
                  </a:cubicBezTo>
                  <a:cubicBezTo>
                    <a:pt x="813" y="1476"/>
                    <a:pt x="748" y="1577"/>
                    <a:pt x="748" y="1693"/>
                  </a:cubicBezTo>
                  <a:lnTo>
                    <a:pt x="748" y="1764"/>
                  </a:lnTo>
                  <a:cubicBezTo>
                    <a:pt x="748" y="1902"/>
                    <a:pt x="841" y="2022"/>
                    <a:pt x="970" y="2048"/>
                  </a:cubicBezTo>
                  <a:cubicBezTo>
                    <a:pt x="994" y="2053"/>
                    <a:pt x="1018" y="2055"/>
                    <a:pt x="1042" y="2053"/>
                  </a:cubicBezTo>
                  <a:cubicBezTo>
                    <a:pt x="1042" y="2053"/>
                    <a:pt x="1042" y="2053"/>
                    <a:pt x="1042" y="2054"/>
                  </a:cubicBezTo>
                  <a:cubicBezTo>
                    <a:pt x="1078" y="2251"/>
                    <a:pt x="1171" y="2426"/>
                    <a:pt x="1300" y="2564"/>
                  </a:cubicBezTo>
                  <a:lnTo>
                    <a:pt x="1300" y="2788"/>
                  </a:lnTo>
                  <a:cubicBezTo>
                    <a:pt x="1277" y="2788"/>
                    <a:pt x="1253" y="2797"/>
                    <a:pt x="1236" y="2815"/>
                  </a:cubicBezTo>
                  <a:lnTo>
                    <a:pt x="962" y="3089"/>
                  </a:lnTo>
                  <a:lnTo>
                    <a:pt x="424" y="3296"/>
                  </a:lnTo>
                  <a:cubicBezTo>
                    <a:pt x="166" y="3396"/>
                    <a:pt x="0" y="3649"/>
                    <a:pt x="11" y="3925"/>
                  </a:cubicBezTo>
                  <a:lnTo>
                    <a:pt x="87" y="5830"/>
                  </a:lnTo>
                  <a:cubicBezTo>
                    <a:pt x="89" y="5880"/>
                    <a:pt x="131" y="5920"/>
                    <a:pt x="181" y="5920"/>
                  </a:cubicBezTo>
                  <a:cubicBezTo>
                    <a:pt x="182" y="5920"/>
                    <a:pt x="184" y="5920"/>
                    <a:pt x="185" y="5920"/>
                  </a:cubicBezTo>
                  <a:cubicBezTo>
                    <a:pt x="237" y="5918"/>
                    <a:pt x="277" y="5874"/>
                    <a:pt x="275" y="5822"/>
                  </a:cubicBezTo>
                  <a:lnTo>
                    <a:pt x="198" y="3918"/>
                  </a:lnTo>
                  <a:cubicBezTo>
                    <a:pt x="196" y="3867"/>
                    <a:pt x="203" y="3818"/>
                    <a:pt x="217" y="3771"/>
                  </a:cubicBezTo>
                  <a:lnTo>
                    <a:pt x="521" y="4075"/>
                  </a:lnTo>
                  <a:cubicBezTo>
                    <a:pt x="608" y="4162"/>
                    <a:pt x="655" y="4277"/>
                    <a:pt x="655" y="4400"/>
                  </a:cubicBezTo>
                  <a:lnTo>
                    <a:pt x="655" y="5826"/>
                  </a:lnTo>
                  <a:cubicBezTo>
                    <a:pt x="655" y="5878"/>
                    <a:pt x="697" y="5920"/>
                    <a:pt x="749" y="5920"/>
                  </a:cubicBezTo>
                  <a:cubicBezTo>
                    <a:pt x="801" y="5920"/>
                    <a:pt x="843" y="5878"/>
                    <a:pt x="843" y="5826"/>
                  </a:cubicBezTo>
                  <a:lnTo>
                    <a:pt x="843" y="4400"/>
                  </a:lnTo>
                  <a:cubicBezTo>
                    <a:pt x="843" y="4227"/>
                    <a:pt x="776" y="4065"/>
                    <a:pt x="654" y="3943"/>
                  </a:cubicBezTo>
                  <a:lnTo>
                    <a:pt x="310" y="3599"/>
                  </a:lnTo>
                  <a:cubicBezTo>
                    <a:pt x="358" y="3543"/>
                    <a:pt x="420" y="3499"/>
                    <a:pt x="492" y="3471"/>
                  </a:cubicBezTo>
                  <a:lnTo>
                    <a:pt x="993" y="3278"/>
                  </a:lnTo>
                  <a:lnTo>
                    <a:pt x="1376" y="3852"/>
                  </a:lnTo>
                  <a:cubicBezTo>
                    <a:pt x="1422" y="3921"/>
                    <a:pt x="1496" y="3966"/>
                    <a:pt x="1580" y="3974"/>
                  </a:cubicBezTo>
                  <a:cubicBezTo>
                    <a:pt x="1589" y="3975"/>
                    <a:pt x="1598" y="3976"/>
                    <a:pt x="1607" y="3976"/>
                  </a:cubicBezTo>
                  <a:cubicBezTo>
                    <a:pt x="1658" y="3976"/>
                    <a:pt x="1708" y="3961"/>
                    <a:pt x="1751" y="3935"/>
                  </a:cubicBezTo>
                  <a:lnTo>
                    <a:pt x="1669" y="5822"/>
                  </a:lnTo>
                  <a:cubicBezTo>
                    <a:pt x="1667" y="5874"/>
                    <a:pt x="1707" y="5918"/>
                    <a:pt x="1758" y="5920"/>
                  </a:cubicBezTo>
                  <a:cubicBezTo>
                    <a:pt x="1760" y="5920"/>
                    <a:pt x="1761" y="5920"/>
                    <a:pt x="1763" y="5920"/>
                  </a:cubicBezTo>
                  <a:cubicBezTo>
                    <a:pt x="1813" y="5920"/>
                    <a:pt x="1854" y="5881"/>
                    <a:pt x="1856" y="5830"/>
                  </a:cubicBezTo>
                  <a:lnTo>
                    <a:pt x="1932" y="4080"/>
                  </a:lnTo>
                  <a:lnTo>
                    <a:pt x="2145" y="4080"/>
                  </a:lnTo>
                  <a:lnTo>
                    <a:pt x="2222" y="5830"/>
                  </a:lnTo>
                  <a:cubicBezTo>
                    <a:pt x="2224" y="5881"/>
                    <a:pt x="2265" y="5920"/>
                    <a:pt x="2315" y="5920"/>
                  </a:cubicBezTo>
                  <a:cubicBezTo>
                    <a:pt x="2317" y="5920"/>
                    <a:pt x="2318" y="5920"/>
                    <a:pt x="2319" y="5920"/>
                  </a:cubicBezTo>
                  <a:cubicBezTo>
                    <a:pt x="2371" y="5918"/>
                    <a:pt x="2411" y="5874"/>
                    <a:pt x="2409" y="5822"/>
                  </a:cubicBezTo>
                  <a:lnTo>
                    <a:pt x="2327" y="3935"/>
                  </a:lnTo>
                  <a:cubicBezTo>
                    <a:pt x="2370" y="3961"/>
                    <a:pt x="2419" y="3975"/>
                    <a:pt x="2471" y="3975"/>
                  </a:cubicBezTo>
                  <a:cubicBezTo>
                    <a:pt x="2480" y="3975"/>
                    <a:pt x="2489" y="3975"/>
                    <a:pt x="2498" y="3974"/>
                  </a:cubicBezTo>
                  <a:cubicBezTo>
                    <a:pt x="2581" y="3966"/>
                    <a:pt x="2656" y="3921"/>
                    <a:pt x="2702" y="3852"/>
                  </a:cubicBezTo>
                  <a:lnTo>
                    <a:pt x="3085" y="3278"/>
                  </a:lnTo>
                  <a:lnTo>
                    <a:pt x="3526" y="3448"/>
                  </a:lnTo>
                  <a:cubicBezTo>
                    <a:pt x="3537" y="3452"/>
                    <a:pt x="3549" y="3454"/>
                    <a:pt x="3560" y="3454"/>
                  </a:cubicBezTo>
                  <a:cubicBezTo>
                    <a:pt x="3598" y="3454"/>
                    <a:pt x="3633" y="3432"/>
                    <a:pt x="3647" y="3394"/>
                  </a:cubicBezTo>
                  <a:cubicBezTo>
                    <a:pt x="3666" y="3346"/>
                    <a:pt x="3642" y="3292"/>
                    <a:pt x="3594" y="3273"/>
                  </a:cubicBezTo>
                  <a:close/>
                  <a:moveTo>
                    <a:pt x="1226" y="2018"/>
                  </a:moveTo>
                  <a:cubicBezTo>
                    <a:pt x="1209" y="1926"/>
                    <a:pt x="1124" y="1859"/>
                    <a:pt x="1032" y="1866"/>
                  </a:cubicBezTo>
                  <a:cubicBezTo>
                    <a:pt x="1024" y="1867"/>
                    <a:pt x="1016" y="1866"/>
                    <a:pt x="1007" y="1864"/>
                  </a:cubicBezTo>
                  <a:cubicBezTo>
                    <a:pt x="966" y="1856"/>
                    <a:pt x="935" y="1813"/>
                    <a:pt x="935" y="1764"/>
                  </a:cubicBezTo>
                  <a:lnTo>
                    <a:pt x="935" y="1693"/>
                  </a:lnTo>
                  <a:cubicBezTo>
                    <a:pt x="935" y="1645"/>
                    <a:pt x="967" y="1602"/>
                    <a:pt x="1008" y="1595"/>
                  </a:cubicBezTo>
                  <a:cubicBezTo>
                    <a:pt x="1043" y="1589"/>
                    <a:pt x="1076" y="1601"/>
                    <a:pt x="1097" y="1629"/>
                  </a:cubicBezTo>
                  <a:cubicBezTo>
                    <a:pt x="1115" y="1652"/>
                    <a:pt x="1138" y="1668"/>
                    <a:pt x="1165" y="1676"/>
                  </a:cubicBezTo>
                  <a:cubicBezTo>
                    <a:pt x="1204" y="1688"/>
                    <a:pt x="1247" y="1681"/>
                    <a:pt x="1280" y="1657"/>
                  </a:cubicBezTo>
                  <a:cubicBezTo>
                    <a:pt x="1356" y="1604"/>
                    <a:pt x="1420" y="1535"/>
                    <a:pt x="1471" y="1455"/>
                  </a:cubicBezTo>
                  <a:cubicBezTo>
                    <a:pt x="1499" y="1411"/>
                    <a:pt x="1486" y="1353"/>
                    <a:pt x="1442" y="1325"/>
                  </a:cubicBezTo>
                  <a:cubicBezTo>
                    <a:pt x="1399" y="1298"/>
                    <a:pt x="1341" y="1311"/>
                    <a:pt x="1313" y="1354"/>
                  </a:cubicBezTo>
                  <a:cubicBezTo>
                    <a:pt x="1284" y="1400"/>
                    <a:pt x="1249" y="1441"/>
                    <a:pt x="1209" y="1475"/>
                  </a:cubicBezTo>
                  <a:cubicBezTo>
                    <a:pt x="1177" y="1447"/>
                    <a:pt x="1139" y="1427"/>
                    <a:pt x="1099" y="1416"/>
                  </a:cubicBezTo>
                  <a:cubicBezTo>
                    <a:pt x="1074" y="1321"/>
                    <a:pt x="1027" y="1111"/>
                    <a:pt x="1027" y="855"/>
                  </a:cubicBezTo>
                  <a:cubicBezTo>
                    <a:pt x="1027" y="702"/>
                    <a:pt x="1074" y="594"/>
                    <a:pt x="1168" y="535"/>
                  </a:cubicBezTo>
                  <a:cubicBezTo>
                    <a:pt x="1241" y="489"/>
                    <a:pt x="1317" y="488"/>
                    <a:pt x="1317" y="488"/>
                  </a:cubicBezTo>
                  <a:cubicBezTo>
                    <a:pt x="1341" y="488"/>
                    <a:pt x="1365" y="478"/>
                    <a:pt x="1382" y="462"/>
                  </a:cubicBezTo>
                  <a:cubicBezTo>
                    <a:pt x="1384" y="460"/>
                    <a:pt x="1627" y="234"/>
                    <a:pt x="2044" y="211"/>
                  </a:cubicBezTo>
                  <a:cubicBezTo>
                    <a:pt x="2425" y="191"/>
                    <a:pt x="2719" y="287"/>
                    <a:pt x="2895" y="490"/>
                  </a:cubicBezTo>
                  <a:cubicBezTo>
                    <a:pt x="3073" y="695"/>
                    <a:pt x="3132" y="1011"/>
                    <a:pt x="3066" y="1406"/>
                  </a:cubicBezTo>
                  <a:cubicBezTo>
                    <a:pt x="3038" y="1405"/>
                    <a:pt x="3007" y="1407"/>
                    <a:pt x="2976" y="1413"/>
                  </a:cubicBezTo>
                  <a:lnTo>
                    <a:pt x="2882" y="1187"/>
                  </a:lnTo>
                  <a:cubicBezTo>
                    <a:pt x="2864" y="1144"/>
                    <a:pt x="2816" y="1120"/>
                    <a:pt x="2771" y="1132"/>
                  </a:cubicBezTo>
                  <a:cubicBezTo>
                    <a:pt x="2762" y="1135"/>
                    <a:pt x="1851" y="1367"/>
                    <a:pt x="1467" y="889"/>
                  </a:cubicBezTo>
                  <a:cubicBezTo>
                    <a:pt x="1434" y="849"/>
                    <a:pt x="1375" y="842"/>
                    <a:pt x="1335" y="875"/>
                  </a:cubicBezTo>
                  <a:cubicBezTo>
                    <a:pt x="1295" y="907"/>
                    <a:pt x="1288" y="966"/>
                    <a:pt x="1321" y="1006"/>
                  </a:cubicBezTo>
                  <a:cubicBezTo>
                    <a:pt x="1710" y="1492"/>
                    <a:pt x="2486" y="1383"/>
                    <a:pt x="2739" y="1332"/>
                  </a:cubicBezTo>
                  <a:lnTo>
                    <a:pt x="2812" y="1507"/>
                  </a:lnTo>
                  <a:cubicBezTo>
                    <a:pt x="2842" y="1579"/>
                    <a:pt x="2918" y="1618"/>
                    <a:pt x="2993" y="1600"/>
                  </a:cubicBezTo>
                  <a:cubicBezTo>
                    <a:pt x="3023" y="1593"/>
                    <a:pt x="3055" y="1592"/>
                    <a:pt x="3069" y="1595"/>
                  </a:cubicBezTo>
                  <a:cubicBezTo>
                    <a:pt x="3111" y="1603"/>
                    <a:pt x="3143" y="1645"/>
                    <a:pt x="3143" y="1692"/>
                  </a:cubicBezTo>
                  <a:lnTo>
                    <a:pt x="3143" y="1764"/>
                  </a:lnTo>
                  <a:cubicBezTo>
                    <a:pt x="3143" y="1813"/>
                    <a:pt x="3112" y="1856"/>
                    <a:pt x="3070" y="1864"/>
                  </a:cubicBezTo>
                  <a:cubicBezTo>
                    <a:pt x="3062" y="1866"/>
                    <a:pt x="3054" y="1867"/>
                    <a:pt x="3046" y="1866"/>
                  </a:cubicBezTo>
                  <a:cubicBezTo>
                    <a:pt x="2954" y="1859"/>
                    <a:pt x="2869" y="1926"/>
                    <a:pt x="2852" y="2018"/>
                  </a:cubicBezTo>
                  <a:cubicBezTo>
                    <a:pt x="2780" y="2411"/>
                    <a:pt x="2438" y="2695"/>
                    <a:pt x="2039" y="2695"/>
                  </a:cubicBezTo>
                  <a:cubicBezTo>
                    <a:pt x="1640" y="2695"/>
                    <a:pt x="1298" y="2411"/>
                    <a:pt x="1226" y="2018"/>
                  </a:cubicBezTo>
                  <a:close/>
                  <a:moveTo>
                    <a:pt x="1671" y="3762"/>
                  </a:moveTo>
                  <a:cubicBezTo>
                    <a:pt x="1652" y="3781"/>
                    <a:pt x="1625" y="3790"/>
                    <a:pt x="1598" y="3788"/>
                  </a:cubicBezTo>
                  <a:cubicBezTo>
                    <a:pt x="1571" y="3785"/>
                    <a:pt x="1547" y="3770"/>
                    <a:pt x="1532" y="3748"/>
                  </a:cubicBezTo>
                  <a:lnTo>
                    <a:pt x="1146" y="3170"/>
                  </a:lnTo>
                  <a:lnTo>
                    <a:pt x="1306" y="3010"/>
                  </a:lnTo>
                  <a:lnTo>
                    <a:pt x="1902" y="3531"/>
                  </a:lnTo>
                  <a:lnTo>
                    <a:pt x="1671" y="3762"/>
                  </a:lnTo>
                  <a:close/>
                  <a:moveTo>
                    <a:pt x="1941" y="3893"/>
                  </a:moveTo>
                  <a:lnTo>
                    <a:pt x="1947" y="3751"/>
                  </a:lnTo>
                  <a:lnTo>
                    <a:pt x="2039" y="3659"/>
                  </a:lnTo>
                  <a:lnTo>
                    <a:pt x="2131" y="3751"/>
                  </a:lnTo>
                  <a:lnTo>
                    <a:pt x="2137" y="3893"/>
                  </a:lnTo>
                  <a:lnTo>
                    <a:pt x="1941" y="3893"/>
                  </a:lnTo>
                  <a:close/>
                  <a:moveTo>
                    <a:pt x="2039" y="3402"/>
                  </a:moveTo>
                  <a:lnTo>
                    <a:pt x="1488" y="2919"/>
                  </a:lnTo>
                  <a:lnTo>
                    <a:pt x="1488" y="2720"/>
                  </a:lnTo>
                  <a:cubicBezTo>
                    <a:pt x="1647" y="2823"/>
                    <a:pt x="1837" y="2883"/>
                    <a:pt x="2039" y="2883"/>
                  </a:cubicBezTo>
                  <a:cubicBezTo>
                    <a:pt x="2241" y="2883"/>
                    <a:pt x="2430" y="2823"/>
                    <a:pt x="2590" y="2720"/>
                  </a:cubicBezTo>
                  <a:lnTo>
                    <a:pt x="2590" y="2919"/>
                  </a:lnTo>
                  <a:lnTo>
                    <a:pt x="2039" y="3402"/>
                  </a:lnTo>
                  <a:close/>
                  <a:moveTo>
                    <a:pt x="2546" y="3748"/>
                  </a:moveTo>
                  <a:cubicBezTo>
                    <a:pt x="2531" y="3770"/>
                    <a:pt x="2507" y="3785"/>
                    <a:pt x="2480" y="3788"/>
                  </a:cubicBezTo>
                  <a:cubicBezTo>
                    <a:pt x="2464" y="3789"/>
                    <a:pt x="2433" y="3788"/>
                    <a:pt x="2407" y="3762"/>
                  </a:cubicBezTo>
                  <a:lnTo>
                    <a:pt x="2176" y="3531"/>
                  </a:lnTo>
                  <a:lnTo>
                    <a:pt x="2772" y="3010"/>
                  </a:lnTo>
                  <a:lnTo>
                    <a:pt x="2932" y="3170"/>
                  </a:lnTo>
                  <a:lnTo>
                    <a:pt x="2546" y="374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980">
              <a:extLst>
                <a:ext uri="{FF2B5EF4-FFF2-40B4-BE49-F238E27FC236}">
                  <a16:creationId xmlns:a16="http://schemas.microsoft.com/office/drawing/2014/main" id="{55351244-AD41-448F-998D-54C0CBED0F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3" y="2674"/>
              <a:ext cx="86" cy="78"/>
            </a:xfrm>
            <a:custGeom>
              <a:avLst/>
              <a:gdLst>
                <a:gd name="T0" fmla="*/ 2799 w 3193"/>
                <a:gd name="T1" fmla="*/ 501 h 2893"/>
                <a:gd name="T2" fmla="*/ 2191 w 3193"/>
                <a:gd name="T3" fmla="*/ 294 h 2893"/>
                <a:gd name="T4" fmla="*/ 1296 w 3193"/>
                <a:gd name="T5" fmla="*/ 0 h 2893"/>
                <a:gd name="T6" fmla="*/ 1002 w 3193"/>
                <a:gd name="T7" fmla="*/ 501 h 2893"/>
                <a:gd name="T8" fmla="*/ 0 w 3193"/>
                <a:gd name="T9" fmla="*/ 895 h 2893"/>
                <a:gd name="T10" fmla="*/ 100 w 3193"/>
                <a:gd name="T11" fmla="*/ 1466 h 2893"/>
                <a:gd name="T12" fmla="*/ 484 w 3193"/>
                <a:gd name="T13" fmla="*/ 2893 h 2893"/>
                <a:gd name="T14" fmla="*/ 3093 w 3193"/>
                <a:gd name="T15" fmla="*/ 2509 h 2893"/>
                <a:gd name="T16" fmla="*/ 3193 w 3193"/>
                <a:gd name="T17" fmla="*/ 1174 h 2893"/>
                <a:gd name="T18" fmla="*/ 1189 w 3193"/>
                <a:gd name="T19" fmla="*/ 294 h 2893"/>
                <a:gd name="T20" fmla="*/ 1296 w 3193"/>
                <a:gd name="T21" fmla="*/ 188 h 2893"/>
                <a:gd name="T22" fmla="*/ 2004 w 3193"/>
                <a:gd name="T23" fmla="*/ 294 h 2893"/>
                <a:gd name="T24" fmla="*/ 1189 w 3193"/>
                <a:gd name="T25" fmla="*/ 501 h 2893"/>
                <a:gd name="T26" fmla="*/ 3006 w 3193"/>
                <a:gd name="T27" fmla="*/ 1174 h 2893"/>
                <a:gd name="T28" fmla="*/ 2592 w 3193"/>
                <a:gd name="T29" fmla="*/ 1597 h 2893"/>
                <a:gd name="T30" fmla="*/ 2098 w 3193"/>
                <a:gd name="T31" fmla="*/ 1503 h 2893"/>
                <a:gd name="T32" fmla="*/ 2004 w 3193"/>
                <a:gd name="T33" fmla="*/ 1897 h 2893"/>
                <a:gd name="T34" fmla="*/ 2592 w 3193"/>
                <a:gd name="T35" fmla="*/ 1897 h 2893"/>
                <a:gd name="T36" fmla="*/ 2906 w 3193"/>
                <a:gd name="T37" fmla="*/ 1649 h 2893"/>
                <a:gd name="T38" fmla="*/ 2709 w 3193"/>
                <a:gd name="T39" fmla="*/ 2705 h 2893"/>
                <a:gd name="T40" fmla="*/ 288 w 3193"/>
                <a:gd name="T41" fmla="*/ 2509 h 2893"/>
                <a:gd name="T42" fmla="*/ 601 w 3193"/>
                <a:gd name="T43" fmla="*/ 1817 h 2893"/>
                <a:gd name="T44" fmla="*/ 895 w 3193"/>
                <a:gd name="T45" fmla="*/ 2192 h 2893"/>
                <a:gd name="T46" fmla="*/ 1597 w 3193"/>
                <a:gd name="T47" fmla="*/ 1991 h 2893"/>
                <a:gd name="T48" fmla="*/ 1791 w 3193"/>
                <a:gd name="T49" fmla="*/ 1893 h 2893"/>
                <a:gd name="T50" fmla="*/ 1597 w 3193"/>
                <a:gd name="T51" fmla="*/ 1804 h 2893"/>
                <a:gd name="T52" fmla="*/ 1189 w 3193"/>
                <a:gd name="T53" fmla="*/ 1597 h 2893"/>
                <a:gd name="T54" fmla="*/ 695 w 3193"/>
                <a:gd name="T55" fmla="*/ 1503 h 2893"/>
                <a:gd name="T56" fmla="*/ 601 w 3193"/>
                <a:gd name="T57" fmla="*/ 1613 h 2893"/>
                <a:gd name="T58" fmla="*/ 187 w 3193"/>
                <a:gd name="T59" fmla="*/ 895 h 2893"/>
                <a:gd name="T60" fmla="*/ 2799 w 3193"/>
                <a:gd name="T61" fmla="*/ 689 h 2893"/>
                <a:gd name="T62" fmla="*/ 3006 w 3193"/>
                <a:gd name="T63" fmla="*/ 1174 h 2893"/>
                <a:gd name="T64" fmla="*/ 2405 w 3193"/>
                <a:gd name="T65" fmla="*/ 1897 h 2893"/>
                <a:gd name="T66" fmla="*/ 2191 w 3193"/>
                <a:gd name="T67" fmla="*/ 1897 h 2893"/>
                <a:gd name="T68" fmla="*/ 2405 w 3193"/>
                <a:gd name="T69" fmla="*/ 1691 h 2893"/>
                <a:gd name="T70" fmla="*/ 789 w 3193"/>
                <a:gd name="T71" fmla="*/ 1691 h 2893"/>
                <a:gd name="T72" fmla="*/ 1002 w 3193"/>
                <a:gd name="T73" fmla="*/ 1897 h 2893"/>
                <a:gd name="T74" fmla="*/ 789 w 3193"/>
                <a:gd name="T75" fmla="*/ 1897 h 2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93" h="2893">
                  <a:moveTo>
                    <a:pt x="3193" y="895"/>
                  </a:moveTo>
                  <a:cubicBezTo>
                    <a:pt x="3193" y="678"/>
                    <a:pt x="3016" y="501"/>
                    <a:pt x="2799" y="501"/>
                  </a:cubicBezTo>
                  <a:lnTo>
                    <a:pt x="2191" y="501"/>
                  </a:lnTo>
                  <a:lnTo>
                    <a:pt x="2191" y="294"/>
                  </a:lnTo>
                  <a:cubicBezTo>
                    <a:pt x="2191" y="132"/>
                    <a:pt x="2059" y="0"/>
                    <a:pt x="1897" y="0"/>
                  </a:cubicBezTo>
                  <a:lnTo>
                    <a:pt x="1296" y="0"/>
                  </a:lnTo>
                  <a:cubicBezTo>
                    <a:pt x="1134" y="0"/>
                    <a:pt x="1002" y="132"/>
                    <a:pt x="1002" y="294"/>
                  </a:cubicBezTo>
                  <a:lnTo>
                    <a:pt x="1002" y="501"/>
                  </a:lnTo>
                  <a:lnTo>
                    <a:pt x="394" y="501"/>
                  </a:lnTo>
                  <a:cubicBezTo>
                    <a:pt x="177" y="501"/>
                    <a:pt x="0" y="678"/>
                    <a:pt x="0" y="895"/>
                  </a:cubicBezTo>
                  <a:lnTo>
                    <a:pt x="0" y="1174"/>
                  </a:lnTo>
                  <a:cubicBezTo>
                    <a:pt x="0" y="1276"/>
                    <a:pt x="34" y="1375"/>
                    <a:pt x="100" y="1466"/>
                  </a:cubicBezTo>
                  <a:lnTo>
                    <a:pt x="100" y="2509"/>
                  </a:lnTo>
                  <a:cubicBezTo>
                    <a:pt x="100" y="2721"/>
                    <a:pt x="272" y="2893"/>
                    <a:pt x="484" y="2893"/>
                  </a:cubicBezTo>
                  <a:lnTo>
                    <a:pt x="2709" y="2893"/>
                  </a:lnTo>
                  <a:cubicBezTo>
                    <a:pt x="2921" y="2893"/>
                    <a:pt x="3093" y="2721"/>
                    <a:pt x="3093" y="2509"/>
                  </a:cubicBezTo>
                  <a:lnTo>
                    <a:pt x="3093" y="1466"/>
                  </a:lnTo>
                  <a:cubicBezTo>
                    <a:pt x="3159" y="1375"/>
                    <a:pt x="3193" y="1276"/>
                    <a:pt x="3193" y="1174"/>
                  </a:cubicBezTo>
                  <a:lnTo>
                    <a:pt x="3193" y="895"/>
                  </a:lnTo>
                  <a:close/>
                  <a:moveTo>
                    <a:pt x="1189" y="294"/>
                  </a:moveTo>
                  <a:lnTo>
                    <a:pt x="1189" y="294"/>
                  </a:lnTo>
                  <a:cubicBezTo>
                    <a:pt x="1189" y="235"/>
                    <a:pt x="1237" y="188"/>
                    <a:pt x="1296" y="188"/>
                  </a:cubicBezTo>
                  <a:lnTo>
                    <a:pt x="1897" y="188"/>
                  </a:lnTo>
                  <a:cubicBezTo>
                    <a:pt x="1956" y="188"/>
                    <a:pt x="2004" y="235"/>
                    <a:pt x="2004" y="294"/>
                  </a:cubicBezTo>
                  <a:lnTo>
                    <a:pt x="2004" y="501"/>
                  </a:lnTo>
                  <a:lnTo>
                    <a:pt x="1189" y="501"/>
                  </a:lnTo>
                  <a:lnTo>
                    <a:pt x="1189" y="294"/>
                  </a:lnTo>
                  <a:close/>
                  <a:moveTo>
                    <a:pt x="3006" y="1174"/>
                  </a:moveTo>
                  <a:cubicBezTo>
                    <a:pt x="3006" y="1335"/>
                    <a:pt x="2854" y="1494"/>
                    <a:pt x="2592" y="1613"/>
                  </a:cubicBezTo>
                  <a:lnTo>
                    <a:pt x="2592" y="1597"/>
                  </a:lnTo>
                  <a:cubicBezTo>
                    <a:pt x="2592" y="1545"/>
                    <a:pt x="2550" y="1503"/>
                    <a:pt x="2498" y="1503"/>
                  </a:cubicBezTo>
                  <a:lnTo>
                    <a:pt x="2098" y="1503"/>
                  </a:lnTo>
                  <a:cubicBezTo>
                    <a:pt x="2046" y="1503"/>
                    <a:pt x="2004" y="1545"/>
                    <a:pt x="2004" y="1597"/>
                  </a:cubicBezTo>
                  <a:lnTo>
                    <a:pt x="2004" y="1897"/>
                  </a:lnTo>
                  <a:cubicBezTo>
                    <a:pt x="2004" y="2060"/>
                    <a:pt x="2136" y="2192"/>
                    <a:pt x="2298" y="2192"/>
                  </a:cubicBezTo>
                  <a:cubicBezTo>
                    <a:pt x="2460" y="2192"/>
                    <a:pt x="2592" y="2060"/>
                    <a:pt x="2592" y="1897"/>
                  </a:cubicBezTo>
                  <a:lnTo>
                    <a:pt x="2592" y="1817"/>
                  </a:lnTo>
                  <a:cubicBezTo>
                    <a:pt x="2714" y="1769"/>
                    <a:pt x="2819" y="1712"/>
                    <a:pt x="2906" y="1649"/>
                  </a:cubicBezTo>
                  <a:lnTo>
                    <a:pt x="2906" y="2509"/>
                  </a:lnTo>
                  <a:cubicBezTo>
                    <a:pt x="2906" y="2617"/>
                    <a:pt x="2817" y="2705"/>
                    <a:pt x="2709" y="2705"/>
                  </a:cubicBezTo>
                  <a:lnTo>
                    <a:pt x="484" y="2705"/>
                  </a:lnTo>
                  <a:cubicBezTo>
                    <a:pt x="376" y="2705"/>
                    <a:pt x="288" y="2617"/>
                    <a:pt x="288" y="2509"/>
                  </a:cubicBezTo>
                  <a:lnTo>
                    <a:pt x="288" y="1649"/>
                  </a:lnTo>
                  <a:cubicBezTo>
                    <a:pt x="374" y="1712"/>
                    <a:pt x="479" y="1769"/>
                    <a:pt x="601" y="1817"/>
                  </a:cubicBezTo>
                  <a:lnTo>
                    <a:pt x="601" y="1897"/>
                  </a:lnTo>
                  <a:cubicBezTo>
                    <a:pt x="601" y="2060"/>
                    <a:pt x="733" y="2192"/>
                    <a:pt x="895" y="2192"/>
                  </a:cubicBezTo>
                  <a:cubicBezTo>
                    <a:pt x="1035" y="2192"/>
                    <a:pt x="1151" y="2094"/>
                    <a:pt x="1182" y="1964"/>
                  </a:cubicBezTo>
                  <a:cubicBezTo>
                    <a:pt x="1316" y="1982"/>
                    <a:pt x="1455" y="1991"/>
                    <a:pt x="1597" y="1991"/>
                  </a:cubicBezTo>
                  <a:cubicBezTo>
                    <a:pt x="1631" y="1991"/>
                    <a:pt x="1666" y="1991"/>
                    <a:pt x="1700" y="1990"/>
                  </a:cubicBezTo>
                  <a:cubicBezTo>
                    <a:pt x="1752" y="1988"/>
                    <a:pt x="1792" y="1945"/>
                    <a:pt x="1791" y="1893"/>
                  </a:cubicBezTo>
                  <a:cubicBezTo>
                    <a:pt x="1789" y="1841"/>
                    <a:pt x="1746" y="1800"/>
                    <a:pt x="1694" y="1802"/>
                  </a:cubicBezTo>
                  <a:cubicBezTo>
                    <a:pt x="1662" y="1803"/>
                    <a:pt x="1629" y="1804"/>
                    <a:pt x="1597" y="1804"/>
                  </a:cubicBezTo>
                  <a:cubicBezTo>
                    <a:pt x="1458" y="1804"/>
                    <a:pt x="1321" y="1794"/>
                    <a:pt x="1189" y="1776"/>
                  </a:cubicBezTo>
                  <a:lnTo>
                    <a:pt x="1189" y="1597"/>
                  </a:lnTo>
                  <a:cubicBezTo>
                    <a:pt x="1189" y="1545"/>
                    <a:pt x="1147" y="1503"/>
                    <a:pt x="1096" y="1503"/>
                  </a:cubicBezTo>
                  <a:lnTo>
                    <a:pt x="695" y="1503"/>
                  </a:lnTo>
                  <a:cubicBezTo>
                    <a:pt x="643" y="1503"/>
                    <a:pt x="601" y="1545"/>
                    <a:pt x="601" y="1597"/>
                  </a:cubicBezTo>
                  <a:lnTo>
                    <a:pt x="601" y="1613"/>
                  </a:lnTo>
                  <a:cubicBezTo>
                    <a:pt x="340" y="1494"/>
                    <a:pt x="187" y="1335"/>
                    <a:pt x="187" y="1174"/>
                  </a:cubicBezTo>
                  <a:lnTo>
                    <a:pt x="187" y="895"/>
                  </a:lnTo>
                  <a:cubicBezTo>
                    <a:pt x="187" y="781"/>
                    <a:pt x="280" y="689"/>
                    <a:pt x="394" y="689"/>
                  </a:cubicBezTo>
                  <a:lnTo>
                    <a:pt x="2799" y="689"/>
                  </a:lnTo>
                  <a:cubicBezTo>
                    <a:pt x="2913" y="689"/>
                    <a:pt x="3006" y="781"/>
                    <a:pt x="3006" y="895"/>
                  </a:cubicBezTo>
                  <a:lnTo>
                    <a:pt x="3006" y="1174"/>
                  </a:lnTo>
                  <a:close/>
                  <a:moveTo>
                    <a:pt x="2405" y="1691"/>
                  </a:moveTo>
                  <a:lnTo>
                    <a:pt x="2405" y="1897"/>
                  </a:lnTo>
                  <a:cubicBezTo>
                    <a:pt x="2405" y="1956"/>
                    <a:pt x="2357" y="2004"/>
                    <a:pt x="2298" y="2004"/>
                  </a:cubicBezTo>
                  <a:cubicBezTo>
                    <a:pt x="2239" y="2004"/>
                    <a:pt x="2191" y="1956"/>
                    <a:pt x="2191" y="1897"/>
                  </a:cubicBezTo>
                  <a:lnTo>
                    <a:pt x="2191" y="1691"/>
                  </a:lnTo>
                  <a:lnTo>
                    <a:pt x="2405" y="1691"/>
                  </a:lnTo>
                  <a:close/>
                  <a:moveTo>
                    <a:pt x="789" y="1897"/>
                  </a:moveTo>
                  <a:lnTo>
                    <a:pt x="789" y="1691"/>
                  </a:lnTo>
                  <a:lnTo>
                    <a:pt x="1002" y="1691"/>
                  </a:lnTo>
                  <a:lnTo>
                    <a:pt x="1002" y="1897"/>
                  </a:lnTo>
                  <a:cubicBezTo>
                    <a:pt x="1002" y="1956"/>
                    <a:pt x="954" y="2004"/>
                    <a:pt x="895" y="2004"/>
                  </a:cubicBezTo>
                  <a:cubicBezTo>
                    <a:pt x="836" y="2004"/>
                    <a:pt x="789" y="1956"/>
                    <a:pt x="789" y="189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Group 1333">
            <a:extLst>
              <a:ext uri="{FF2B5EF4-FFF2-40B4-BE49-F238E27FC236}">
                <a16:creationId xmlns:a16="http://schemas.microsoft.com/office/drawing/2014/main" id="{47271D75-1719-44AC-BCEC-E862DEFF46A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84798" y="5453392"/>
            <a:ext cx="850702" cy="748030"/>
            <a:chOff x="4773" y="2198"/>
            <a:chExt cx="174" cy="153"/>
          </a:xfrm>
          <a:solidFill>
            <a:srgbClr val="3A07DF"/>
          </a:solidFill>
        </p:grpSpPr>
        <p:sp>
          <p:nvSpPr>
            <p:cNvPr id="30" name="Freeform 1334">
              <a:extLst>
                <a:ext uri="{FF2B5EF4-FFF2-40B4-BE49-F238E27FC236}">
                  <a16:creationId xmlns:a16="http://schemas.microsoft.com/office/drawing/2014/main" id="{87C68DBF-8899-4927-BBEF-09A0D610F1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" y="2198"/>
              <a:ext cx="174" cy="153"/>
            </a:xfrm>
            <a:custGeom>
              <a:avLst/>
              <a:gdLst>
                <a:gd name="T0" fmla="*/ 6351 w 6448"/>
                <a:gd name="T1" fmla="*/ 4880 h 5684"/>
                <a:gd name="T2" fmla="*/ 3688 w 6448"/>
                <a:gd name="T3" fmla="*/ 268 h 5684"/>
                <a:gd name="T4" fmla="*/ 3224 w 6448"/>
                <a:gd name="T5" fmla="*/ 0 h 5684"/>
                <a:gd name="T6" fmla="*/ 2760 w 6448"/>
                <a:gd name="T7" fmla="*/ 268 h 5684"/>
                <a:gd name="T8" fmla="*/ 97 w 6448"/>
                <a:gd name="T9" fmla="*/ 4880 h 5684"/>
                <a:gd name="T10" fmla="*/ 97 w 6448"/>
                <a:gd name="T11" fmla="*/ 5416 h 5684"/>
                <a:gd name="T12" fmla="*/ 561 w 6448"/>
                <a:gd name="T13" fmla="*/ 5684 h 5684"/>
                <a:gd name="T14" fmla="*/ 5887 w 6448"/>
                <a:gd name="T15" fmla="*/ 5684 h 5684"/>
                <a:gd name="T16" fmla="*/ 6351 w 6448"/>
                <a:gd name="T17" fmla="*/ 5416 h 5684"/>
                <a:gd name="T18" fmla="*/ 6351 w 6448"/>
                <a:gd name="T19" fmla="*/ 4880 h 5684"/>
                <a:gd name="T20" fmla="*/ 6189 w 6448"/>
                <a:gd name="T21" fmla="*/ 5323 h 5684"/>
                <a:gd name="T22" fmla="*/ 5887 w 6448"/>
                <a:gd name="T23" fmla="*/ 5497 h 5684"/>
                <a:gd name="T24" fmla="*/ 561 w 6448"/>
                <a:gd name="T25" fmla="*/ 5497 h 5684"/>
                <a:gd name="T26" fmla="*/ 259 w 6448"/>
                <a:gd name="T27" fmla="*/ 5323 h 5684"/>
                <a:gd name="T28" fmla="*/ 259 w 6448"/>
                <a:gd name="T29" fmla="*/ 4974 h 5684"/>
                <a:gd name="T30" fmla="*/ 2922 w 6448"/>
                <a:gd name="T31" fmla="*/ 361 h 5684"/>
                <a:gd name="T32" fmla="*/ 3224 w 6448"/>
                <a:gd name="T33" fmla="*/ 187 h 5684"/>
                <a:gd name="T34" fmla="*/ 3526 w 6448"/>
                <a:gd name="T35" fmla="*/ 361 h 5684"/>
                <a:gd name="T36" fmla="*/ 6189 w 6448"/>
                <a:gd name="T37" fmla="*/ 4974 h 5684"/>
                <a:gd name="T38" fmla="*/ 6189 w 6448"/>
                <a:gd name="T39" fmla="*/ 4974 h 5684"/>
                <a:gd name="T40" fmla="*/ 6189 w 6448"/>
                <a:gd name="T41" fmla="*/ 5323 h 5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48" h="5684">
                  <a:moveTo>
                    <a:pt x="6351" y="4880"/>
                  </a:moveTo>
                  <a:lnTo>
                    <a:pt x="3688" y="268"/>
                  </a:lnTo>
                  <a:cubicBezTo>
                    <a:pt x="3591" y="100"/>
                    <a:pt x="3418" y="0"/>
                    <a:pt x="3224" y="0"/>
                  </a:cubicBezTo>
                  <a:cubicBezTo>
                    <a:pt x="3030" y="0"/>
                    <a:pt x="2857" y="100"/>
                    <a:pt x="2760" y="268"/>
                  </a:cubicBezTo>
                  <a:lnTo>
                    <a:pt x="97" y="4880"/>
                  </a:lnTo>
                  <a:cubicBezTo>
                    <a:pt x="0" y="5048"/>
                    <a:pt x="0" y="5248"/>
                    <a:pt x="97" y="5416"/>
                  </a:cubicBezTo>
                  <a:cubicBezTo>
                    <a:pt x="194" y="5584"/>
                    <a:pt x="367" y="5684"/>
                    <a:pt x="561" y="5684"/>
                  </a:cubicBezTo>
                  <a:lnTo>
                    <a:pt x="5887" y="5684"/>
                  </a:lnTo>
                  <a:cubicBezTo>
                    <a:pt x="6081" y="5684"/>
                    <a:pt x="6254" y="5584"/>
                    <a:pt x="6351" y="5416"/>
                  </a:cubicBezTo>
                  <a:cubicBezTo>
                    <a:pt x="6448" y="5248"/>
                    <a:pt x="6448" y="5048"/>
                    <a:pt x="6351" y="4880"/>
                  </a:cubicBezTo>
                  <a:close/>
                  <a:moveTo>
                    <a:pt x="6189" y="5323"/>
                  </a:moveTo>
                  <a:cubicBezTo>
                    <a:pt x="6126" y="5432"/>
                    <a:pt x="6013" y="5497"/>
                    <a:pt x="5887" y="5497"/>
                  </a:cubicBezTo>
                  <a:lnTo>
                    <a:pt x="561" y="5497"/>
                  </a:lnTo>
                  <a:cubicBezTo>
                    <a:pt x="435" y="5497"/>
                    <a:pt x="322" y="5432"/>
                    <a:pt x="259" y="5323"/>
                  </a:cubicBezTo>
                  <a:cubicBezTo>
                    <a:pt x="196" y="5213"/>
                    <a:pt x="196" y="5083"/>
                    <a:pt x="259" y="4974"/>
                  </a:cubicBezTo>
                  <a:lnTo>
                    <a:pt x="2922" y="361"/>
                  </a:lnTo>
                  <a:cubicBezTo>
                    <a:pt x="2985" y="252"/>
                    <a:pt x="3098" y="187"/>
                    <a:pt x="3224" y="187"/>
                  </a:cubicBezTo>
                  <a:cubicBezTo>
                    <a:pt x="3350" y="187"/>
                    <a:pt x="3463" y="252"/>
                    <a:pt x="3526" y="361"/>
                  </a:cubicBezTo>
                  <a:lnTo>
                    <a:pt x="6189" y="4974"/>
                  </a:lnTo>
                  <a:lnTo>
                    <a:pt x="6189" y="4974"/>
                  </a:lnTo>
                  <a:cubicBezTo>
                    <a:pt x="6252" y="5083"/>
                    <a:pt x="6252" y="5213"/>
                    <a:pt x="6189" y="53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335">
              <a:extLst>
                <a:ext uri="{FF2B5EF4-FFF2-40B4-BE49-F238E27FC236}">
                  <a16:creationId xmlns:a16="http://schemas.microsoft.com/office/drawing/2014/main" id="{17FEA9CB-1A1D-4DCD-9F34-A7B90AAD5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" y="2236"/>
              <a:ext cx="59" cy="99"/>
            </a:xfrm>
            <a:custGeom>
              <a:avLst/>
              <a:gdLst>
                <a:gd name="T0" fmla="*/ 188 w 2192"/>
                <a:gd name="T1" fmla="*/ 60 h 3643"/>
                <a:gd name="T2" fmla="*/ 60 w 2192"/>
                <a:gd name="T3" fmla="*/ 26 h 3643"/>
                <a:gd name="T4" fmla="*/ 25 w 2192"/>
                <a:gd name="T5" fmla="*/ 154 h 3643"/>
                <a:gd name="T6" fmla="*/ 1932 w 2192"/>
                <a:gd name="T7" fmla="*/ 3456 h 3643"/>
                <a:gd name="T8" fmla="*/ 407 w 2192"/>
                <a:gd name="T9" fmla="*/ 3456 h 3643"/>
                <a:gd name="T10" fmla="*/ 314 w 2192"/>
                <a:gd name="T11" fmla="*/ 3549 h 3643"/>
                <a:gd name="T12" fmla="*/ 407 w 2192"/>
                <a:gd name="T13" fmla="*/ 3643 h 3643"/>
                <a:gd name="T14" fmla="*/ 2094 w 2192"/>
                <a:gd name="T15" fmla="*/ 3643 h 3643"/>
                <a:gd name="T16" fmla="*/ 2175 w 2192"/>
                <a:gd name="T17" fmla="*/ 3596 h 3643"/>
                <a:gd name="T18" fmla="*/ 2175 w 2192"/>
                <a:gd name="T19" fmla="*/ 3503 h 3643"/>
                <a:gd name="T20" fmla="*/ 188 w 2192"/>
                <a:gd name="T21" fmla="*/ 60 h 3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92" h="3643">
                  <a:moveTo>
                    <a:pt x="188" y="60"/>
                  </a:moveTo>
                  <a:cubicBezTo>
                    <a:pt x="162" y="15"/>
                    <a:pt x="105" y="0"/>
                    <a:pt x="60" y="26"/>
                  </a:cubicBezTo>
                  <a:cubicBezTo>
                    <a:pt x="15" y="52"/>
                    <a:pt x="0" y="109"/>
                    <a:pt x="25" y="154"/>
                  </a:cubicBezTo>
                  <a:lnTo>
                    <a:pt x="1932" y="3456"/>
                  </a:lnTo>
                  <a:lnTo>
                    <a:pt x="407" y="3456"/>
                  </a:lnTo>
                  <a:cubicBezTo>
                    <a:pt x="356" y="3456"/>
                    <a:pt x="314" y="3498"/>
                    <a:pt x="314" y="3549"/>
                  </a:cubicBezTo>
                  <a:cubicBezTo>
                    <a:pt x="314" y="3601"/>
                    <a:pt x="356" y="3643"/>
                    <a:pt x="407" y="3643"/>
                  </a:cubicBezTo>
                  <a:lnTo>
                    <a:pt x="2094" y="3643"/>
                  </a:lnTo>
                  <a:cubicBezTo>
                    <a:pt x="2128" y="3643"/>
                    <a:pt x="2158" y="3625"/>
                    <a:pt x="2175" y="3596"/>
                  </a:cubicBezTo>
                  <a:cubicBezTo>
                    <a:pt x="2192" y="3567"/>
                    <a:pt x="2192" y="3532"/>
                    <a:pt x="2175" y="3503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336">
              <a:extLst>
                <a:ext uri="{FF2B5EF4-FFF2-40B4-BE49-F238E27FC236}">
                  <a16:creationId xmlns:a16="http://schemas.microsoft.com/office/drawing/2014/main" id="{C53A4BC3-D6CD-415E-8DE5-612F2B346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3" y="2218"/>
              <a:ext cx="75" cy="117"/>
            </a:xfrm>
            <a:custGeom>
              <a:avLst/>
              <a:gdLst>
                <a:gd name="T0" fmla="*/ 1785 w 2783"/>
                <a:gd name="T1" fmla="*/ 4137 h 4324"/>
                <a:gd name="T2" fmla="*/ 260 w 2783"/>
                <a:gd name="T3" fmla="*/ 4137 h 4324"/>
                <a:gd name="T4" fmla="*/ 2486 w 2783"/>
                <a:gd name="T5" fmla="*/ 282 h 4324"/>
                <a:gd name="T6" fmla="*/ 2595 w 2783"/>
                <a:gd name="T7" fmla="*/ 470 h 4324"/>
                <a:gd name="T8" fmla="*/ 2723 w 2783"/>
                <a:gd name="T9" fmla="*/ 504 h 4324"/>
                <a:gd name="T10" fmla="*/ 2757 w 2783"/>
                <a:gd name="T11" fmla="*/ 376 h 4324"/>
                <a:gd name="T12" fmla="*/ 2567 w 2783"/>
                <a:gd name="T13" fmla="*/ 47 h 4324"/>
                <a:gd name="T14" fmla="*/ 2486 w 2783"/>
                <a:gd name="T15" fmla="*/ 0 h 4324"/>
                <a:gd name="T16" fmla="*/ 2405 w 2783"/>
                <a:gd name="T17" fmla="*/ 47 h 4324"/>
                <a:gd name="T18" fmla="*/ 17 w 2783"/>
                <a:gd name="T19" fmla="*/ 4184 h 4324"/>
                <a:gd name="T20" fmla="*/ 17 w 2783"/>
                <a:gd name="T21" fmla="*/ 4277 h 4324"/>
                <a:gd name="T22" fmla="*/ 98 w 2783"/>
                <a:gd name="T23" fmla="*/ 4324 h 4324"/>
                <a:gd name="T24" fmla="*/ 1785 w 2783"/>
                <a:gd name="T25" fmla="*/ 4324 h 4324"/>
                <a:gd name="T26" fmla="*/ 1878 w 2783"/>
                <a:gd name="T27" fmla="*/ 4230 h 4324"/>
                <a:gd name="T28" fmla="*/ 1785 w 2783"/>
                <a:gd name="T29" fmla="*/ 4137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83" h="4324">
                  <a:moveTo>
                    <a:pt x="1785" y="4137"/>
                  </a:moveTo>
                  <a:lnTo>
                    <a:pt x="260" y="4137"/>
                  </a:lnTo>
                  <a:lnTo>
                    <a:pt x="2486" y="282"/>
                  </a:lnTo>
                  <a:lnTo>
                    <a:pt x="2595" y="470"/>
                  </a:lnTo>
                  <a:cubicBezTo>
                    <a:pt x="2621" y="515"/>
                    <a:pt x="2678" y="530"/>
                    <a:pt x="2723" y="504"/>
                  </a:cubicBezTo>
                  <a:cubicBezTo>
                    <a:pt x="2768" y="478"/>
                    <a:pt x="2783" y="421"/>
                    <a:pt x="2757" y="376"/>
                  </a:cubicBezTo>
                  <a:lnTo>
                    <a:pt x="2567" y="47"/>
                  </a:lnTo>
                  <a:cubicBezTo>
                    <a:pt x="2550" y="18"/>
                    <a:pt x="2519" y="0"/>
                    <a:pt x="2486" y="0"/>
                  </a:cubicBezTo>
                  <a:cubicBezTo>
                    <a:pt x="2452" y="0"/>
                    <a:pt x="2422" y="18"/>
                    <a:pt x="2405" y="47"/>
                  </a:cubicBezTo>
                  <a:lnTo>
                    <a:pt x="17" y="4184"/>
                  </a:lnTo>
                  <a:cubicBezTo>
                    <a:pt x="0" y="4213"/>
                    <a:pt x="0" y="4248"/>
                    <a:pt x="17" y="4277"/>
                  </a:cubicBezTo>
                  <a:cubicBezTo>
                    <a:pt x="34" y="4306"/>
                    <a:pt x="64" y="4324"/>
                    <a:pt x="98" y="4324"/>
                  </a:cubicBezTo>
                  <a:lnTo>
                    <a:pt x="1785" y="4324"/>
                  </a:lnTo>
                  <a:cubicBezTo>
                    <a:pt x="1836" y="4324"/>
                    <a:pt x="1878" y="4282"/>
                    <a:pt x="1878" y="4230"/>
                  </a:cubicBezTo>
                  <a:cubicBezTo>
                    <a:pt x="1878" y="4179"/>
                    <a:pt x="1836" y="4137"/>
                    <a:pt x="1785" y="41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337">
              <a:extLst>
                <a:ext uri="{FF2B5EF4-FFF2-40B4-BE49-F238E27FC236}">
                  <a16:creationId xmlns:a16="http://schemas.microsoft.com/office/drawing/2014/main" id="{8C3BFDAD-F686-4781-A553-5580A3A417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316"/>
              <a:ext cx="21" cy="21"/>
            </a:xfrm>
            <a:custGeom>
              <a:avLst/>
              <a:gdLst>
                <a:gd name="T0" fmla="*/ 394 w 788"/>
                <a:gd name="T1" fmla="*/ 0 h 788"/>
                <a:gd name="T2" fmla="*/ 0 w 788"/>
                <a:gd name="T3" fmla="*/ 394 h 788"/>
                <a:gd name="T4" fmla="*/ 394 w 788"/>
                <a:gd name="T5" fmla="*/ 788 h 788"/>
                <a:gd name="T6" fmla="*/ 788 w 788"/>
                <a:gd name="T7" fmla="*/ 394 h 788"/>
                <a:gd name="T8" fmla="*/ 394 w 788"/>
                <a:gd name="T9" fmla="*/ 0 h 788"/>
                <a:gd name="T10" fmla="*/ 394 w 788"/>
                <a:gd name="T11" fmla="*/ 601 h 788"/>
                <a:gd name="T12" fmla="*/ 187 w 788"/>
                <a:gd name="T13" fmla="*/ 394 h 788"/>
                <a:gd name="T14" fmla="*/ 394 w 788"/>
                <a:gd name="T15" fmla="*/ 187 h 788"/>
                <a:gd name="T16" fmla="*/ 601 w 788"/>
                <a:gd name="T17" fmla="*/ 394 h 788"/>
                <a:gd name="T18" fmla="*/ 394 w 788"/>
                <a:gd name="T19" fmla="*/ 60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8" h="788">
                  <a:moveTo>
                    <a:pt x="394" y="0"/>
                  </a:moveTo>
                  <a:cubicBezTo>
                    <a:pt x="177" y="0"/>
                    <a:pt x="0" y="177"/>
                    <a:pt x="0" y="394"/>
                  </a:cubicBezTo>
                  <a:cubicBezTo>
                    <a:pt x="0" y="612"/>
                    <a:pt x="177" y="788"/>
                    <a:pt x="394" y="788"/>
                  </a:cubicBezTo>
                  <a:cubicBezTo>
                    <a:pt x="611" y="788"/>
                    <a:pt x="788" y="612"/>
                    <a:pt x="788" y="394"/>
                  </a:cubicBezTo>
                  <a:cubicBezTo>
                    <a:pt x="788" y="177"/>
                    <a:pt x="611" y="0"/>
                    <a:pt x="394" y="0"/>
                  </a:cubicBezTo>
                  <a:close/>
                  <a:moveTo>
                    <a:pt x="394" y="601"/>
                  </a:moveTo>
                  <a:cubicBezTo>
                    <a:pt x="280" y="601"/>
                    <a:pt x="187" y="508"/>
                    <a:pt x="187" y="394"/>
                  </a:cubicBezTo>
                  <a:cubicBezTo>
                    <a:pt x="187" y="280"/>
                    <a:pt x="280" y="187"/>
                    <a:pt x="394" y="187"/>
                  </a:cubicBezTo>
                  <a:cubicBezTo>
                    <a:pt x="508" y="187"/>
                    <a:pt x="601" y="280"/>
                    <a:pt x="601" y="394"/>
                  </a:cubicBezTo>
                  <a:cubicBezTo>
                    <a:pt x="601" y="508"/>
                    <a:pt x="508" y="601"/>
                    <a:pt x="394" y="6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38">
              <a:extLst>
                <a:ext uri="{FF2B5EF4-FFF2-40B4-BE49-F238E27FC236}">
                  <a16:creationId xmlns:a16="http://schemas.microsoft.com/office/drawing/2014/main" id="{773B3AFF-B1E0-408E-BD83-CA42476BC1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254"/>
              <a:ext cx="21" cy="56"/>
            </a:xfrm>
            <a:custGeom>
              <a:avLst/>
              <a:gdLst>
                <a:gd name="T0" fmla="*/ 196 w 782"/>
                <a:gd name="T1" fmla="*/ 0 h 2091"/>
                <a:gd name="T2" fmla="*/ 55 w 782"/>
                <a:gd name="T3" fmla="*/ 61 h 2091"/>
                <a:gd name="T4" fmla="*/ 2 w 782"/>
                <a:gd name="T5" fmla="*/ 204 h 2091"/>
                <a:gd name="T6" fmla="*/ 92 w 782"/>
                <a:gd name="T7" fmla="*/ 1908 h 2091"/>
                <a:gd name="T8" fmla="*/ 286 w 782"/>
                <a:gd name="T9" fmla="*/ 2091 h 2091"/>
                <a:gd name="T10" fmla="*/ 496 w 782"/>
                <a:gd name="T11" fmla="*/ 2091 h 2091"/>
                <a:gd name="T12" fmla="*/ 690 w 782"/>
                <a:gd name="T13" fmla="*/ 1908 h 2091"/>
                <a:gd name="T14" fmla="*/ 780 w 782"/>
                <a:gd name="T15" fmla="*/ 204 h 2091"/>
                <a:gd name="T16" fmla="*/ 727 w 782"/>
                <a:gd name="T17" fmla="*/ 61 h 2091"/>
                <a:gd name="T18" fmla="*/ 586 w 782"/>
                <a:gd name="T19" fmla="*/ 0 h 2091"/>
                <a:gd name="T20" fmla="*/ 196 w 782"/>
                <a:gd name="T21" fmla="*/ 0 h 2091"/>
                <a:gd name="T22" fmla="*/ 592 w 782"/>
                <a:gd name="T23" fmla="*/ 195 h 2091"/>
                <a:gd name="T24" fmla="*/ 503 w 782"/>
                <a:gd name="T25" fmla="*/ 1898 h 2091"/>
                <a:gd name="T26" fmla="*/ 496 w 782"/>
                <a:gd name="T27" fmla="*/ 1904 h 2091"/>
                <a:gd name="T28" fmla="*/ 286 w 782"/>
                <a:gd name="T29" fmla="*/ 1904 h 2091"/>
                <a:gd name="T30" fmla="*/ 279 w 782"/>
                <a:gd name="T31" fmla="*/ 1898 h 2091"/>
                <a:gd name="T32" fmla="*/ 190 w 782"/>
                <a:gd name="T33" fmla="*/ 195 h 2091"/>
                <a:gd name="T34" fmla="*/ 191 w 782"/>
                <a:gd name="T35" fmla="*/ 190 h 2091"/>
                <a:gd name="T36" fmla="*/ 196 w 782"/>
                <a:gd name="T37" fmla="*/ 188 h 2091"/>
                <a:gd name="T38" fmla="*/ 586 w 782"/>
                <a:gd name="T39" fmla="*/ 188 h 2091"/>
                <a:gd name="T40" fmla="*/ 591 w 782"/>
                <a:gd name="T41" fmla="*/ 190 h 2091"/>
                <a:gd name="T42" fmla="*/ 592 w 782"/>
                <a:gd name="T43" fmla="*/ 19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82" h="2091">
                  <a:moveTo>
                    <a:pt x="196" y="0"/>
                  </a:moveTo>
                  <a:cubicBezTo>
                    <a:pt x="143" y="0"/>
                    <a:pt x="92" y="22"/>
                    <a:pt x="55" y="61"/>
                  </a:cubicBezTo>
                  <a:cubicBezTo>
                    <a:pt x="19" y="99"/>
                    <a:pt x="0" y="151"/>
                    <a:pt x="2" y="204"/>
                  </a:cubicBezTo>
                  <a:lnTo>
                    <a:pt x="92" y="1908"/>
                  </a:lnTo>
                  <a:cubicBezTo>
                    <a:pt x="97" y="2011"/>
                    <a:pt x="182" y="2091"/>
                    <a:pt x="286" y="2091"/>
                  </a:cubicBezTo>
                  <a:lnTo>
                    <a:pt x="496" y="2091"/>
                  </a:lnTo>
                  <a:cubicBezTo>
                    <a:pt x="600" y="2091"/>
                    <a:pt x="685" y="2011"/>
                    <a:pt x="690" y="1908"/>
                  </a:cubicBezTo>
                  <a:lnTo>
                    <a:pt x="780" y="204"/>
                  </a:lnTo>
                  <a:cubicBezTo>
                    <a:pt x="782" y="151"/>
                    <a:pt x="763" y="99"/>
                    <a:pt x="727" y="61"/>
                  </a:cubicBezTo>
                  <a:cubicBezTo>
                    <a:pt x="690" y="22"/>
                    <a:pt x="639" y="0"/>
                    <a:pt x="586" y="0"/>
                  </a:cubicBezTo>
                  <a:lnTo>
                    <a:pt x="196" y="0"/>
                  </a:lnTo>
                  <a:close/>
                  <a:moveTo>
                    <a:pt x="592" y="195"/>
                  </a:moveTo>
                  <a:lnTo>
                    <a:pt x="503" y="1898"/>
                  </a:lnTo>
                  <a:cubicBezTo>
                    <a:pt x="503" y="1901"/>
                    <a:pt x="500" y="1904"/>
                    <a:pt x="496" y="1904"/>
                  </a:cubicBezTo>
                  <a:lnTo>
                    <a:pt x="286" y="1904"/>
                  </a:lnTo>
                  <a:cubicBezTo>
                    <a:pt x="282" y="1904"/>
                    <a:pt x="279" y="1901"/>
                    <a:pt x="279" y="1898"/>
                  </a:cubicBezTo>
                  <a:lnTo>
                    <a:pt x="190" y="195"/>
                  </a:lnTo>
                  <a:cubicBezTo>
                    <a:pt x="190" y="194"/>
                    <a:pt x="189" y="192"/>
                    <a:pt x="191" y="190"/>
                  </a:cubicBezTo>
                  <a:cubicBezTo>
                    <a:pt x="193" y="188"/>
                    <a:pt x="195" y="188"/>
                    <a:pt x="196" y="188"/>
                  </a:cubicBezTo>
                  <a:lnTo>
                    <a:pt x="586" y="188"/>
                  </a:lnTo>
                  <a:cubicBezTo>
                    <a:pt x="587" y="188"/>
                    <a:pt x="589" y="188"/>
                    <a:pt x="591" y="190"/>
                  </a:cubicBezTo>
                  <a:cubicBezTo>
                    <a:pt x="593" y="192"/>
                    <a:pt x="592" y="194"/>
                    <a:pt x="592" y="1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09070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197C7E1-5DB4-4736-9250-BDF27DD02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</a:t>
            </a:r>
            <a:br>
              <a:rPr lang="en-US" dirty="0"/>
            </a:br>
            <a:r>
              <a:rPr lang="ru-RU" dirty="0"/>
              <a:t>ISO 37001:2016 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лари</a:t>
            </a:r>
            <a:r>
              <a:rPr lang="ru-RU" dirty="0"/>
              <a:t>» (5/10)</a:t>
            </a:r>
            <a:endParaRPr lang="en-US" dirty="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297870FC-C468-4156-ACDD-B112F71457B9}"/>
              </a:ext>
            </a:extLst>
          </p:cNvPr>
          <p:cNvSpPr txBox="1">
            <a:spLocks/>
          </p:cNvSpPr>
          <p:nvPr/>
        </p:nvSpPr>
        <p:spPr>
          <a:xfrm>
            <a:off x="816680" y="1973835"/>
            <a:ext cx="5207883" cy="13086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 err="1">
                <a:solidFill>
                  <a:srgbClr val="3A07DF"/>
                </a:solidFill>
              </a:rPr>
              <a:t>Муҳокама</a:t>
            </a:r>
            <a:r>
              <a:rPr lang="ru-RU" sz="2400" dirty="0">
                <a:solidFill>
                  <a:srgbClr val="3A07DF"/>
                </a:solidFill>
              </a:rPr>
              <a:t> </a:t>
            </a:r>
            <a:r>
              <a:rPr lang="ru-RU" sz="2400" dirty="0" err="1">
                <a:solidFill>
                  <a:srgbClr val="3A07DF"/>
                </a:solidFill>
              </a:rPr>
              <a:t>учун</a:t>
            </a:r>
            <a:r>
              <a:rPr lang="ru-RU" sz="2400" dirty="0">
                <a:solidFill>
                  <a:srgbClr val="3A07DF"/>
                </a:solidFill>
              </a:rPr>
              <a:t> </a:t>
            </a:r>
            <a:r>
              <a:rPr lang="ru-RU" sz="2400" dirty="0" err="1">
                <a:solidFill>
                  <a:srgbClr val="3A07DF"/>
                </a:solidFill>
              </a:rPr>
              <a:t>савол</a:t>
            </a:r>
            <a:r>
              <a:rPr lang="ru-RU" sz="2400" dirty="0">
                <a:solidFill>
                  <a:srgbClr val="3A07DF"/>
                </a:solidFill>
              </a:rPr>
              <a:t>: </a:t>
            </a:r>
            <a:br>
              <a:rPr lang="en-US" sz="2400" dirty="0">
                <a:solidFill>
                  <a:srgbClr val="3A07DF"/>
                </a:solidFill>
              </a:rPr>
            </a:br>
            <a:r>
              <a:rPr lang="uz-Cyrl-UZ" sz="2400" dirty="0">
                <a:solidFill>
                  <a:srgbClr val="3A07DF"/>
                </a:solidFill>
              </a:rPr>
              <a:t>Мақом</a:t>
            </a:r>
            <a:endParaRPr lang="ru-RU" sz="2400" b="0" dirty="0">
              <a:solidFill>
                <a:srgbClr val="3A07DF"/>
              </a:solidFill>
            </a:endParaRPr>
          </a:p>
        </p:txBody>
      </p:sp>
      <p:sp>
        <p:nvSpPr>
          <p:cNvPr id="12" name="Freeform 83">
            <a:extLst>
              <a:ext uri="{FF2B5EF4-FFF2-40B4-BE49-F238E27FC236}">
                <a16:creationId xmlns:a16="http://schemas.microsoft.com/office/drawing/2014/main" id="{6EF83A2E-BBA6-4ACC-B5DF-835A2EB1AD86}"/>
              </a:ext>
            </a:extLst>
          </p:cNvPr>
          <p:cNvSpPr/>
          <p:nvPr/>
        </p:nvSpPr>
        <p:spPr>
          <a:xfrm>
            <a:off x="441831" y="1819034"/>
            <a:ext cx="1211122" cy="1614182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 err="1">
              <a:solidFill>
                <a:srgbClr val="1BD7D3"/>
              </a:solidFill>
              <a:latin typeface="Gotham Light" pitchFamily="50" charset="0"/>
            </a:endParaRP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EB803D71-1B94-4D12-814D-85F1A2A91878}"/>
              </a:ext>
            </a:extLst>
          </p:cNvPr>
          <p:cNvSpPr txBox="1">
            <a:spLocks/>
          </p:cNvSpPr>
          <p:nvPr/>
        </p:nvSpPr>
        <p:spPr>
          <a:xfrm>
            <a:off x="441831" y="3671933"/>
            <a:ext cx="6505621" cy="13086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Сизнинг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нуқта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назарингизг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кўр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давлат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ташкилотларид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комплаенс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бўйича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масъул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ходимнинг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мақом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қандай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таъминланиши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dirty="0" err="1">
                <a:solidFill>
                  <a:schemeClr val="bg2">
                    <a:lumMod val="25000"/>
                  </a:schemeClr>
                </a:solidFill>
              </a:rPr>
              <a:t>лозим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3931546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F2987B0-E390-4DA7-B54A-C7050F464497}"/>
              </a:ext>
            </a:extLst>
          </p:cNvPr>
          <p:cNvSpPr txBox="1"/>
          <p:nvPr/>
        </p:nvSpPr>
        <p:spPr>
          <a:xfrm>
            <a:off x="1245056" y="1856213"/>
            <a:ext cx="2044243" cy="224676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ом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шкилот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хўрликк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арши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блар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оя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ъу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ла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крлар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дим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нглани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рм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ин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глатад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768F354-F7CD-4E8A-95CE-91C6C94EF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Комплаенс </a:t>
            </a:r>
            <a:r>
              <a:rPr lang="ru-RU" sz="2400" dirty="0" err="1"/>
              <a:t>бўлинманинг</a:t>
            </a:r>
            <a:r>
              <a:rPr lang="ru-RU" sz="2400" dirty="0"/>
              <a:t> </a:t>
            </a:r>
            <a:r>
              <a:rPr lang="ru-RU" dirty="0" err="1"/>
              <a:t>ўрн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роли: </a:t>
            </a:r>
            <a:br>
              <a:rPr lang="ru-RU" dirty="0"/>
            </a:br>
            <a:r>
              <a:rPr lang="ru-RU" dirty="0"/>
              <a:t>ISO 37001:2016 «Коррупцияга қарши </a:t>
            </a:r>
            <a:r>
              <a:rPr lang="ru-RU" dirty="0" err="1"/>
              <a:t>менежмент</a:t>
            </a:r>
            <a:r>
              <a:rPr lang="ru-RU" dirty="0"/>
              <a:t> </a:t>
            </a:r>
            <a:r>
              <a:rPr lang="ru-RU" dirty="0" err="1"/>
              <a:t>тизимлари</a:t>
            </a:r>
            <a:r>
              <a:rPr lang="ru-RU" dirty="0"/>
              <a:t>» (6/10)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C7EC20B-4C02-45C0-9945-47F5091A76E7}"/>
              </a:ext>
            </a:extLst>
          </p:cNvPr>
          <p:cNvGrpSpPr/>
          <p:nvPr/>
        </p:nvGrpSpPr>
        <p:grpSpPr>
          <a:xfrm>
            <a:off x="431998" y="1282699"/>
            <a:ext cx="2899635" cy="514305"/>
            <a:chOff x="431998" y="1497505"/>
            <a:chExt cx="7093540" cy="589416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BCA60C1-36B6-4A4B-8FF5-C4FAF1CEBF67}"/>
                </a:ext>
              </a:extLst>
            </p:cNvPr>
            <p:cNvSpPr/>
            <p:nvPr/>
          </p:nvSpPr>
          <p:spPr>
            <a:xfrm>
              <a:off x="603459" y="1565361"/>
              <a:ext cx="6922079" cy="5215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3B21EA2-5896-41AC-BF42-23EB82358555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ақом</a:t>
              </a:r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0338172-2568-4FEA-9AFB-4F930D947DB1}"/>
              </a:ext>
            </a:extLst>
          </p:cNvPr>
          <p:cNvCxnSpPr>
            <a:cxnSpLocks/>
          </p:cNvCxnSpPr>
          <p:nvPr/>
        </p:nvCxnSpPr>
        <p:spPr>
          <a:xfrm>
            <a:off x="3784798" y="2029071"/>
            <a:ext cx="7964290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59D202D-68CE-4AE7-AFD2-32219A17A62A}"/>
              </a:ext>
            </a:extLst>
          </p:cNvPr>
          <p:cNvSpPr/>
          <p:nvPr/>
        </p:nvSpPr>
        <p:spPr>
          <a:xfrm>
            <a:off x="3784798" y="1605410"/>
            <a:ext cx="7272000" cy="338554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ISO 370016:2016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жорий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эт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ўйич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ўлланм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E83248-D1BB-474B-B06D-323153417B72}"/>
              </a:ext>
            </a:extLst>
          </p:cNvPr>
          <p:cNvSpPr/>
          <p:nvPr/>
        </p:nvSpPr>
        <p:spPr>
          <a:xfrm>
            <a:off x="3794630" y="2099264"/>
            <a:ext cx="7954458" cy="1323439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комплаенс </a:t>
            </a:r>
            <a:r>
              <a:rPr lang="ru-RU" sz="1400" dirty="0" err="1">
                <a:solidFill>
                  <a:schemeClr val="tx2"/>
                </a:solidFill>
              </a:rPr>
              <a:t>бўлинм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узилмас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қо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аражас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зарур</a:t>
            </a:r>
            <a:r>
              <a:rPr lang="ru-RU" sz="1400" dirty="0">
                <a:solidFill>
                  <a:schemeClr val="tx2"/>
                </a:solidFill>
              </a:rPr>
              <a:t>, у </a:t>
            </a: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аҳб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ун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хша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лавозим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ллай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исоб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р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фзалроқ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 marL="285750" indent="-2857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комплаенс </a:t>
            </a:r>
            <a:r>
              <a:rPr lang="ru-RU" sz="1400" dirty="0" err="1">
                <a:solidFill>
                  <a:schemeClr val="tx2"/>
                </a:solidFill>
              </a:rPr>
              <a:t>бўлинм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есурс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одимлар</a:t>
            </a:r>
            <a:r>
              <a:rPr lang="ru-RU" sz="1400" dirty="0">
                <a:solidFill>
                  <a:schemeClr val="tx2"/>
                </a:solidFill>
              </a:rPr>
              <a:t> сони </a:t>
            </a:r>
            <a:r>
              <a:rPr lang="ru-RU" sz="1400" dirty="0" err="1">
                <a:solidFill>
                  <a:schemeClr val="tx2"/>
                </a:solidFill>
              </a:rPr>
              <a:t>ташкилотдаги</a:t>
            </a:r>
            <a:r>
              <a:rPr lang="ru-RU" sz="1400" dirty="0">
                <a:solidFill>
                  <a:schemeClr val="tx2"/>
                </a:solidFill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</a:rPr>
              <a:t>хавф-хатар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ртараф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етар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лозим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79FA77F4-604D-4CAA-96E1-46575AB00AF4}"/>
              </a:ext>
            </a:extLst>
          </p:cNvPr>
          <p:cNvSpPr/>
          <p:nvPr/>
        </p:nvSpPr>
        <p:spPr>
          <a:xfrm>
            <a:off x="443225" y="185621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8" name="Group 213">
            <a:extLst>
              <a:ext uri="{FF2B5EF4-FFF2-40B4-BE49-F238E27FC236}">
                <a16:creationId xmlns:a16="http://schemas.microsoft.com/office/drawing/2014/main" id="{6C34B347-E3B3-4E9C-BB48-3337DD983EA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2912" y="1856213"/>
            <a:ext cx="344488" cy="641853"/>
            <a:chOff x="4987" y="3216"/>
            <a:chExt cx="212" cy="395"/>
          </a:xfrm>
          <a:solidFill>
            <a:schemeClr val="bg2">
              <a:lumMod val="25000"/>
            </a:schemeClr>
          </a:solidFill>
        </p:grpSpPr>
        <p:sp>
          <p:nvSpPr>
            <p:cNvPr id="30" name="Freeform 214">
              <a:extLst>
                <a:ext uri="{FF2B5EF4-FFF2-40B4-BE49-F238E27FC236}">
                  <a16:creationId xmlns:a16="http://schemas.microsoft.com/office/drawing/2014/main" id="{4052FB5A-2B64-4DAE-9022-BD72E02C76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7" y="3216"/>
              <a:ext cx="212" cy="395"/>
            </a:xfrm>
            <a:custGeom>
              <a:avLst/>
              <a:gdLst>
                <a:gd name="T0" fmla="*/ 3094 w 3454"/>
                <a:gd name="T1" fmla="*/ 4997 h 6400"/>
                <a:gd name="T2" fmla="*/ 2563 w 3454"/>
                <a:gd name="T3" fmla="*/ 4583 h 6400"/>
                <a:gd name="T4" fmla="*/ 2159 w 3454"/>
                <a:gd name="T5" fmla="*/ 4005 h 6400"/>
                <a:gd name="T6" fmla="*/ 1822 w 3454"/>
                <a:gd name="T7" fmla="*/ 4583 h 6400"/>
                <a:gd name="T8" fmla="*/ 1632 w 3454"/>
                <a:gd name="T9" fmla="*/ 3612 h 6400"/>
                <a:gd name="T10" fmla="*/ 1572 w 3454"/>
                <a:gd name="T11" fmla="*/ 2471 h 6400"/>
                <a:gd name="T12" fmla="*/ 2025 w 3454"/>
                <a:gd name="T13" fmla="*/ 3671 h 6400"/>
                <a:gd name="T14" fmla="*/ 2211 w 3454"/>
                <a:gd name="T15" fmla="*/ 3649 h 6400"/>
                <a:gd name="T16" fmla="*/ 2508 w 3454"/>
                <a:gd name="T17" fmla="*/ 2799 h 6400"/>
                <a:gd name="T18" fmla="*/ 2541 w 3454"/>
                <a:gd name="T19" fmla="*/ 2806 h 6400"/>
                <a:gd name="T20" fmla="*/ 2559 w 3454"/>
                <a:gd name="T21" fmla="*/ 2806 h 6400"/>
                <a:gd name="T22" fmla="*/ 2583 w 3454"/>
                <a:gd name="T23" fmla="*/ 2803 h 6400"/>
                <a:gd name="T24" fmla="*/ 2626 w 3454"/>
                <a:gd name="T25" fmla="*/ 2784 h 6400"/>
                <a:gd name="T26" fmla="*/ 2538 w 3454"/>
                <a:gd name="T27" fmla="*/ 1801 h 6400"/>
                <a:gd name="T28" fmla="*/ 3173 w 3454"/>
                <a:gd name="T29" fmla="*/ 1178 h 6400"/>
                <a:gd name="T30" fmla="*/ 3186 w 3454"/>
                <a:gd name="T31" fmla="*/ 1152 h 6400"/>
                <a:gd name="T32" fmla="*/ 3192 w 3454"/>
                <a:gd name="T33" fmla="*/ 1133 h 6400"/>
                <a:gd name="T34" fmla="*/ 3191 w 3454"/>
                <a:gd name="T35" fmla="*/ 1067 h 6400"/>
                <a:gd name="T36" fmla="*/ 2228 w 3454"/>
                <a:gd name="T37" fmla="*/ 848 h 6400"/>
                <a:gd name="T38" fmla="*/ 1607 w 3454"/>
                <a:gd name="T39" fmla="*/ 74 h 6400"/>
                <a:gd name="T40" fmla="*/ 366 w 3454"/>
                <a:gd name="T41" fmla="*/ 973 h 6400"/>
                <a:gd name="T42" fmla="*/ 335 w 3454"/>
                <a:gd name="T43" fmla="*/ 983 h 6400"/>
                <a:gd name="T44" fmla="*/ 315 w 3454"/>
                <a:gd name="T45" fmla="*/ 994 h 6400"/>
                <a:gd name="T46" fmla="*/ 291 w 3454"/>
                <a:gd name="T47" fmla="*/ 1016 h 6400"/>
                <a:gd name="T48" fmla="*/ 265 w 3454"/>
                <a:gd name="T49" fmla="*/ 1062 h 6400"/>
                <a:gd name="T50" fmla="*/ 770 w 3454"/>
                <a:gd name="T51" fmla="*/ 2651 h 6400"/>
                <a:gd name="T52" fmla="*/ 769 w 3454"/>
                <a:gd name="T53" fmla="*/ 2677 h 6400"/>
                <a:gd name="T54" fmla="*/ 773 w 3454"/>
                <a:gd name="T55" fmla="*/ 2708 h 6400"/>
                <a:gd name="T56" fmla="*/ 789 w 3454"/>
                <a:gd name="T57" fmla="*/ 2744 h 6400"/>
                <a:gd name="T58" fmla="*/ 823 w 3454"/>
                <a:gd name="T59" fmla="*/ 2781 h 6400"/>
                <a:gd name="T60" fmla="*/ 1371 w 3454"/>
                <a:gd name="T61" fmla="*/ 2577 h 6400"/>
                <a:gd name="T62" fmla="*/ 717 w 3454"/>
                <a:gd name="T63" fmla="*/ 4731 h 6400"/>
                <a:gd name="T64" fmla="*/ 175 w 3454"/>
                <a:gd name="T65" fmla="*/ 5155 h 6400"/>
                <a:gd name="T66" fmla="*/ 194 w 3454"/>
                <a:gd name="T67" fmla="*/ 6400 h 6400"/>
                <a:gd name="T68" fmla="*/ 3445 w 3454"/>
                <a:gd name="T69" fmla="*/ 6183 h 6400"/>
                <a:gd name="T70" fmla="*/ 1082 w 3454"/>
                <a:gd name="T71" fmla="*/ 1701 h 6400"/>
                <a:gd name="T72" fmla="*/ 1372 w 3454"/>
                <a:gd name="T73" fmla="*/ 975 h 6400"/>
                <a:gd name="T74" fmla="*/ 2152 w 3454"/>
                <a:gd name="T75" fmla="*/ 1026 h 6400"/>
                <a:gd name="T76" fmla="*/ 2345 w 3454"/>
                <a:gd name="T77" fmla="*/ 1784 h 6400"/>
                <a:gd name="T78" fmla="*/ 1727 w 3454"/>
                <a:gd name="T79" fmla="*/ 2190 h 6400"/>
                <a:gd name="T80" fmla="*/ 901 w 3454"/>
                <a:gd name="T81" fmla="*/ 4770 h 6400"/>
                <a:gd name="T82" fmla="*/ 2553 w 3454"/>
                <a:gd name="T83" fmla="*/ 4770 h 6400"/>
                <a:gd name="T84" fmla="*/ 901 w 3454"/>
                <a:gd name="T85" fmla="*/ 4770 h 6400"/>
                <a:gd name="T86" fmla="*/ 360 w 3454"/>
                <a:gd name="T87" fmla="*/ 5185 h 6400"/>
                <a:gd name="T88" fmla="*/ 3260 w 3454"/>
                <a:gd name="T89" fmla="*/ 621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54" h="6400">
                  <a:moveTo>
                    <a:pt x="3445" y="6183"/>
                  </a:moveTo>
                  <a:lnTo>
                    <a:pt x="3279" y="5155"/>
                  </a:lnTo>
                  <a:cubicBezTo>
                    <a:pt x="3264" y="5063"/>
                    <a:pt x="3186" y="4997"/>
                    <a:pt x="3094" y="4997"/>
                  </a:cubicBezTo>
                  <a:lnTo>
                    <a:pt x="2779" y="4997"/>
                  </a:lnTo>
                  <a:lnTo>
                    <a:pt x="2737" y="4731"/>
                  </a:lnTo>
                  <a:cubicBezTo>
                    <a:pt x="2723" y="4645"/>
                    <a:pt x="2650" y="4583"/>
                    <a:pt x="2563" y="4583"/>
                  </a:cubicBezTo>
                  <a:lnTo>
                    <a:pt x="2322" y="4583"/>
                  </a:lnTo>
                  <a:lnTo>
                    <a:pt x="2263" y="4086"/>
                  </a:lnTo>
                  <a:cubicBezTo>
                    <a:pt x="2257" y="4035"/>
                    <a:pt x="2210" y="3998"/>
                    <a:pt x="2159" y="4005"/>
                  </a:cubicBezTo>
                  <a:cubicBezTo>
                    <a:pt x="2108" y="4011"/>
                    <a:pt x="2071" y="4057"/>
                    <a:pt x="2077" y="4109"/>
                  </a:cubicBezTo>
                  <a:lnTo>
                    <a:pt x="2134" y="4583"/>
                  </a:lnTo>
                  <a:lnTo>
                    <a:pt x="1822" y="4583"/>
                  </a:lnTo>
                  <a:lnTo>
                    <a:pt x="1822" y="3612"/>
                  </a:lnTo>
                  <a:cubicBezTo>
                    <a:pt x="1822" y="3560"/>
                    <a:pt x="1779" y="3518"/>
                    <a:pt x="1727" y="3518"/>
                  </a:cubicBezTo>
                  <a:cubicBezTo>
                    <a:pt x="1675" y="3518"/>
                    <a:pt x="1632" y="3560"/>
                    <a:pt x="1632" y="3612"/>
                  </a:cubicBezTo>
                  <a:lnTo>
                    <a:pt x="1632" y="4583"/>
                  </a:lnTo>
                  <a:lnTo>
                    <a:pt x="1320" y="4583"/>
                  </a:lnTo>
                  <a:lnTo>
                    <a:pt x="1572" y="2471"/>
                  </a:lnTo>
                  <a:lnTo>
                    <a:pt x="1727" y="2390"/>
                  </a:lnTo>
                  <a:lnTo>
                    <a:pt x="1882" y="2471"/>
                  </a:lnTo>
                  <a:lnTo>
                    <a:pt x="2025" y="3671"/>
                  </a:lnTo>
                  <a:cubicBezTo>
                    <a:pt x="2031" y="3719"/>
                    <a:pt x="2071" y="3754"/>
                    <a:pt x="2118" y="3754"/>
                  </a:cubicBezTo>
                  <a:cubicBezTo>
                    <a:pt x="2122" y="3754"/>
                    <a:pt x="2125" y="3754"/>
                    <a:pt x="2129" y="3753"/>
                  </a:cubicBezTo>
                  <a:cubicBezTo>
                    <a:pt x="2180" y="3747"/>
                    <a:pt x="2217" y="3701"/>
                    <a:pt x="2211" y="3649"/>
                  </a:cubicBezTo>
                  <a:lnTo>
                    <a:pt x="2083" y="2577"/>
                  </a:lnTo>
                  <a:lnTo>
                    <a:pt x="2490" y="2791"/>
                  </a:lnTo>
                  <a:cubicBezTo>
                    <a:pt x="2496" y="2794"/>
                    <a:pt x="2502" y="2797"/>
                    <a:pt x="2508" y="2799"/>
                  </a:cubicBezTo>
                  <a:cubicBezTo>
                    <a:pt x="2513" y="2801"/>
                    <a:pt x="2519" y="2803"/>
                    <a:pt x="2525" y="2804"/>
                  </a:cubicBezTo>
                  <a:cubicBezTo>
                    <a:pt x="2525" y="2804"/>
                    <a:pt x="2526" y="2804"/>
                    <a:pt x="2527" y="2804"/>
                  </a:cubicBezTo>
                  <a:cubicBezTo>
                    <a:pt x="2532" y="2805"/>
                    <a:pt x="2536" y="2806"/>
                    <a:pt x="2541" y="2806"/>
                  </a:cubicBezTo>
                  <a:cubicBezTo>
                    <a:pt x="2542" y="2806"/>
                    <a:pt x="2543" y="2806"/>
                    <a:pt x="2544" y="2806"/>
                  </a:cubicBezTo>
                  <a:cubicBezTo>
                    <a:pt x="2545" y="2806"/>
                    <a:pt x="2545" y="2806"/>
                    <a:pt x="2546" y="2807"/>
                  </a:cubicBezTo>
                  <a:cubicBezTo>
                    <a:pt x="2552" y="2807"/>
                    <a:pt x="2556" y="2807"/>
                    <a:pt x="2559" y="2806"/>
                  </a:cubicBezTo>
                  <a:cubicBezTo>
                    <a:pt x="2561" y="2806"/>
                    <a:pt x="2563" y="2806"/>
                    <a:pt x="2564" y="2806"/>
                  </a:cubicBezTo>
                  <a:cubicBezTo>
                    <a:pt x="2570" y="2806"/>
                    <a:pt x="2575" y="2805"/>
                    <a:pt x="2578" y="2804"/>
                  </a:cubicBezTo>
                  <a:cubicBezTo>
                    <a:pt x="2579" y="2804"/>
                    <a:pt x="2581" y="2804"/>
                    <a:pt x="2583" y="2803"/>
                  </a:cubicBezTo>
                  <a:cubicBezTo>
                    <a:pt x="2593" y="2801"/>
                    <a:pt x="2603" y="2797"/>
                    <a:pt x="2613" y="2792"/>
                  </a:cubicBezTo>
                  <a:cubicBezTo>
                    <a:pt x="2614" y="2792"/>
                    <a:pt x="2615" y="2791"/>
                    <a:pt x="2616" y="2790"/>
                  </a:cubicBezTo>
                  <a:cubicBezTo>
                    <a:pt x="2619" y="2789"/>
                    <a:pt x="2623" y="2786"/>
                    <a:pt x="2626" y="2784"/>
                  </a:cubicBezTo>
                  <a:cubicBezTo>
                    <a:pt x="2628" y="2783"/>
                    <a:pt x="2629" y="2782"/>
                    <a:pt x="2631" y="2781"/>
                  </a:cubicBezTo>
                  <a:cubicBezTo>
                    <a:pt x="2672" y="2751"/>
                    <a:pt x="2692" y="2701"/>
                    <a:pt x="2684" y="2651"/>
                  </a:cubicBezTo>
                  <a:lnTo>
                    <a:pt x="2538" y="1801"/>
                  </a:lnTo>
                  <a:lnTo>
                    <a:pt x="3155" y="1199"/>
                  </a:lnTo>
                  <a:cubicBezTo>
                    <a:pt x="3160" y="1194"/>
                    <a:pt x="3165" y="1189"/>
                    <a:pt x="3168" y="1184"/>
                  </a:cubicBezTo>
                  <a:cubicBezTo>
                    <a:pt x="3170" y="1183"/>
                    <a:pt x="3171" y="1180"/>
                    <a:pt x="3173" y="1178"/>
                  </a:cubicBezTo>
                  <a:cubicBezTo>
                    <a:pt x="3175" y="1175"/>
                    <a:pt x="3177" y="1172"/>
                    <a:pt x="3179" y="1168"/>
                  </a:cubicBezTo>
                  <a:cubicBezTo>
                    <a:pt x="3181" y="1164"/>
                    <a:pt x="3183" y="1160"/>
                    <a:pt x="3185" y="1155"/>
                  </a:cubicBezTo>
                  <a:cubicBezTo>
                    <a:pt x="3186" y="1154"/>
                    <a:pt x="3186" y="1153"/>
                    <a:pt x="3186" y="1152"/>
                  </a:cubicBezTo>
                  <a:cubicBezTo>
                    <a:pt x="3187" y="1152"/>
                    <a:pt x="3187" y="1151"/>
                    <a:pt x="3187" y="1151"/>
                  </a:cubicBezTo>
                  <a:cubicBezTo>
                    <a:pt x="3188" y="1147"/>
                    <a:pt x="3190" y="1143"/>
                    <a:pt x="3191" y="1139"/>
                  </a:cubicBezTo>
                  <a:cubicBezTo>
                    <a:pt x="3191" y="1137"/>
                    <a:pt x="3192" y="1135"/>
                    <a:pt x="3192" y="1133"/>
                  </a:cubicBezTo>
                  <a:cubicBezTo>
                    <a:pt x="3193" y="1129"/>
                    <a:pt x="3194" y="1124"/>
                    <a:pt x="3195" y="1119"/>
                  </a:cubicBezTo>
                  <a:cubicBezTo>
                    <a:pt x="3195" y="1118"/>
                    <a:pt x="3195" y="1116"/>
                    <a:pt x="3195" y="1115"/>
                  </a:cubicBezTo>
                  <a:cubicBezTo>
                    <a:pt x="3197" y="1099"/>
                    <a:pt x="3195" y="1083"/>
                    <a:pt x="3191" y="1067"/>
                  </a:cubicBezTo>
                  <a:cubicBezTo>
                    <a:pt x="3190" y="1065"/>
                    <a:pt x="3190" y="1064"/>
                    <a:pt x="3189" y="1062"/>
                  </a:cubicBezTo>
                  <a:cubicBezTo>
                    <a:pt x="3173" y="1014"/>
                    <a:pt x="3132" y="979"/>
                    <a:pt x="3082" y="972"/>
                  </a:cubicBezTo>
                  <a:lnTo>
                    <a:pt x="2228" y="848"/>
                  </a:lnTo>
                  <a:lnTo>
                    <a:pt x="1847" y="74"/>
                  </a:lnTo>
                  <a:cubicBezTo>
                    <a:pt x="1824" y="28"/>
                    <a:pt x="1778" y="0"/>
                    <a:pt x="1727" y="0"/>
                  </a:cubicBezTo>
                  <a:cubicBezTo>
                    <a:pt x="1676" y="0"/>
                    <a:pt x="1630" y="28"/>
                    <a:pt x="1607" y="74"/>
                  </a:cubicBezTo>
                  <a:lnTo>
                    <a:pt x="1226" y="848"/>
                  </a:lnTo>
                  <a:lnTo>
                    <a:pt x="372" y="972"/>
                  </a:lnTo>
                  <a:cubicBezTo>
                    <a:pt x="370" y="972"/>
                    <a:pt x="368" y="972"/>
                    <a:pt x="366" y="973"/>
                  </a:cubicBezTo>
                  <a:cubicBezTo>
                    <a:pt x="362" y="974"/>
                    <a:pt x="357" y="975"/>
                    <a:pt x="353" y="976"/>
                  </a:cubicBezTo>
                  <a:cubicBezTo>
                    <a:pt x="351" y="977"/>
                    <a:pt x="348" y="977"/>
                    <a:pt x="346" y="978"/>
                  </a:cubicBezTo>
                  <a:cubicBezTo>
                    <a:pt x="342" y="980"/>
                    <a:pt x="339" y="981"/>
                    <a:pt x="335" y="983"/>
                  </a:cubicBezTo>
                  <a:cubicBezTo>
                    <a:pt x="332" y="984"/>
                    <a:pt x="330" y="985"/>
                    <a:pt x="329" y="986"/>
                  </a:cubicBezTo>
                  <a:cubicBezTo>
                    <a:pt x="325" y="988"/>
                    <a:pt x="322" y="990"/>
                    <a:pt x="319" y="992"/>
                  </a:cubicBezTo>
                  <a:cubicBezTo>
                    <a:pt x="318" y="992"/>
                    <a:pt x="316" y="993"/>
                    <a:pt x="315" y="994"/>
                  </a:cubicBezTo>
                  <a:cubicBezTo>
                    <a:pt x="311" y="997"/>
                    <a:pt x="307" y="1000"/>
                    <a:pt x="304" y="1003"/>
                  </a:cubicBezTo>
                  <a:cubicBezTo>
                    <a:pt x="303" y="1004"/>
                    <a:pt x="302" y="1005"/>
                    <a:pt x="302" y="1005"/>
                  </a:cubicBezTo>
                  <a:cubicBezTo>
                    <a:pt x="298" y="1009"/>
                    <a:pt x="294" y="1012"/>
                    <a:pt x="291" y="1016"/>
                  </a:cubicBezTo>
                  <a:cubicBezTo>
                    <a:pt x="290" y="1017"/>
                    <a:pt x="290" y="1017"/>
                    <a:pt x="290" y="1017"/>
                  </a:cubicBezTo>
                  <a:cubicBezTo>
                    <a:pt x="289" y="1018"/>
                    <a:pt x="289" y="1018"/>
                    <a:pt x="289" y="1019"/>
                  </a:cubicBezTo>
                  <a:cubicBezTo>
                    <a:pt x="278" y="1032"/>
                    <a:pt x="270" y="1046"/>
                    <a:pt x="265" y="1062"/>
                  </a:cubicBezTo>
                  <a:cubicBezTo>
                    <a:pt x="249" y="1111"/>
                    <a:pt x="262" y="1163"/>
                    <a:pt x="299" y="1199"/>
                  </a:cubicBezTo>
                  <a:lnTo>
                    <a:pt x="916" y="1801"/>
                  </a:lnTo>
                  <a:lnTo>
                    <a:pt x="770" y="2651"/>
                  </a:lnTo>
                  <a:cubicBezTo>
                    <a:pt x="770" y="2654"/>
                    <a:pt x="769" y="2657"/>
                    <a:pt x="769" y="2660"/>
                  </a:cubicBezTo>
                  <a:cubicBezTo>
                    <a:pt x="769" y="2663"/>
                    <a:pt x="769" y="2667"/>
                    <a:pt x="768" y="2670"/>
                  </a:cubicBezTo>
                  <a:cubicBezTo>
                    <a:pt x="768" y="2673"/>
                    <a:pt x="768" y="2675"/>
                    <a:pt x="769" y="2677"/>
                  </a:cubicBezTo>
                  <a:cubicBezTo>
                    <a:pt x="769" y="2682"/>
                    <a:pt x="769" y="2686"/>
                    <a:pt x="769" y="2690"/>
                  </a:cubicBezTo>
                  <a:cubicBezTo>
                    <a:pt x="770" y="2692"/>
                    <a:pt x="770" y="2693"/>
                    <a:pt x="770" y="2695"/>
                  </a:cubicBezTo>
                  <a:cubicBezTo>
                    <a:pt x="771" y="2699"/>
                    <a:pt x="772" y="2703"/>
                    <a:pt x="773" y="2708"/>
                  </a:cubicBezTo>
                  <a:cubicBezTo>
                    <a:pt x="773" y="2710"/>
                    <a:pt x="774" y="2711"/>
                    <a:pt x="774" y="2712"/>
                  </a:cubicBezTo>
                  <a:cubicBezTo>
                    <a:pt x="777" y="2723"/>
                    <a:pt x="782" y="2733"/>
                    <a:pt x="788" y="2742"/>
                  </a:cubicBezTo>
                  <a:cubicBezTo>
                    <a:pt x="788" y="2743"/>
                    <a:pt x="788" y="2744"/>
                    <a:pt x="789" y="2744"/>
                  </a:cubicBezTo>
                  <a:cubicBezTo>
                    <a:pt x="795" y="2754"/>
                    <a:pt x="802" y="2762"/>
                    <a:pt x="810" y="2770"/>
                  </a:cubicBezTo>
                  <a:cubicBezTo>
                    <a:pt x="810" y="2770"/>
                    <a:pt x="811" y="2771"/>
                    <a:pt x="811" y="2771"/>
                  </a:cubicBezTo>
                  <a:cubicBezTo>
                    <a:pt x="815" y="2774"/>
                    <a:pt x="819" y="2778"/>
                    <a:pt x="823" y="2781"/>
                  </a:cubicBezTo>
                  <a:cubicBezTo>
                    <a:pt x="847" y="2798"/>
                    <a:pt x="874" y="2807"/>
                    <a:pt x="902" y="2807"/>
                  </a:cubicBezTo>
                  <a:cubicBezTo>
                    <a:pt x="923" y="2807"/>
                    <a:pt x="944" y="2802"/>
                    <a:pt x="964" y="2791"/>
                  </a:cubicBezTo>
                  <a:lnTo>
                    <a:pt x="1371" y="2577"/>
                  </a:lnTo>
                  <a:lnTo>
                    <a:pt x="1132" y="4583"/>
                  </a:lnTo>
                  <a:lnTo>
                    <a:pt x="891" y="4583"/>
                  </a:lnTo>
                  <a:cubicBezTo>
                    <a:pt x="804" y="4583"/>
                    <a:pt x="731" y="4645"/>
                    <a:pt x="717" y="4731"/>
                  </a:cubicBezTo>
                  <a:lnTo>
                    <a:pt x="675" y="4997"/>
                  </a:lnTo>
                  <a:lnTo>
                    <a:pt x="360" y="4997"/>
                  </a:lnTo>
                  <a:cubicBezTo>
                    <a:pt x="268" y="4997"/>
                    <a:pt x="190" y="5063"/>
                    <a:pt x="175" y="5155"/>
                  </a:cubicBezTo>
                  <a:lnTo>
                    <a:pt x="9" y="6183"/>
                  </a:lnTo>
                  <a:cubicBezTo>
                    <a:pt x="0" y="6237"/>
                    <a:pt x="15" y="6292"/>
                    <a:pt x="51" y="6334"/>
                  </a:cubicBezTo>
                  <a:cubicBezTo>
                    <a:pt x="87" y="6376"/>
                    <a:pt x="139" y="6400"/>
                    <a:pt x="194" y="6400"/>
                  </a:cubicBezTo>
                  <a:lnTo>
                    <a:pt x="3260" y="6400"/>
                  </a:lnTo>
                  <a:cubicBezTo>
                    <a:pt x="3315" y="6400"/>
                    <a:pt x="3367" y="6376"/>
                    <a:pt x="3403" y="6334"/>
                  </a:cubicBezTo>
                  <a:cubicBezTo>
                    <a:pt x="3439" y="6292"/>
                    <a:pt x="3454" y="6237"/>
                    <a:pt x="3445" y="6183"/>
                  </a:cubicBezTo>
                  <a:close/>
                  <a:moveTo>
                    <a:pt x="974" y="2574"/>
                  </a:moveTo>
                  <a:lnTo>
                    <a:pt x="1109" y="1784"/>
                  </a:lnTo>
                  <a:cubicBezTo>
                    <a:pt x="1114" y="1754"/>
                    <a:pt x="1104" y="1723"/>
                    <a:pt x="1082" y="1701"/>
                  </a:cubicBezTo>
                  <a:lnTo>
                    <a:pt x="508" y="1141"/>
                  </a:lnTo>
                  <a:lnTo>
                    <a:pt x="1302" y="1026"/>
                  </a:lnTo>
                  <a:cubicBezTo>
                    <a:pt x="1332" y="1022"/>
                    <a:pt x="1359" y="1002"/>
                    <a:pt x="1372" y="975"/>
                  </a:cubicBezTo>
                  <a:lnTo>
                    <a:pt x="1727" y="256"/>
                  </a:lnTo>
                  <a:lnTo>
                    <a:pt x="2082" y="975"/>
                  </a:lnTo>
                  <a:cubicBezTo>
                    <a:pt x="2096" y="1002"/>
                    <a:pt x="2122" y="1022"/>
                    <a:pt x="2152" y="1026"/>
                  </a:cubicBezTo>
                  <a:lnTo>
                    <a:pt x="2946" y="1141"/>
                  </a:lnTo>
                  <a:lnTo>
                    <a:pt x="2372" y="1701"/>
                  </a:lnTo>
                  <a:cubicBezTo>
                    <a:pt x="2350" y="1723"/>
                    <a:pt x="2340" y="1754"/>
                    <a:pt x="2345" y="1784"/>
                  </a:cubicBezTo>
                  <a:lnTo>
                    <a:pt x="2480" y="2574"/>
                  </a:lnTo>
                  <a:lnTo>
                    <a:pt x="1771" y="2201"/>
                  </a:lnTo>
                  <a:cubicBezTo>
                    <a:pt x="1757" y="2194"/>
                    <a:pt x="1742" y="2190"/>
                    <a:pt x="1727" y="2190"/>
                  </a:cubicBezTo>
                  <a:cubicBezTo>
                    <a:pt x="1712" y="2190"/>
                    <a:pt x="1697" y="2194"/>
                    <a:pt x="1683" y="2201"/>
                  </a:cubicBezTo>
                  <a:lnTo>
                    <a:pt x="974" y="2574"/>
                  </a:lnTo>
                  <a:close/>
                  <a:moveTo>
                    <a:pt x="901" y="4770"/>
                  </a:moveTo>
                  <a:lnTo>
                    <a:pt x="901" y="4770"/>
                  </a:lnTo>
                  <a:lnTo>
                    <a:pt x="2553" y="4770"/>
                  </a:lnTo>
                  <a:lnTo>
                    <a:pt x="2553" y="4770"/>
                  </a:lnTo>
                  <a:lnTo>
                    <a:pt x="2589" y="4997"/>
                  </a:lnTo>
                  <a:lnTo>
                    <a:pt x="865" y="4997"/>
                  </a:lnTo>
                  <a:lnTo>
                    <a:pt x="901" y="4770"/>
                  </a:lnTo>
                  <a:close/>
                  <a:moveTo>
                    <a:pt x="3260" y="6213"/>
                  </a:moveTo>
                  <a:lnTo>
                    <a:pt x="194" y="6213"/>
                  </a:lnTo>
                  <a:lnTo>
                    <a:pt x="360" y="5185"/>
                  </a:lnTo>
                  <a:lnTo>
                    <a:pt x="3094" y="5185"/>
                  </a:lnTo>
                  <a:lnTo>
                    <a:pt x="3260" y="6213"/>
                  </a:lnTo>
                  <a:cubicBezTo>
                    <a:pt x="3260" y="6213"/>
                    <a:pt x="3260" y="6213"/>
                    <a:pt x="3260" y="62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15">
              <a:extLst>
                <a:ext uri="{FF2B5EF4-FFF2-40B4-BE49-F238E27FC236}">
                  <a16:creationId xmlns:a16="http://schemas.microsoft.com/office/drawing/2014/main" id="{1969DF96-C45D-4A5E-B7A1-1C0D6CC205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3" y="3547"/>
              <a:ext cx="159" cy="40"/>
            </a:xfrm>
            <a:custGeom>
              <a:avLst/>
              <a:gdLst>
                <a:gd name="T0" fmla="*/ 2575 w 2582"/>
                <a:gd name="T1" fmla="*/ 484 h 650"/>
                <a:gd name="T2" fmla="*/ 2516 w 2582"/>
                <a:gd name="T3" fmla="*/ 119 h 650"/>
                <a:gd name="T4" fmla="*/ 2376 w 2582"/>
                <a:gd name="T5" fmla="*/ 0 h 650"/>
                <a:gd name="T6" fmla="*/ 206 w 2582"/>
                <a:gd name="T7" fmla="*/ 0 h 650"/>
                <a:gd name="T8" fmla="*/ 66 w 2582"/>
                <a:gd name="T9" fmla="*/ 119 h 650"/>
                <a:gd name="T10" fmla="*/ 7 w 2582"/>
                <a:gd name="T11" fmla="*/ 484 h 650"/>
                <a:gd name="T12" fmla="*/ 39 w 2582"/>
                <a:gd name="T13" fmla="*/ 599 h 650"/>
                <a:gd name="T14" fmla="*/ 147 w 2582"/>
                <a:gd name="T15" fmla="*/ 650 h 650"/>
                <a:gd name="T16" fmla="*/ 2435 w 2582"/>
                <a:gd name="T17" fmla="*/ 650 h 650"/>
                <a:gd name="T18" fmla="*/ 2543 w 2582"/>
                <a:gd name="T19" fmla="*/ 599 h 650"/>
                <a:gd name="T20" fmla="*/ 2575 w 2582"/>
                <a:gd name="T21" fmla="*/ 484 h 650"/>
                <a:gd name="T22" fmla="*/ 200 w 2582"/>
                <a:gd name="T23" fmla="*/ 462 h 650"/>
                <a:gd name="T24" fmla="*/ 245 w 2582"/>
                <a:gd name="T25" fmla="*/ 187 h 650"/>
                <a:gd name="T26" fmla="*/ 2337 w 2582"/>
                <a:gd name="T27" fmla="*/ 187 h 650"/>
                <a:gd name="T28" fmla="*/ 2382 w 2582"/>
                <a:gd name="T29" fmla="*/ 462 h 650"/>
                <a:gd name="T30" fmla="*/ 200 w 2582"/>
                <a:gd name="T31" fmla="*/ 462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82" h="650">
                  <a:moveTo>
                    <a:pt x="2575" y="484"/>
                  </a:moveTo>
                  <a:lnTo>
                    <a:pt x="2516" y="119"/>
                  </a:lnTo>
                  <a:cubicBezTo>
                    <a:pt x="2505" y="50"/>
                    <a:pt x="2446" y="0"/>
                    <a:pt x="2376" y="0"/>
                  </a:cubicBezTo>
                  <a:lnTo>
                    <a:pt x="206" y="0"/>
                  </a:lnTo>
                  <a:cubicBezTo>
                    <a:pt x="136" y="0"/>
                    <a:pt x="77" y="50"/>
                    <a:pt x="66" y="119"/>
                  </a:cubicBezTo>
                  <a:lnTo>
                    <a:pt x="7" y="484"/>
                  </a:lnTo>
                  <a:cubicBezTo>
                    <a:pt x="0" y="525"/>
                    <a:pt x="12" y="567"/>
                    <a:pt x="39" y="599"/>
                  </a:cubicBezTo>
                  <a:cubicBezTo>
                    <a:pt x="66" y="631"/>
                    <a:pt x="106" y="650"/>
                    <a:pt x="147" y="650"/>
                  </a:cubicBezTo>
                  <a:lnTo>
                    <a:pt x="2435" y="650"/>
                  </a:lnTo>
                  <a:cubicBezTo>
                    <a:pt x="2476" y="650"/>
                    <a:pt x="2516" y="631"/>
                    <a:pt x="2543" y="599"/>
                  </a:cubicBezTo>
                  <a:cubicBezTo>
                    <a:pt x="2570" y="567"/>
                    <a:pt x="2582" y="525"/>
                    <a:pt x="2575" y="484"/>
                  </a:cubicBezTo>
                  <a:close/>
                  <a:moveTo>
                    <a:pt x="200" y="462"/>
                  </a:moveTo>
                  <a:lnTo>
                    <a:pt x="245" y="187"/>
                  </a:lnTo>
                  <a:lnTo>
                    <a:pt x="2337" y="187"/>
                  </a:lnTo>
                  <a:lnTo>
                    <a:pt x="2382" y="462"/>
                  </a:lnTo>
                  <a:lnTo>
                    <a:pt x="200" y="4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93250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Kept">
      <a:dk1>
        <a:srgbClr val="531A56"/>
      </a:dk1>
      <a:lt1>
        <a:srgbClr val="FFFFFF"/>
      </a:lt1>
      <a:dk2>
        <a:srgbClr val="000000"/>
      </a:dk2>
      <a:lt2>
        <a:srgbClr val="CAC5F9"/>
      </a:lt2>
      <a:accent1>
        <a:srgbClr val="A39CFF"/>
      </a:accent1>
      <a:accent2>
        <a:srgbClr val="CDFF5D"/>
      </a:accent2>
      <a:accent3>
        <a:srgbClr val="00DD99"/>
      </a:accent3>
      <a:accent4>
        <a:srgbClr val="2ADBDB"/>
      </a:accent4>
      <a:accent5>
        <a:srgbClr val="FF605C"/>
      </a:accent5>
      <a:accent6>
        <a:srgbClr val="FFAB66"/>
      </a:accent6>
      <a:hlink>
        <a:srgbClr val="531A56"/>
      </a:hlink>
      <a:folHlink>
        <a:srgbClr val="3EBAFF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_JSC_Widescreen.potx" id="{DCCA6DF8-0AB1-4F23-8A30-9BD0D164B9BB}" vid="{3266E5EF-05E3-4A0F-9B3D-04D8A0C2B4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0E98727E5EFD44A5B58152E2CC9F3C" ma:contentTypeVersion="14" ma:contentTypeDescription="Create a new document." ma:contentTypeScope="" ma:versionID="f2009fc5a916628040699b7c85b694dd">
  <xsd:schema xmlns:xsd="http://www.w3.org/2001/XMLSchema" xmlns:xs="http://www.w3.org/2001/XMLSchema" xmlns:p="http://schemas.microsoft.com/office/2006/metadata/properties" xmlns:ns2="59aa1991-5a37-4160-88e0-d5049aaad999" xmlns:ns3="731385d6-d2ef-4b26-bcca-2d305526e1a6" targetNamespace="http://schemas.microsoft.com/office/2006/metadata/properties" ma:root="true" ma:fieldsID="63542d400e5c892a4ca095b83df6e3fd" ns2:_="" ns3:_="">
    <xsd:import namespace="59aa1991-5a37-4160-88e0-d5049aaad999"/>
    <xsd:import namespace="731385d6-d2ef-4b26-bcca-2d305526e1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aa1991-5a37-4160-88e0-d5049aaad9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8883d318-f35c-4577-94aa-4c8e836d27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1385d6-d2ef-4b26-bcca-2d305526e1a6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775f47db-9fd9-45d8-b133-80d58496e81e}" ma:internalName="TaxCatchAll" ma:showField="CatchAllData" ma:web="731385d6-d2ef-4b26-bcca-2d305526e1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9B9FEE-524D-475B-8B9D-830B870BC0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aa1991-5a37-4160-88e0-d5049aaad999"/>
    <ds:schemaRef ds:uri="731385d6-d2ef-4b26-bcca-2d305526e1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42D10C1-44E0-48D9-A9AE-930F6C84CC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396</TotalTime>
  <Words>2710</Words>
  <Application>Microsoft Office PowerPoint</Application>
  <PresentationFormat>Widescreen</PresentationFormat>
  <Paragraphs>279</Paragraphs>
  <Slides>2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5" baseType="lpstr">
      <vt:lpstr>Arial</vt:lpstr>
      <vt:lpstr>Arial Black</vt:lpstr>
      <vt:lpstr>Arial Narrow</vt:lpstr>
      <vt:lpstr>Calibri</vt:lpstr>
      <vt:lpstr>Fira Sans Light</vt:lpstr>
      <vt:lpstr>Gotham Light</vt:lpstr>
      <vt:lpstr>2_Office Theme</vt:lpstr>
      <vt:lpstr>think-cell Slide</vt:lpstr>
      <vt:lpstr>Комплаенс бўлинманинг ўрни, роли ва вазифалари, унинг муассасанинг бошқа бўлинмалари билан ўзаро ҳамкорлиги: халқаро тажриба, Ўзбекистон Республикасида жорий этиш амалиёти  </vt:lpstr>
      <vt:lpstr>Коррупцияга қарши тизим (8 та элемент)</vt:lpstr>
      <vt:lpstr>Коррупцияга қарши комплаенс функциясини ташкил этиш тўғрисидаги Ўзбекистон Республикаси қонунчилиги талаблари</vt:lpstr>
      <vt:lpstr>Комплаенс бўлинманинг ўрни ва роли:  ISO 37001:2016 «Коррупцияга қарши менежмент тизими» (1/10)</vt:lpstr>
      <vt:lpstr>Комплаенс бўлинманинг ўрни ва роли: ISO 37001:2016  «Коррупцияга қарши менежмент тизимлари» (2/10)</vt:lpstr>
      <vt:lpstr>Комплаенс бўлинманинг ўрни ва роли:  ISO 37001:2016 «Коррупцияга қарши менежмент тизимлари» (3/10)</vt:lpstr>
      <vt:lpstr>Комплаенс бўлинманинг ўрни ва роли:  ISO 37001:2016 «Коррупцияга қарши менежмент тизимлари» (4/10)</vt:lpstr>
      <vt:lpstr>Комплаенс бўлинманинг ўрни ва роли:  ISO 37001:2016 «Коррупцияга қарши менежмент тизимлари» (5/10)</vt:lpstr>
      <vt:lpstr>Комплаенс бўлинманинг ўрни ва роли:  ISO 37001:2016 «Коррупцияга қарши менежмент тизимлари» (6/10)</vt:lpstr>
      <vt:lpstr>Комплаенс бўлинманинг ўрни ва роли:  ISO 37001:2016 «Коррупцияга қарши менежмент тизимлари» (7/10)</vt:lpstr>
      <vt:lpstr>Комплаенс бўлинманинг ўрни ва роли:  ISO 37001:2016 «Коррупцияга қарши менежмент тизимлари» (8/10)</vt:lpstr>
      <vt:lpstr>Комплаенс бўлинманинг ўрни ва роли:  ISO 37001:2016 «Коррупцияга қарши менежмент тизимлари» (9/10)</vt:lpstr>
      <vt:lpstr>Комплаенс бўлинманинг ўрни ва роли:  ISO 37001:2016 «Коррупцияга қарши менежмент тизимлари» (10/10)    </vt:lpstr>
      <vt:lpstr>Ўзбекистон Республикасида комплаенс функцияларини ташкил этиш амалиёти</vt:lpstr>
      <vt:lpstr>Комплаенс бўлинманинг ўрни ва роли:  Ўзбекистон Республикасида комплаенс функцияларини ташкил этиш амалиёти (1/9)</vt:lpstr>
      <vt:lpstr>Комплаенс бўлинманинг ўрни ва роли:  Ўзбекистон Республикасида комплаенс функцияларини ташкил этиш амалиёти (2/9)</vt:lpstr>
      <vt:lpstr>Комплаенс бўлинманинг ўрни ва роли:  Ўзбекистон Республикасида комплаенс функцияларини ташкил этиш амалиёти (3/9)</vt:lpstr>
      <vt:lpstr>Комплаенс бўлинманинг ўрни ва роли:  Ўзбекистон Республикасида комплаенс функцияларини ташкил этиш амалиёти (4/9)</vt:lpstr>
      <vt:lpstr>Комплаенс бўлинманинг ўрни ва роли:  Ўзбекистон Республикасида комплаенс функцияларини ташкил этиш амалиёти (5/9)</vt:lpstr>
      <vt:lpstr>3 та ҳимоя линияси тизимида комплаенс бўлинманинг ўрни</vt:lpstr>
      <vt:lpstr>Комплаенс бўлинманинг ўрни ва роли:  Ўзбекистон Республикасида комплаенс функцияларини ташкил этиш амалиёти (6/9)</vt:lpstr>
      <vt:lpstr>Комплаенс бўлинманинг ўрни ва роли:  Ўзбекистон Республикасида комплаенс функцияларини ташкил этиш амалиёти (7/9)</vt:lpstr>
      <vt:lpstr>Комплаенс бўлинманинг ўрни ва роли:  Ўзбекистон Республикасида комплаенс функцияларини ташкил этиш амалиёти (8/9)</vt:lpstr>
      <vt:lpstr>Комплаенс бўлинманинг ўрни ва роли:  Ўзбекистон Республикасида комплаенс функцияларини ташкил этиш амалиёти (9/9)</vt:lpstr>
      <vt:lpstr>Комплаенс функциясини яратиш жараёнида муҳим тадбирлар</vt:lpstr>
      <vt:lpstr>Саволлар?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учающая программа по вопросам создания и внедрения эффективных антикоррупционных комплаенс-систем в государственных органах и учреждениях</dc:title>
  <dc:creator>Kiryanova, Viktoria</dc:creator>
  <cp:lastModifiedBy>Sabirov, Salayjon</cp:lastModifiedBy>
  <cp:revision>779</cp:revision>
  <dcterms:created xsi:type="dcterms:W3CDTF">2022-07-14T08:09:04Z</dcterms:created>
  <dcterms:modified xsi:type="dcterms:W3CDTF">2023-05-31T19:07:24Z</dcterms:modified>
</cp:coreProperties>
</file>